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58" r:id="rId4"/>
    <p:sldMasterId id="2147483697" r:id="rId5"/>
    <p:sldMasterId id="2147484073" r:id="rId6"/>
    <p:sldMasterId id="2147484143" r:id="rId7"/>
    <p:sldMasterId id="2147484150" r:id="rId8"/>
    <p:sldMasterId id="2147484179" r:id="rId9"/>
  </p:sldMasterIdLst>
  <p:notesMasterIdLst>
    <p:notesMasterId r:id="rId19"/>
  </p:notesMasterIdLst>
  <p:sldIdLst>
    <p:sldId id="257" r:id="rId10"/>
    <p:sldId id="2147483460" r:id="rId11"/>
    <p:sldId id="2147483461" r:id="rId12"/>
    <p:sldId id="2147483463" r:id="rId13"/>
    <p:sldId id="2147483468" r:id="rId14"/>
    <p:sldId id="2147483469" r:id="rId15"/>
    <p:sldId id="2147483470" r:id="rId16"/>
    <p:sldId id="2147483459" r:id="rId17"/>
    <p:sldId id="2147483455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7B8C815-E5CA-9C9C-883A-FD4B180FE58D}" name="Manisha Bais" initials="MB" userId="S::mbais@acquisconsulting.com::2df396aa-6ab8-47fb-ad4d-7d5e33670a94" providerId="AD"/>
  <p188:author id="{D898A016-EEFD-32AF-5BE8-F08C738B0C14}" name="Pratna Ramachandran" initials="PR" userId="S::pramachandran@acquisconsulting.com::ce872220-b3f1-405a-9781-adc08d833a18" providerId="AD"/>
  <p188:author id="{0BFC0D1B-2A68-49CE-0E48-768129ECEE9F}" name="Alex Davis" initials="" userId="S::adavis@acquisconsulting.com::6f3e093d-b36b-4b5d-a5a3-a691c4d80474" providerId="AD"/>
  <p188:author id="{8F914C21-E06A-EC5F-3F36-7C77CC29D86A}" name="Divya Kathuria" initials="DK" userId="S::dkathuria@acquisconsulting.com::de5d00f6-534a-4de2-9f9d-75974ba4f16d" providerId="AD"/>
  <p188:author id="{62398444-5B1B-E4ED-9AB7-272A556CE292}" name="Andrew Keenan" initials="AK" userId="S::akeenan@acquisconsulting.com::0351aa9d-ddbe-405e-8cde-2e2e28a37f03" providerId="AD"/>
  <p188:author id="{3C9AFC5E-B8F5-59B6-341D-10085594AF52}" name="Erica Walsh" initials="EW" userId="S::ewalsh@acquisconsulting.com::e7fb1eb7-3b57-43de-b79b-a28d95cfe191" providerId="AD"/>
  <p188:author id="{5625CD67-C0EA-FE6C-A55C-D3571782B822}" name="Atalay Soydemir" initials="AS" userId="S::asoydemir@acquisconsulting.com::e5e43e11-ebe9-45a6-9700-5a42ef368953" providerId="AD"/>
  <p188:author id="{E61CAC6C-1AB7-5B63-EFB7-9E33F451901A}" name="Nancy Edid" initials="NE" userId="S::nedid@acquisconsulting.com::94278239-f1b1-4a7c-9b92-07686298d022" providerId="AD"/>
  <p188:author id="{18A51986-41FF-0E58-5A41-F156F7194092}" name="Kevin Schorr" initials="" userId="S::kschorr@acquisconsulting.com::3832700b-4a85-496a-a57f-aae218b8a278" providerId="AD"/>
  <p188:author id="{772D5987-98DF-2326-9DD2-9243A299C6AC}" name="Zach Fink" initials="ZF" userId="S::zfink@acquisconsulting.com::40aa70ca-9828-4a2f-82b8-397397b29446" providerId="AD"/>
  <p188:author id="{B14E6396-9CB7-17AB-035C-655A4027CFFC}" name="Anshul Jain" initials="" userId="S::ajain@acquisconsulting.com::0eab3758-7d49-43f1-ba52-88c9c28b4583" providerId="AD"/>
  <p188:author id="{3D36CC9B-102B-BE56-53E3-909400DA1819}" name="Yimei Miao" initials="YM" userId="S::ymiao@acquisconsulting.com::73114b78-09f4-4d87-bd3c-6dfb17b1425f" providerId="AD"/>
  <p188:author id="{42D9FF9C-074E-4FBE-007F-FD01DCB43383}" name="Tom Morioka" initials="TM" userId="S::tmorioka@acquisconsulting.com::446dbc8f-b793-44cb-ab82-23897ce07398" providerId="AD"/>
  <p188:author id="{25B3CC9E-0B57-7DAC-104D-D022DF4F28F7}" name="Marilena Stavrides (Acquis Cortico-X)" initials="MS" userId="S::mstavrides@acquisconsulting.com::333eaf59-c800-44ba-805f-5fbf0673cc1d" providerId="AD"/>
  <p188:author id="{E7038AB9-0D33-E00F-7848-0EF647426DF4}" name="Vivian Lee" initials="VL" userId="S::vlee@acquisconsulting.com::64fdd8c4-a289-483b-8066-2457ac70b080" providerId="AD"/>
  <p188:author id="{7FDEA6B9-DC62-39ED-7D78-46D04CBD65C5}" name="Allie Cohen" initials="" userId="S::acohen@acquisconsulting.com::48f0fcf1-60e0-4a73-82fd-479243c8f029" providerId="AD"/>
  <p188:author id="{BCF3E9DA-D4F1-036E-0AFD-F32875DFB0BB}" name="Minu Paulose" initials="MP" userId="S::mpaulose@acquisconsulting.com::93f31535-aa6d-4388-8117-77c235de0e68" providerId="AD"/>
  <p188:author id="{35D63DDF-32AF-BBDD-B9D8-D8354E506C81}" name="Hannah Linn" initials="HL" userId="S::hlinn@acquisconsulting.com::d1a66be7-fea0-4cec-9c58-504c4e9dedbf" providerId="AD"/>
  <p188:author id="{4BF2E0F2-87D5-BDAD-1A3B-293B499CCFFA}" name="Abhi Mehta" initials="" userId="S::amehta@acquisconsulting.com::7c840c09-dd17-490f-816b-92a6194d2fa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sh Li" initials="JL" lastIdx="6" clrIdx="0">
    <p:extLst>
      <p:ext uri="{19B8F6BF-5375-455C-9EA6-DF929625EA0E}">
        <p15:presenceInfo xmlns:p15="http://schemas.microsoft.com/office/powerpoint/2012/main" userId="S::jli@acquisconsulting.com::26e82fd5-2361-46d9-a469-a2a3247a901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92A75"/>
    <a:srgbClr val="28246F"/>
    <a:srgbClr val="FFFFFF"/>
    <a:srgbClr val="3365AE"/>
    <a:srgbClr val="C7D1EF"/>
    <a:srgbClr val="2D428C"/>
    <a:srgbClr val="325EA6"/>
    <a:srgbClr val="3362AA"/>
    <a:srgbClr val="325DA5"/>
    <a:srgbClr val="0047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D51D46-9EAE-1D73-AF9E-18936B652F10}" v="345" dt="2025-09-11T14:30:56.8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235" autoAdjust="0"/>
  </p:normalViewPr>
  <p:slideViewPr>
    <p:cSldViewPr snapToGrid="0">
      <p:cViewPr varScale="1">
        <p:scale>
          <a:sx n="148" d="100"/>
          <a:sy n="148" d="100"/>
        </p:scale>
        <p:origin x="668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4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enright\Box\Daiichi%20Sankyo%20Global%20-%204609\03%202025\01%20Nadia%20-%20XFranchise+DAST\03%20XFranchise\01%20MSL-LINC\01%20DAI2514%20MSL-LINC%20SABCS\03%20Content\03%20Responses\Global%20Cross%20ADC%20Breast%20Cancer%20Key%20Insights%20Topi%2001_08_2025_10_12%20-%20Latest%20Result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488497568066954"/>
          <c:y val="3.7438408859583723E-2"/>
          <c:w val="0.69416262476676993"/>
          <c:h val="0.8818589067770219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5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323-447D-9EDE-69538E9A882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323-447D-9EDE-69538E9A882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323-447D-9EDE-69538E9A882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323-447D-9EDE-69538E9A882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323-447D-9EDE-69538E9A882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323-447D-9EDE-69538E9A8829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323-447D-9EDE-69538E9A882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323-447D-9EDE-69538E9A8829}"/>
              </c:ext>
            </c:extLst>
          </c:dPt>
          <c:dLbls>
            <c:dLbl>
              <c:idx val="0"/>
              <c:layout>
                <c:manualLayout>
                  <c:x val="-2.4991087801089287E-2"/>
                  <c:y val="-3.4034383454053583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</a:t>
                    </a:r>
                    <a:r>
                      <a:rPr lang="en-US" baseline="0"/>
                      <a:t> (2%)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6696346892379039E-2"/>
                      <c:h val="4.254364643134513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0323-447D-9EDE-69538E9A882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pPr algn="ctr">
                      <a:defRPr sz="1000" b="1"/>
                    </a:pPr>
                    <a:r>
                      <a:rPr lang="en-US" sz="1000" b="1"/>
                      <a:t>11 (8%)</a:t>
                    </a:r>
                  </a:p>
                </c:rich>
              </c:tx>
              <c:numFmt formatCode="0%" sourceLinked="0"/>
              <c:spPr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0323-447D-9EDE-69538E9A882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pPr algn="ctr">
                      <a:defRPr sz="1000" b="1"/>
                    </a:pPr>
                    <a:r>
                      <a:rPr lang="en-US" sz="1000" b="1"/>
                      <a:t>11 (8%)</a:t>
                    </a:r>
                  </a:p>
                </c:rich>
              </c:tx>
              <c:numFmt formatCode="0%" sourceLinked="0"/>
              <c:spPr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0323-447D-9EDE-69538E9A882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pPr algn="ctr">
                      <a:defRPr sz="1000" b="1"/>
                    </a:pPr>
                    <a:r>
                      <a:rPr lang="en-US" sz="1000" b="1"/>
                      <a:t>18 (14%)</a:t>
                    </a:r>
                  </a:p>
                </c:rich>
              </c:tx>
              <c:numFmt formatCode="0%" sourceLinked="0"/>
              <c:spPr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0323-447D-9EDE-69538E9A882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pPr algn="ctr">
                      <a:defRPr sz="1000" b="1"/>
                    </a:pPr>
                    <a:r>
                      <a:rPr lang="en-US" sz="1000" b="1"/>
                      <a:t>19 (15%)</a:t>
                    </a:r>
                  </a:p>
                </c:rich>
              </c:tx>
              <c:numFmt formatCode="0%" sourceLinked="0"/>
              <c:spPr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0323-447D-9EDE-69538E9A882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pPr algn="ctr">
                      <a:defRPr sz="1000" b="1"/>
                    </a:pPr>
                    <a:r>
                      <a:rPr lang="en-US" sz="1000" b="1"/>
                      <a:t>20 (15%)</a:t>
                    </a:r>
                  </a:p>
                </c:rich>
              </c:tx>
              <c:numFmt formatCode="0%" sourceLinked="0"/>
              <c:spPr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0323-447D-9EDE-69538E9A882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pPr algn="ctr">
                      <a:defRPr sz="1000" b="1"/>
                    </a:pPr>
                    <a:r>
                      <a:rPr lang="en-US" sz="1000" b="1"/>
                      <a:t>23 (18%)</a:t>
                    </a:r>
                  </a:p>
                </c:rich>
              </c:tx>
              <c:numFmt formatCode="0%" sourceLinked="0"/>
              <c:spPr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0323-447D-9EDE-69538E9A882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pPr algn="ctr">
                      <a:defRPr sz="1000" b="1"/>
                    </a:pPr>
                    <a:r>
                      <a:rPr lang="en-US" sz="1000" b="1"/>
                      <a:t>26 (20%)</a:t>
                    </a:r>
                  </a:p>
                </c:rich>
              </c:tx>
              <c:numFmt formatCode="0%" sourceLinked="0"/>
              <c:spPr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0323-447D-9EDE-69538E9A8829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/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21:$H$21</c:f>
              <c:strCache>
                <c:ptCount val="8"/>
                <c:pt idx="0">
                  <c:v>Other</c:v>
                </c:pt>
                <c:pt idx="1">
                  <c:v>Comorbidities</c:v>
                </c:pt>
                <c:pt idx="2">
                  <c:v>Patient preference</c:v>
                </c:pt>
                <c:pt idx="3">
                  <c:v>Data from real-world studies</c:v>
                </c:pt>
                <c:pt idx="4">
                  <c:v>Biomarkers</c:v>
                </c:pt>
                <c:pt idx="5">
                  <c:v>ADC AE profile</c:v>
                </c:pt>
                <c:pt idx="6">
                  <c:v>Payload MoA</c:v>
                </c:pt>
                <c:pt idx="7">
                  <c:v>Data from prospective studies</c:v>
                </c:pt>
              </c:strCache>
            </c:strRef>
          </c:cat>
          <c:val>
            <c:numRef>
              <c:f>Data!$A$22:$H$22</c:f>
              <c:numCache>
                <c:formatCode>General</c:formatCode>
                <c:ptCount val="8"/>
                <c:pt idx="0">
                  <c:v>0.02</c:v>
                </c:pt>
                <c:pt idx="1">
                  <c:v>0.08</c:v>
                </c:pt>
                <c:pt idx="2">
                  <c:v>0.08</c:v>
                </c:pt>
                <c:pt idx="3">
                  <c:v>0.14000000000000001</c:v>
                </c:pt>
                <c:pt idx="4">
                  <c:v>0.15</c:v>
                </c:pt>
                <c:pt idx="5">
                  <c:v>0.15</c:v>
                </c:pt>
                <c:pt idx="6">
                  <c:v>0.18</c:v>
                </c:pt>
                <c:pt idx="7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323-447D-9EDE-69538E9A88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633874"/>
        <c:axId val="9596798"/>
      </c:barChart>
      <c:catAx>
        <c:axId val="2363387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596798"/>
        <c:crosses val="autoZero"/>
        <c:auto val="0"/>
        <c:lblAlgn val="ctr"/>
        <c:lblOffset val="100"/>
        <c:noMultiLvlLbl val="0"/>
      </c:catAx>
      <c:valAx>
        <c:axId val="9596798"/>
        <c:scaling>
          <c:orientation val="minMax"/>
          <c:max val="1"/>
        </c:scaling>
        <c:delete val="0"/>
        <c:axPos val="b"/>
        <c:majorGridlines>
          <c:spPr>
            <a:ln/>
          </c:spPr>
        </c:majorGridlines>
        <c:numFmt formatCode="0%" sourceLinked="0"/>
        <c:majorTickMark val="out"/>
        <c:minorTickMark val="none"/>
        <c:tickLblPos val="nextTo"/>
        <c:crossAx val="23633874"/>
        <c:crosses val="autoZero"/>
        <c:crossBetween val="between"/>
      </c:valAx>
      <c:spPr>
        <a:solidFill>
          <a:srgbClr val="FFFFFF"/>
        </a:solidFill>
        <a:ln w="12700">
          <a:solidFill>
            <a:srgbClr val="808080"/>
          </a:solidFill>
        </a:ln>
      </c:spPr>
    </c:plotArea>
    <c:plotVisOnly val="1"/>
    <c:dispBlanksAs val="gap"/>
    <c:showDLblsOverMax val="0"/>
  </c:chart>
  <c:txPr>
    <a:bodyPr/>
    <a:lstStyle/>
    <a:p>
      <a:pPr>
        <a:defRPr sz="1000" b="0"/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5-09-08T02:57:00.265" idx="1">
    <p:pos x="1601" y="2018"/>
    <p:text>@thierry - ideally these date ranges would be limited to one Quarter in 2025 (let's say June to September)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5-09-08T04:13:43.468" idx="4">
    <p:pos x="10" y="10"/>
    <p:text>If this section could be produced using little bar or pie-charts, that would be ideal. i.e. having some kind of graph or chart on the deep dive slide to quantify mentions or something.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5-09-08T04:13:55.438" idx="5">
    <p:pos x="10" y="10"/>
    <p:text>FOR REFERENCE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5-09-08T04:14:20.734" idx="6">
    <p:pos x="10" y="10"/>
    <p:text>STATIC SLIDE</p:text>
    <p:extLst>
      <p:ext uri="{C676402C-5697-4E1C-873F-D02D1690AC5C}">
        <p15:threadingInfo xmlns:p15="http://schemas.microsoft.com/office/powerpoint/2012/main" timeZoneBias="24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BC9F1F-A594-4A1B-B977-8B526D40338A}" type="datetimeFigureOut">
              <a:rPr lang="en-US" smtClean="0"/>
              <a:t>9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AB2019-4909-4C62-8C22-23620884E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414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91BAD-D391-4B8E-B8DE-BC7233786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73FA34-40E2-0846-99E3-B87F0FE322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266279-950F-ED9A-943A-F18A7FC03F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E42FCB-45D7-A7C3-5F2C-33584381E4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D1F10-1734-4A87-A580-2B16055F07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85746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91BAD-D391-4B8E-B8DE-BC7233786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73FA34-40E2-0846-99E3-B87F0FE322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266279-950F-ED9A-943A-F18A7FC03F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E42FCB-45D7-A7C3-5F2C-33584381E4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D1F10-1734-4A87-A580-2B16055F07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95863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91BAD-D391-4B8E-B8DE-BC7233786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73FA34-40E2-0846-99E3-B87F0FE322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266279-950F-ED9A-943A-F18A7FC03F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E42FCB-45D7-A7C3-5F2C-33584381E4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D1F10-1734-4A87-A580-2B16055F07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63932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91BAD-D391-4B8E-B8DE-BC7233786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73FA34-40E2-0846-99E3-B87F0FE322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266279-950F-ED9A-943A-F18A7FC03F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E42FCB-45D7-A7C3-5F2C-33584381E4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D1F10-1734-4A87-A580-2B16055F07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809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95A8B-0A25-FB47-AB0D-0F05C498AB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310BF3-5A9C-D830-70B4-42E2630FA1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FE5F89-B9E1-035A-9E46-5E4682B41E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818EF1-1DBC-8F0C-26A5-FB14EFB97F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D1F10-1734-4A87-A580-2B16055F07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63281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3146E-1FCD-4435-B181-A7A4515789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DB4C60-009A-C5BA-C6B5-0C5FE04484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20ABA7-62D8-C7A5-3FB0-C607F75B93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122B-0217-ED99-DD9F-5623A14D79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D1F10-1734-4A87-A580-2B16055F07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9247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91BAD-D391-4B8E-B8DE-BC7233786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73FA34-40E2-0846-99E3-B87F0FE322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266279-950F-ED9A-943A-F18A7FC03F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E42FCB-45D7-A7C3-5F2C-33584381E4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D1F10-1734-4A87-A580-2B16055F07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844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10.jpe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10.jpeg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3D836C19-325E-4D05-B17A-60BDD8BFE9D2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8202A46-FF1E-4C41-B7BB-D3253E8CC4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819" r="3583"/>
            <a:stretch/>
          </p:blipFill>
          <p:spPr>
            <a:xfrm>
              <a:off x="1848915" y="-445"/>
              <a:ext cx="8588527" cy="6858000"/>
            </a:xfrm>
            <a:custGeom>
              <a:avLst/>
              <a:gdLst>
                <a:gd name="connsiteX0" fmla="*/ 4214516 w 8588527"/>
                <a:gd name="connsiteY0" fmla="*/ 0 h 6858000"/>
                <a:gd name="connsiteX1" fmla="*/ 8588527 w 8588527"/>
                <a:gd name="connsiteY1" fmla="*/ 0 h 6858000"/>
                <a:gd name="connsiteX2" fmla="*/ 4374012 w 8588527"/>
                <a:gd name="connsiteY2" fmla="*/ 6858000 h 6858000"/>
                <a:gd name="connsiteX3" fmla="*/ 0 w 8588527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8527" h="6858000">
                  <a:moveTo>
                    <a:pt x="4214516" y="0"/>
                  </a:moveTo>
                  <a:lnTo>
                    <a:pt x="8588527" y="0"/>
                  </a:lnTo>
                  <a:lnTo>
                    <a:pt x="4374012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92FB9AC-E902-4C6A-A3B8-30BF08A199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00240" y="-445"/>
              <a:ext cx="5791760" cy="6858001"/>
            </a:xfrm>
            <a:custGeom>
              <a:avLst/>
              <a:gdLst>
                <a:gd name="connsiteX0" fmla="*/ 4214516 w 5791760"/>
                <a:gd name="connsiteY0" fmla="*/ 0 h 6858001"/>
                <a:gd name="connsiteX1" fmla="*/ 5791760 w 5791760"/>
                <a:gd name="connsiteY1" fmla="*/ 0 h 6858001"/>
                <a:gd name="connsiteX2" fmla="*/ 5791760 w 5791760"/>
                <a:gd name="connsiteY2" fmla="*/ 6858001 h 6858001"/>
                <a:gd name="connsiteX3" fmla="*/ 0 w 5791760"/>
                <a:gd name="connsiteY3" fmla="*/ 685800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91760" h="6858001">
                  <a:moveTo>
                    <a:pt x="4214516" y="0"/>
                  </a:moveTo>
                  <a:lnTo>
                    <a:pt x="5791760" y="0"/>
                  </a:lnTo>
                  <a:lnTo>
                    <a:pt x="5791760" y="6858001"/>
                  </a:lnTo>
                  <a:lnTo>
                    <a:pt x="0" y="6858001"/>
                  </a:lnTo>
                  <a:close/>
                </a:path>
              </a:pathLst>
            </a:custGeom>
          </p:spPr>
        </p:pic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92C37757-EC79-4D6B-A6A2-6518CA3C77AC}"/>
                </a:ext>
              </a:extLst>
            </p:cNvPr>
            <p:cNvSpPr/>
            <p:nvPr userDrawn="1"/>
          </p:nvSpPr>
          <p:spPr>
            <a:xfrm>
              <a:off x="0" y="-889"/>
              <a:ext cx="5886389" cy="6858889"/>
            </a:xfrm>
            <a:custGeom>
              <a:avLst/>
              <a:gdLst>
                <a:gd name="connsiteX0" fmla="*/ 0 w 5886389"/>
                <a:gd name="connsiteY0" fmla="*/ 0 h 6858889"/>
                <a:gd name="connsiteX1" fmla="*/ 1512377 w 5886389"/>
                <a:gd name="connsiteY1" fmla="*/ 0 h 6858889"/>
                <a:gd name="connsiteX2" fmla="*/ 3534491 w 5886389"/>
                <a:gd name="connsiteY2" fmla="*/ 0 h 6858889"/>
                <a:gd name="connsiteX3" fmla="*/ 5886389 w 5886389"/>
                <a:gd name="connsiteY3" fmla="*/ 0 h 6858889"/>
                <a:gd name="connsiteX4" fmla="*/ 1671327 w 5886389"/>
                <a:gd name="connsiteY4" fmla="*/ 6858889 h 6858889"/>
                <a:gd name="connsiteX5" fmla="*/ 0 w 5886389"/>
                <a:gd name="connsiteY5" fmla="*/ 6858889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86389" h="6858889">
                  <a:moveTo>
                    <a:pt x="0" y="0"/>
                  </a:moveTo>
                  <a:lnTo>
                    <a:pt x="1512377" y="0"/>
                  </a:lnTo>
                  <a:lnTo>
                    <a:pt x="3534491" y="0"/>
                  </a:lnTo>
                  <a:lnTo>
                    <a:pt x="5886389" y="0"/>
                  </a:lnTo>
                  <a:lnTo>
                    <a:pt x="1671327" y="6858889"/>
                  </a:lnTo>
                  <a:lnTo>
                    <a:pt x="0" y="6858889"/>
                  </a:lnTo>
                  <a:close/>
                </a:path>
              </a:pathLst>
            </a:custGeom>
            <a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r="7427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6" name="Freeform 5">
            <a:extLst>
              <a:ext uri="{FF2B5EF4-FFF2-40B4-BE49-F238E27FC236}">
                <a16:creationId xmlns:a16="http://schemas.microsoft.com/office/drawing/2014/main" id="{A1BB62C4-AB8C-2542-AB50-208EADCC4FCF}"/>
              </a:ext>
            </a:extLst>
          </p:cNvPr>
          <p:cNvSpPr/>
          <p:nvPr userDrawn="1"/>
        </p:nvSpPr>
        <p:spPr>
          <a:xfrm>
            <a:off x="-2" y="0"/>
            <a:ext cx="9667345" cy="6858889"/>
          </a:xfrm>
          <a:custGeom>
            <a:avLst/>
            <a:gdLst>
              <a:gd name="connsiteX0" fmla="*/ 0 w 9667345"/>
              <a:gd name="connsiteY0" fmla="*/ 6810685 h 6858889"/>
              <a:gd name="connsiteX1" fmla="*/ 59283 w 9667345"/>
              <a:gd name="connsiteY1" fmla="*/ 6858456 h 6858889"/>
              <a:gd name="connsiteX2" fmla="*/ 39402 w 9667345"/>
              <a:gd name="connsiteY2" fmla="*/ 6858456 h 6858889"/>
              <a:gd name="connsiteX3" fmla="*/ 0 w 9667345"/>
              <a:gd name="connsiteY3" fmla="*/ 6827674 h 6858889"/>
              <a:gd name="connsiteX4" fmla="*/ 0 w 9667345"/>
              <a:gd name="connsiteY4" fmla="*/ 6672270 h 6858889"/>
              <a:gd name="connsiteX5" fmla="*/ 80461 w 9667345"/>
              <a:gd name="connsiteY5" fmla="*/ 6741333 h 6858889"/>
              <a:gd name="connsiteX6" fmla="*/ 232159 w 9667345"/>
              <a:gd name="connsiteY6" fmla="*/ 6857592 h 6858889"/>
              <a:gd name="connsiteX7" fmla="*/ 213144 w 9667345"/>
              <a:gd name="connsiteY7" fmla="*/ 6857592 h 6858889"/>
              <a:gd name="connsiteX8" fmla="*/ 70519 w 9667345"/>
              <a:gd name="connsiteY8" fmla="*/ 6747384 h 6858889"/>
              <a:gd name="connsiteX9" fmla="*/ 0 w 9667345"/>
              <a:gd name="connsiteY9" fmla="*/ 6686879 h 6858889"/>
              <a:gd name="connsiteX10" fmla="*/ 0 w 9667345"/>
              <a:gd name="connsiteY10" fmla="*/ 6527854 h 6858889"/>
              <a:gd name="connsiteX11" fmla="*/ 2977 w 9667345"/>
              <a:gd name="connsiteY11" fmla="*/ 6530761 h 6858889"/>
              <a:gd name="connsiteX12" fmla="*/ 194126 w 9667345"/>
              <a:gd name="connsiteY12" fmla="*/ 6695952 h 6858889"/>
              <a:gd name="connsiteX13" fmla="*/ 404173 w 9667345"/>
              <a:gd name="connsiteY13" fmla="*/ 6858024 h 6858889"/>
              <a:gd name="connsiteX14" fmla="*/ 386452 w 9667345"/>
              <a:gd name="connsiteY14" fmla="*/ 6858024 h 6858889"/>
              <a:gd name="connsiteX15" fmla="*/ 180728 w 9667345"/>
              <a:gd name="connsiteY15" fmla="*/ 6702435 h 6858889"/>
              <a:gd name="connsiteX16" fmla="*/ 0 w 9667345"/>
              <a:gd name="connsiteY16" fmla="*/ 6545608 h 6858889"/>
              <a:gd name="connsiteX17" fmla="*/ 0 w 9667345"/>
              <a:gd name="connsiteY17" fmla="*/ 6370764 h 6858889"/>
              <a:gd name="connsiteX18" fmla="*/ 116037 w 9667345"/>
              <a:gd name="connsiteY18" fmla="*/ 6485384 h 6858889"/>
              <a:gd name="connsiteX19" fmla="*/ 304768 w 9667345"/>
              <a:gd name="connsiteY19" fmla="*/ 6650572 h 6858889"/>
              <a:gd name="connsiteX20" fmla="*/ 578345 w 9667345"/>
              <a:gd name="connsiteY20" fmla="*/ 6858024 h 6858889"/>
              <a:gd name="connsiteX21" fmla="*/ 559329 w 9667345"/>
              <a:gd name="connsiteY21" fmla="*/ 6858024 h 6858889"/>
              <a:gd name="connsiteX22" fmla="*/ 294395 w 9667345"/>
              <a:gd name="connsiteY22" fmla="*/ 6657055 h 6858889"/>
              <a:gd name="connsiteX23" fmla="*/ 104541 w 9667345"/>
              <a:gd name="connsiteY23" fmla="*/ 6491293 h 6858889"/>
              <a:gd name="connsiteX24" fmla="*/ 0 w 9667345"/>
              <a:gd name="connsiteY24" fmla="*/ 6388228 h 6858889"/>
              <a:gd name="connsiteX25" fmla="*/ 0 w 9667345"/>
              <a:gd name="connsiteY25" fmla="*/ 6202503 h 6858889"/>
              <a:gd name="connsiteX26" fmla="*/ 55211 w 9667345"/>
              <a:gd name="connsiteY26" fmla="*/ 6264794 h 6858889"/>
              <a:gd name="connsiteX27" fmla="*/ 418434 w 9667345"/>
              <a:gd name="connsiteY27" fmla="*/ 6605192 h 6858889"/>
              <a:gd name="connsiteX28" fmla="*/ 754680 w 9667345"/>
              <a:gd name="connsiteY28" fmla="*/ 6857592 h 6858889"/>
              <a:gd name="connsiteX29" fmla="*/ 735663 w 9667345"/>
              <a:gd name="connsiteY29" fmla="*/ 6857592 h 6858889"/>
              <a:gd name="connsiteX30" fmla="*/ 408494 w 9667345"/>
              <a:gd name="connsiteY30" fmla="*/ 6611243 h 6858889"/>
              <a:gd name="connsiteX31" fmla="*/ 43521 w 9667345"/>
              <a:gd name="connsiteY31" fmla="*/ 6269568 h 6858889"/>
              <a:gd name="connsiteX32" fmla="*/ 0 w 9667345"/>
              <a:gd name="connsiteY32" fmla="*/ 6220508 h 6858889"/>
              <a:gd name="connsiteX33" fmla="*/ 0 w 9667345"/>
              <a:gd name="connsiteY33" fmla="*/ 6024018 h 6858889"/>
              <a:gd name="connsiteX34" fmla="*/ 8034 w 9667345"/>
              <a:gd name="connsiteY34" fmla="*/ 6034410 h 6858889"/>
              <a:gd name="connsiteX35" fmla="*/ 529076 w 9667345"/>
              <a:gd name="connsiteY35" fmla="*/ 6559812 h 6858889"/>
              <a:gd name="connsiteX36" fmla="*/ 932743 w 9667345"/>
              <a:gd name="connsiteY36" fmla="*/ 6858024 h 6858889"/>
              <a:gd name="connsiteX37" fmla="*/ 913294 w 9667345"/>
              <a:gd name="connsiteY37" fmla="*/ 6858024 h 6858889"/>
              <a:gd name="connsiteX38" fmla="*/ 519135 w 9667345"/>
              <a:gd name="connsiteY38" fmla="*/ 6564134 h 6858889"/>
              <a:gd name="connsiteX39" fmla="*/ 158491 w 9667345"/>
              <a:gd name="connsiteY39" fmla="*/ 6223702 h 6858889"/>
              <a:gd name="connsiteX40" fmla="*/ 0 w 9667345"/>
              <a:gd name="connsiteY40" fmla="*/ 6043322 h 6858889"/>
              <a:gd name="connsiteX41" fmla="*/ 0 w 9667345"/>
              <a:gd name="connsiteY41" fmla="*/ 5825690 h 6858889"/>
              <a:gd name="connsiteX42" fmla="*/ 125453 w 9667345"/>
              <a:gd name="connsiteY42" fmla="*/ 5989143 h 6858889"/>
              <a:gd name="connsiteX43" fmla="*/ 642743 w 9667345"/>
              <a:gd name="connsiteY43" fmla="*/ 6514432 h 6858889"/>
              <a:gd name="connsiteX44" fmla="*/ 1051163 w 9667345"/>
              <a:gd name="connsiteY44" fmla="*/ 6819992 h 6858889"/>
              <a:gd name="connsiteX45" fmla="*/ 1109942 w 9667345"/>
              <a:gd name="connsiteY45" fmla="*/ 6858456 h 6858889"/>
              <a:gd name="connsiteX46" fmla="*/ 1090062 w 9667345"/>
              <a:gd name="connsiteY46" fmla="*/ 6858456 h 6858889"/>
              <a:gd name="connsiteX47" fmla="*/ 1040791 w 9667345"/>
              <a:gd name="connsiteY47" fmla="*/ 6826907 h 6858889"/>
              <a:gd name="connsiteX48" fmla="*/ 632370 w 9667345"/>
              <a:gd name="connsiteY48" fmla="*/ 6519185 h 6858889"/>
              <a:gd name="connsiteX49" fmla="*/ 112604 w 9667345"/>
              <a:gd name="connsiteY49" fmla="*/ 5993214 h 6858889"/>
              <a:gd name="connsiteX50" fmla="*/ 0 w 9667345"/>
              <a:gd name="connsiteY50" fmla="*/ 5846530 h 6858889"/>
              <a:gd name="connsiteX51" fmla="*/ 0 w 9667345"/>
              <a:gd name="connsiteY51" fmla="*/ 5604549 h 6858889"/>
              <a:gd name="connsiteX52" fmla="*/ 95478 w 9667345"/>
              <a:gd name="connsiteY52" fmla="*/ 5747885 h 6858889"/>
              <a:gd name="connsiteX53" fmla="*/ 756408 w 9667345"/>
              <a:gd name="connsiteY53" fmla="*/ 6469052 h 6858889"/>
              <a:gd name="connsiteX54" fmla="*/ 1161372 w 9667345"/>
              <a:gd name="connsiteY54" fmla="*/ 6774611 h 6858889"/>
              <a:gd name="connsiteX55" fmla="*/ 1289734 w 9667345"/>
              <a:gd name="connsiteY55" fmla="*/ 6857592 h 6858889"/>
              <a:gd name="connsiteX56" fmla="*/ 1271150 w 9667345"/>
              <a:gd name="connsiteY56" fmla="*/ 6857592 h 6858889"/>
              <a:gd name="connsiteX57" fmla="*/ 1151432 w 9667345"/>
              <a:gd name="connsiteY57" fmla="*/ 6780662 h 6858889"/>
              <a:gd name="connsiteX58" fmla="*/ 743010 w 9667345"/>
              <a:gd name="connsiteY58" fmla="*/ 6472941 h 6858889"/>
              <a:gd name="connsiteX59" fmla="*/ 81919 w 9667345"/>
              <a:gd name="connsiteY59" fmla="*/ 5752315 h 6858889"/>
              <a:gd name="connsiteX60" fmla="*/ 0 w 9667345"/>
              <a:gd name="connsiteY60" fmla="*/ 5628996 h 6858889"/>
              <a:gd name="connsiteX61" fmla="*/ 0 w 9667345"/>
              <a:gd name="connsiteY61" fmla="*/ 5359076 h 6858889"/>
              <a:gd name="connsiteX62" fmla="*/ 78670 w 9667345"/>
              <a:gd name="connsiteY62" fmla="*/ 5496155 h 6858889"/>
              <a:gd name="connsiteX63" fmla="*/ 867049 w 9667345"/>
              <a:gd name="connsiteY63" fmla="*/ 6423672 h 6858889"/>
              <a:gd name="connsiteX64" fmla="*/ 1272015 w 9667345"/>
              <a:gd name="connsiteY64" fmla="*/ 6729231 h 6858889"/>
              <a:gd name="connsiteX65" fmla="*/ 1469526 w 9667345"/>
              <a:gd name="connsiteY65" fmla="*/ 6857592 h 6858889"/>
              <a:gd name="connsiteX66" fmla="*/ 1450509 w 9667345"/>
              <a:gd name="connsiteY66" fmla="*/ 6857592 h 6858889"/>
              <a:gd name="connsiteX67" fmla="*/ 1258184 w 9667345"/>
              <a:gd name="connsiteY67" fmla="*/ 6735282 h 6858889"/>
              <a:gd name="connsiteX68" fmla="*/ 856678 w 9667345"/>
              <a:gd name="connsiteY68" fmla="*/ 6427561 h 6858889"/>
              <a:gd name="connsiteX69" fmla="*/ 65196 w 9667345"/>
              <a:gd name="connsiteY69" fmla="*/ 5499518 h 6858889"/>
              <a:gd name="connsiteX70" fmla="*/ 0 w 9667345"/>
              <a:gd name="connsiteY70" fmla="*/ 5386698 h 6858889"/>
              <a:gd name="connsiteX71" fmla="*/ 0 w 9667345"/>
              <a:gd name="connsiteY71" fmla="*/ 5079907 h 6858889"/>
              <a:gd name="connsiteX72" fmla="*/ 75746 w 9667345"/>
              <a:gd name="connsiteY72" fmla="*/ 5232455 h 6858889"/>
              <a:gd name="connsiteX73" fmla="*/ 980716 w 9667345"/>
              <a:gd name="connsiteY73" fmla="*/ 6377859 h 6858889"/>
              <a:gd name="connsiteX74" fmla="*/ 1378765 w 9667345"/>
              <a:gd name="connsiteY74" fmla="*/ 6683419 h 6858889"/>
              <a:gd name="connsiteX75" fmla="*/ 1652775 w 9667345"/>
              <a:gd name="connsiteY75" fmla="*/ 6858024 h 6858889"/>
              <a:gd name="connsiteX76" fmla="*/ 1631165 w 9667345"/>
              <a:gd name="connsiteY76" fmla="*/ 6858024 h 6858889"/>
              <a:gd name="connsiteX77" fmla="*/ 1368824 w 9667345"/>
              <a:gd name="connsiteY77" fmla="*/ 6690334 h 6858889"/>
              <a:gd name="connsiteX78" fmla="*/ 967318 w 9667345"/>
              <a:gd name="connsiteY78" fmla="*/ 6382614 h 6858889"/>
              <a:gd name="connsiteX79" fmla="*/ 62592 w 9667345"/>
              <a:gd name="connsiteY79" fmla="*/ 5235569 h 6858889"/>
              <a:gd name="connsiteX80" fmla="*/ 0 w 9667345"/>
              <a:gd name="connsiteY80" fmla="*/ 5109615 h 6858889"/>
              <a:gd name="connsiteX81" fmla="*/ 0 w 9667345"/>
              <a:gd name="connsiteY81" fmla="*/ 4754262 h 6858889"/>
              <a:gd name="connsiteX82" fmla="*/ 86287 w 9667345"/>
              <a:gd name="connsiteY82" fmla="*/ 4958028 h 6858889"/>
              <a:gd name="connsiteX83" fmla="*/ 1091358 w 9667345"/>
              <a:gd name="connsiteY83" fmla="*/ 6332479 h 6858889"/>
              <a:gd name="connsiteX84" fmla="*/ 1489406 w 9667345"/>
              <a:gd name="connsiteY84" fmla="*/ 6638039 h 6858889"/>
              <a:gd name="connsiteX85" fmla="*/ 1836889 w 9667345"/>
              <a:gd name="connsiteY85" fmla="*/ 6857592 h 6858889"/>
              <a:gd name="connsiteX86" fmla="*/ 1816575 w 9667345"/>
              <a:gd name="connsiteY86" fmla="*/ 6857592 h 6858889"/>
              <a:gd name="connsiteX87" fmla="*/ 1479466 w 9667345"/>
              <a:gd name="connsiteY87" fmla="*/ 6644089 h 6858889"/>
              <a:gd name="connsiteX88" fmla="*/ 1081417 w 9667345"/>
              <a:gd name="connsiteY88" fmla="*/ 6336369 h 6858889"/>
              <a:gd name="connsiteX89" fmla="*/ 73038 w 9667345"/>
              <a:gd name="connsiteY89" fmla="*/ 4959848 h 6858889"/>
              <a:gd name="connsiteX90" fmla="*/ 0 w 9667345"/>
              <a:gd name="connsiteY90" fmla="*/ 4787554 h 6858889"/>
              <a:gd name="connsiteX91" fmla="*/ 0 w 9667345"/>
              <a:gd name="connsiteY91" fmla="*/ 4357497 h 6858889"/>
              <a:gd name="connsiteX92" fmla="*/ 3590 w 9667345"/>
              <a:gd name="connsiteY92" fmla="*/ 4371077 h 6858889"/>
              <a:gd name="connsiteX93" fmla="*/ 107256 w 9667345"/>
              <a:gd name="connsiteY93" fmla="*/ 4670269 h 6858889"/>
              <a:gd name="connsiteX94" fmla="*/ 1205024 w 9667345"/>
              <a:gd name="connsiteY94" fmla="*/ 6287099 h 6858889"/>
              <a:gd name="connsiteX95" fmla="*/ 1600048 w 9667345"/>
              <a:gd name="connsiteY95" fmla="*/ 6592659 h 6858889"/>
              <a:gd name="connsiteX96" fmla="*/ 2023165 w 9667345"/>
              <a:gd name="connsiteY96" fmla="*/ 6858024 h 6858889"/>
              <a:gd name="connsiteX97" fmla="*/ 2001554 w 9667345"/>
              <a:gd name="connsiteY97" fmla="*/ 6858024 h 6858889"/>
              <a:gd name="connsiteX98" fmla="*/ 1587082 w 9667345"/>
              <a:gd name="connsiteY98" fmla="*/ 6599142 h 6858889"/>
              <a:gd name="connsiteX99" fmla="*/ 1192058 w 9667345"/>
              <a:gd name="connsiteY99" fmla="*/ 6291421 h 6858889"/>
              <a:gd name="connsiteX100" fmla="*/ 94290 w 9667345"/>
              <a:gd name="connsiteY100" fmla="*/ 4672429 h 6858889"/>
              <a:gd name="connsiteX101" fmla="*/ 0 w 9667345"/>
              <a:gd name="connsiteY101" fmla="*/ 4400852 h 6858889"/>
              <a:gd name="connsiteX102" fmla="*/ 0 w 9667345"/>
              <a:gd name="connsiteY102" fmla="*/ 3631903 h 6858889"/>
              <a:gd name="connsiteX103" fmla="*/ 10844 w 9667345"/>
              <a:gd name="connsiteY103" fmla="*/ 3768898 h 6858889"/>
              <a:gd name="connsiteX104" fmla="*/ 234320 w 9667345"/>
              <a:gd name="connsiteY104" fmla="*/ 4624456 h 6858889"/>
              <a:gd name="connsiteX105" fmla="*/ 1315233 w 9667345"/>
              <a:gd name="connsiteY105" fmla="*/ 6239558 h 6858889"/>
              <a:gd name="connsiteX106" fmla="*/ 1706800 w 9667345"/>
              <a:gd name="connsiteY106" fmla="*/ 6547278 h 6858889"/>
              <a:gd name="connsiteX107" fmla="*/ 2205549 w 9667345"/>
              <a:gd name="connsiteY107" fmla="*/ 6857592 h 6858889"/>
              <a:gd name="connsiteX108" fmla="*/ 2183507 w 9667345"/>
              <a:gd name="connsiteY108" fmla="*/ 6857592 h 6858889"/>
              <a:gd name="connsiteX109" fmla="*/ 1696860 w 9667345"/>
              <a:gd name="connsiteY109" fmla="*/ 6553329 h 6858889"/>
              <a:gd name="connsiteX110" fmla="*/ 1305292 w 9667345"/>
              <a:gd name="connsiteY110" fmla="*/ 6245609 h 6858889"/>
              <a:gd name="connsiteX111" fmla="*/ 220923 w 9667345"/>
              <a:gd name="connsiteY111" fmla="*/ 4626617 h 6858889"/>
              <a:gd name="connsiteX112" fmla="*/ 42265 w 9667345"/>
              <a:gd name="connsiteY112" fmla="*/ 4041321 h 6858889"/>
              <a:gd name="connsiteX113" fmla="*/ 0 w 9667345"/>
              <a:gd name="connsiteY113" fmla="*/ 3795139 h 6858889"/>
              <a:gd name="connsiteX114" fmla="*/ 5434888 w 9667345"/>
              <a:gd name="connsiteY114" fmla="*/ 1729 h 6858889"/>
              <a:gd name="connsiteX115" fmla="*/ 5448286 w 9667345"/>
              <a:gd name="connsiteY115" fmla="*/ 1729 h 6858889"/>
              <a:gd name="connsiteX116" fmla="*/ 5227436 w 9667345"/>
              <a:gd name="connsiteY116" fmla="*/ 893774 h 6858889"/>
              <a:gd name="connsiteX117" fmla="*/ 5060177 w 9667345"/>
              <a:gd name="connsiteY117" fmla="*/ 1269781 h 6858889"/>
              <a:gd name="connsiteX118" fmla="*/ 4785736 w 9667345"/>
              <a:gd name="connsiteY118" fmla="*/ 1963449 h 6858889"/>
              <a:gd name="connsiteX119" fmla="*/ 4768880 w 9667345"/>
              <a:gd name="connsiteY119" fmla="*/ 3010651 h 6858889"/>
              <a:gd name="connsiteX120" fmla="*/ 5361416 w 9667345"/>
              <a:gd name="connsiteY120" fmla="*/ 4600686 h 6858889"/>
              <a:gd name="connsiteX121" fmla="*/ 5642341 w 9667345"/>
              <a:gd name="connsiteY121" fmla="*/ 4920939 h 6858889"/>
              <a:gd name="connsiteX122" fmla="*/ 6990779 w 9667345"/>
              <a:gd name="connsiteY122" fmla="*/ 5817306 h 6858889"/>
              <a:gd name="connsiteX123" fmla="*/ 7425997 w 9667345"/>
              <a:gd name="connsiteY123" fmla="*/ 6003148 h 6858889"/>
              <a:gd name="connsiteX124" fmla="*/ 8717818 w 9667345"/>
              <a:gd name="connsiteY124" fmla="*/ 6393418 h 6858889"/>
              <a:gd name="connsiteX125" fmla="*/ 9666913 w 9667345"/>
              <a:gd name="connsiteY125" fmla="*/ 6567592 h 6858889"/>
              <a:gd name="connsiteX126" fmla="*/ 9666913 w 9667345"/>
              <a:gd name="connsiteY126" fmla="*/ 6576236 h 6858889"/>
              <a:gd name="connsiteX127" fmla="*/ 8714362 w 9667345"/>
              <a:gd name="connsiteY127" fmla="*/ 6401198 h 6858889"/>
              <a:gd name="connsiteX128" fmla="*/ 7416056 w 9667345"/>
              <a:gd name="connsiteY128" fmla="*/ 6008767 h 6858889"/>
              <a:gd name="connsiteX129" fmla="*/ 6984296 w 9667345"/>
              <a:gd name="connsiteY129" fmla="*/ 5822924 h 6858889"/>
              <a:gd name="connsiteX130" fmla="*/ 5632400 w 9667345"/>
              <a:gd name="connsiteY130" fmla="*/ 4924397 h 6858889"/>
              <a:gd name="connsiteX131" fmla="*/ 5348018 w 9667345"/>
              <a:gd name="connsiteY131" fmla="*/ 4604143 h 6858889"/>
              <a:gd name="connsiteX132" fmla="*/ 4755482 w 9667345"/>
              <a:gd name="connsiteY132" fmla="*/ 3009786 h 6858889"/>
              <a:gd name="connsiteX133" fmla="*/ 4772337 w 9667345"/>
              <a:gd name="connsiteY133" fmla="*/ 1962585 h 6858889"/>
              <a:gd name="connsiteX134" fmla="*/ 5043322 w 9667345"/>
              <a:gd name="connsiteY134" fmla="*/ 1266755 h 6858889"/>
              <a:gd name="connsiteX135" fmla="*/ 5210581 w 9667345"/>
              <a:gd name="connsiteY135" fmla="*/ 890749 h 6858889"/>
              <a:gd name="connsiteX136" fmla="*/ 5434888 w 9667345"/>
              <a:gd name="connsiteY136" fmla="*/ 1729 h 6858889"/>
              <a:gd name="connsiteX137" fmla="*/ 5575783 w 9667345"/>
              <a:gd name="connsiteY137" fmla="*/ 1297 h 6858889"/>
              <a:gd name="connsiteX138" fmla="*/ 5589181 w 9667345"/>
              <a:gd name="connsiteY138" fmla="*/ 1297 h 6858889"/>
              <a:gd name="connsiteX139" fmla="*/ 5368330 w 9667345"/>
              <a:gd name="connsiteY139" fmla="*/ 854012 h 6858889"/>
              <a:gd name="connsiteX140" fmla="*/ 5197614 w 9667345"/>
              <a:gd name="connsiteY140" fmla="*/ 1231748 h 6858889"/>
              <a:gd name="connsiteX141" fmla="*/ 4919715 w 9667345"/>
              <a:gd name="connsiteY141" fmla="*/ 1921527 h 6858889"/>
              <a:gd name="connsiteX142" fmla="*/ 4896376 w 9667345"/>
              <a:gd name="connsiteY142" fmla="*/ 2964406 h 6858889"/>
              <a:gd name="connsiteX143" fmla="*/ 5472057 w 9667345"/>
              <a:gd name="connsiteY143" fmla="*/ 4554441 h 6858889"/>
              <a:gd name="connsiteX144" fmla="*/ 5752981 w 9667345"/>
              <a:gd name="connsiteY144" fmla="*/ 4874695 h 6858889"/>
              <a:gd name="connsiteX145" fmla="*/ 7094937 w 9667345"/>
              <a:gd name="connsiteY145" fmla="*/ 5773223 h 6858889"/>
              <a:gd name="connsiteX146" fmla="*/ 7526698 w 9667345"/>
              <a:gd name="connsiteY146" fmla="*/ 5956904 h 6858889"/>
              <a:gd name="connsiteX147" fmla="*/ 8818519 w 9667345"/>
              <a:gd name="connsiteY147" fmla="*/ 6343283 h 6858889"/>
              <a:gd name="connsiteX148" fmla="*/ 9666913 w 9667345"/>
              <a:gd name="connsiteY148" fmla="*/ 6500602 h 6858889"/>
              <a:gd name="connsiteX149" fmla="*/ 9666913 w 9667345"/>
              <a:gd name="connsiteY149" fmla="*/ 6509246 h 6858889"/>
              <a:gd name="connsiteX150" fmla="*/ 8811605 w 9667345"/>
              <a:gd name="connsiteY150" fmla="*/ 6351496 h 6858889"/>
              <a:gd name="connsiteX151" fmla="*/ 7516324 w 9667345"/>
              <a:gd name="connsiteY151" fmla="*/ 5965116 h 6858889"/>
              <a:gd name="connsiteX152" fmla="*/ 7084564 w 9667345"/>
              <a:gd name="connsiteY152" fmla="*/ 5779273 h 6858889"/>
              <a:gd name="connsiteX153" fmla="*/ 5739151 w 9667345"/>
              <a:gd name="connsiteY153" fmla="*/ 4879017 h 6858889"/>
              <a:gd name="connsiteX154" fmla="*/ 5458226 w 9667345"/>
              <a:gd name="connsiteY154" fmla="*/ 4558762 h 6858889"/>
              <a:gd name="connsiteX155" fmla="*/ 4882546 w 9667345"/>
              <a:gd name="connsiteY155" fmla="*/ 2966567 h 6858889"/>
              <a:gd name="connsiteX156" fmla="*/ 4905886 w 9667345"/>
              <a:gd name="connsiteY156" fmla="*/ 1919366 h 6858889"/>
              <a:gd name="connsiteX157" fmla="*/ 5180327 w 9667345"/>
              <a:gd name="connsiteY157" fmla="*/ 1229587 h 6858889"/>
              <a:gd name="connsiteX158" fmla="*/ 5354501 w 9667345"/>
              <a:gd name="connsiteY158" fmla="*/ 851851 h 6858889"/>
              <a:gd name="connsiteX159" fmla="*/ 5575783 w 9667345"/>
              <a:gd name="connsiteY159" fmla="*/ 1297 h 6858889"/>
              <a:gd name="connsiteX160" fmla="*/ 5293994 w 9667345"/>
              <a:gd name="connsiteY160" fmla="*/ 1297 h 6858889"/>
              <a:gd name="connsiteX161" fmla="*/ 5307392 w 9667345"/>
              <a:gd name="connsiteY161" fmla="*/ 1297 h 6858889"/>
              <a:gd name="connsiteX162" fmla="*/ 5083083 w 9667345"/>
              <a:gd name="connsiteY162" fmla="*/ 930511 h 6858889"/>
              <a:gd name="connsiteX163" fmla="*/ 4919283 w 9667345"/>
              <a:gd name="connsiteY163" fmla="*/ 1306517 h 6858889"/>
              <a:gd name="connsiteX164" fmla="*/ 4651756 w 9667345"/>
              <a:gd name="connsiteY164" fmla="*/ 2006668 h 6858889"/>
              <a:gd name="connsiteX165" fmla="*/ 4645273 w 9667345"/>
              <a:gd name="connsiteY165" fmla="*/ 3055599 h 6858889"/>
              <a:gd name="connsiteX166" fmla="*/ 5247749 w 9667345"/>
              <a:gd name="connsiteY166" fmla="*/ 4645633 h 6858889"/>
              <a:gd name="connsiteX167" fmla="*/ 5535589 w 9667345"/>
              <a:gd name="connsiteY167" fmla="*/ 4965888 h 6858889"/>
              <a:gd name="connsiteX168" fmla="*/ 6890942 w 9667345"/>
              <a:gd name="connsiteY168" fmla="*/ 5862254 h 6858889"/>
              <a:gd name="connsiteX169" fmla="*/ 7326160 w 9667345"/>
              <a:gd name="connsiteY169" fmla="*/ 6045935 h 6858889"/>
              <a:gd name="connsiteX170" fmla="*/ 8617983 w 9667345"/>
              <a:gd name="connsiteY170" fmla="*/ 6440527 h 6858889"/>
              <a:gd name="connsiteX171" fmla="*/ 9667345 w 9667345"/>
              <a:gd name="connsiteY171" fmla="*/ 6632852 h 6858889"/>
              <a:gd name="connsiteX172" fmla="*/ 9667345 w 9667345"/>
              <a:gd name="connsiteY172" fmla="*/ 6642793 h 6858889"/>
              <a:gd name="connsiteX173" fmla="*/ 8614525 w 9667345"/>
              <a:gd name="connsiteY173" fmla="*/ 6448739 h 6858889"/>
              <a:gd name="connsiteX174" fmla="*/ 7316220 w 9667345"/>
              <a:gd name="connsiteY174" fmla="*/ 6054147 h 6858889"/>
              <a:gd name="connsiteX175" fmla="*/ 6884460 w 9667345"/>
              <a:gd name="connsiteY175" fmla="*/ 5868305 h 6858889"/>
              <a:gd name="connsiteX176" fmla="*/ 5522623 w 9667345"/>
              <a:gd name="connsiteY176" fmla="*/ 4969778 h 6858889"/>
              <a:gd name="connsiteX177" fmla="*/ 5234783 w 9667345"/>
              <a:gd name="connsiteY177" fmla="*/ 4649523 h 6858889"/>
              <a:gd name="connsiteX178" fmla="*/ 4628850 w 9667345"/>
              <a:gd name="connsiteY178" fmla="*/ 3055167 h 6858889"/>
              <a:gd name="connsiteX179" fmla="*/ 4638790 w 9667345"/>
              <a:gd name="connsiteY179" fmla="*/ 2004076 h 6858889"/>
              <a:gd name="connsiteX180" fmla="*/ 4906318 w 9667345"/>
              <a:gd name="connsiteY180" fmla="*/ 1303924 h 6858889"/>
              <a:gd name="connsiteX181" fmla="*/ 5070118 w 9667345"/>
              <a:gd name="connsiteY181" fmla="*/ 927917 h 6858889"/>
              <a:gd name="connsiteX182" fmla="*/ 5293994 w 9667345"/>
              <a:gd name="connsiteY182" fmla="*/ 1297 h 6858889"/>
              <a:gd name="connsiteX183" fmla="*/ 5150073 w 9667345"/>
              <a:gd name="connsiteY183" fmla="*/ 1297 h 6858889"/>
              <a:gd name="connsiteX184" fmla="*/ 5163472 w 9667345"/>
              <a:gd name="connsiteY184" fmla="*/ 1297 h 6858889"/>
              <a:gd name="connsiteX185" fmla="*/ 4942621 w 9667345"/>
              <a:gd name="connsiteY185" fmla="*/ 969840 h 6858889"/>
              <a:gd name="connsiteX186" fmla="*/ 4781845 w 9667345"/>
              <a:gd name="connsiteY186" fmla="*/ 1343686 h 6858889"/>
              <a:gd name="connsiteX187" fmla="*/ 4517344 w 9667345"/>
              <a:gd name="connsiteY187" fmla="*/ 2049888 h 6858889"/>
              <a:gd name="connsiteX188" fmla="*/ 4517344 w 9667345"/>
              <a:gd name="connsiteY188" fmla="*/ 3098818 h 6858889"/>
              <a:gd name="connsiteX189" fmla="*/ 5136243 w 9667345"/>
              <a:gd name="connsiteY189" fmla="*/ 4691014 h 6858889"/>
              <a:gd name="connsiteX190" fmla="*/ 5424084 w 9667345"/>
              <a:gd name="connsiteY190" fmla="*/ 5011268 h 6858889"/>
              <a:gd name="connsiteX191" fmla="*/ 6789377 w 9667345"/>
              <a:gd name="connsiteY191" fmla="*/ 5905473 h 6858889"/>
              <a:gd name="connsiteX192" fmla="*/ 7224595 w 9667345"/>
              <a:gd name="connsiteY192" fmla="*/ 6091316 h 6858889"/>
              <a:gd name="connsiteX193" fmla="*/ 8519875 w 9667345"/>
              <a:gd name="connsiteY193" fmla="*/ 6487636 h 6858889"/>
              <a:gd name="connsiteX194" fmla="*/ 9666480 w 9667345"/>
              <a:gd name="connsiteY194" fmla="*/ 6699411 h 6858889"/>
              <a:gd name="connsiteX195" fmla="*/ 9666480 w 9667345"/>
              <a:gd name="connsiteY195" fmla="*/ 6708918 h 6858889"/>
              <a:gd name="connsiteX196" fmla="*/ 8513393 w 9667345"/>
              <a:gd name="connsiteY196" fmla="*/ 6495848 h 6858889"/>
              <a:gd name="connsiteX197" fmla="*/ 7218112 w 9667345"/>
              <a:gd name="connsiteY197" fmla="*/ 6099527 h 6858889"/>
              <a:gd name="connsiteX198" fmla="*/ 6779869 w 9667345"/>
              <a:gd name="connsiteY198" fmla="*/ 5911524 h 6858889"/>
              <a:gd name="connsiteX199" fmla="*/ 5411118 w 9667345"/>
              <a:gd name="connsiteY199" fmla="*/ 5015158 h 6858889"/>
              <a:gd name="connsiteX200" fmla="*/ 5123278 w 9667345"/>
              <a:gd name="connsiteY200" fmla="*/ 4694903 h 6858889"/>
              <a:gd name="connsiteX201" fmla="*/ 4504379 w 9667345"/>
              <a:gd name="connsiteY201" fmla="*/ 3100547 h 6858889"/>
              <a:gd name="connsiteX202" fmla="*/ 4504379 w 9667345"/>
              <a:gd name="connsiteY202" fmla="*/ 2047294 h 6858889"/>
              <a:gd name="connsiteX203" fmla="*/ 4768880 w 9667345"/>
              <a:gd name="connsiteY203" fmla="*/ 1341093 h 6858889"/>
              <a:gd name="connsiteX204" fmla="*/ 4929656 w 9667345"/>
              <a:gd name="connsiteY204" fmla="*/ 967246 h 6858889"/>
              <a:gd name="connsiteX205" fmla="*/ 5150073 w 9667345"/>
              <a:gd name="connsiteY205" fmla="*/ 1297 h 6858889"/>
              <a:gd name="connsiteX206" fmla="*/ 5008747 w 9667345"/>
              <a:gd name="connsiteY206" fmla="*/ 1297 h 6858889"/>
              <a:gd name="connsiteX207" fmla="*/ 5022145 w 9667345"/>
              <a:gd name="connsiteY207" fmla="*/ 1297 h 6858889"/>
              <a:gd name="connsiteX208" fmla="*/ 4801294 w 9667345"/>
              <a:gd name="connsiteY208" fmla="*/ 1009169 h 6858889"/>
              <a:gd name="connsiteX209" fmla="*/ 4643977 w 9667345"/>
              <a:gd name="connsiteY209" fmla="*/ 1378694 h 6858889"/>
              <a:gd name="connsiteX210" fmla="*/ 4386390 w 9667345"/>
              <a:gd name="connsiteY210" fmla="*/ 2093107 h 6858889"/>
              <a:gd name="connsiteX211" fmla="*/ 4389848 w 9667345"/>
              <a:gd name="connsiteY211" fmla="*/ 3144198 h 6858889"/>
              <a:gd name="connsiteX212" fmla="*/ 5022145 w 9667345"/>
              <a:gd name="connsiteY212" fmla="*/ 4736393 h 6858889"/>
              <a:gd name="connsiteX213" fmla="*/ 5313442 w 9667345"/>
              <a:gd name="connsiteY213" fmla="*/ 5056648 h 6858889"/>
              <a:gd name="connsiteX214" fmla="*/ 6688676 w 9667345"/>
              <a:gd name="connsiteY214" fmla="*/ 5948692 h 6858889"/>
              <a:gd name="connsiteX215" fmla="*/ 7123895 w 9667345"/>
              <a:gd name="connsiteY215" fmla="*/ 6136696 h 6858889"/>
              <a:gd name="connsiteX216" fmla="*/ 8419174 w 9667345"/>
              <a:gd name="connsiteY216" fmla="*/ 6537339 h 6858889"/>
              <a:gd name="connsiteX217" fmla="*/ 9666049 w 9667345"/>
              <a:gd name="connsiteY217" fmla="*/ 6767264 h 6858889"/>
              <a:gd name="connsiteX218" fmla="*/ 9666049 w 9667345"/>
              <a:gd name="connsiteY218" fmla="*/ 6775908 h 6858889"/>
              <a:gd name="connsiteX219" fmla="*/ 8412691 w 9667345"/>
              <a:gd name="connsiteY219" fmla="*/ 6545550 h 6858889"/>
              <a:gd name="connsiteX220" fmla="*/ 7117412 w 9667345"/>
              <a:gd name="connsiteY220" fmla="*/ 6142747 h 6858889"/>
              <a:gd name="connsiteX221" fmla="*/ 6679169 w 9667345"/>
              <a:gd name="connsiteY221" fmla="*/ 5956904 h 6858889"/>
              <a:gd name="connsiteX222" fmla="*/ 5303934 w 9667345"/>
              <a:gd name="connsiteY222" fmla="*/ 5060537 h 6858889"/>
              <a:gd name="connsiteX223" fmla="*/ 5009611 w 9667345"/>
              <a:gd name="connsiteY223" fmla="*/ 4740283 h 6858889"/>
              <a:gd name="connsiteX224" fmla="*/ 4377314 w 9667345"/>
              <a:gd name="connsiteY224" fmla="*/ 3145926 h 6858889"/>
              <a:gd name="connsiteX225" fmla="*/ 4370831 w 9667345"/>
              <a:gd name="connsiteY225" fmla="*/ 2090514 h 6858889"/>
              <a:gd name="connsiteX226" fmla="*/ 4631875 w 9667345"/>
              <a:gd name="connsiteY226" fmla="*/ 1376100 h 6858889"/>
              <a:gd name="connsiteX227" fmla="*/ 4789193 w 9667345"/>
              <a:gd name="connsiteY227" fmla="*/ 1006575 h 6858889"/>
              <a:gd name="connsiteX228" fmla="*/ 5008747 w 9667345"/>
              <a:gd name="connsiteY228" fmla="*/ 1297 h 6858889"/>
              <a:gd name="connsiteX229" fmla="*/ 4865691 w 9667345"/>
              <a:gd name="connsiteY229" fmla="*/ 1297 h 6858889"/>
              <a:gd name="connsiteX230" fmla="*/ 4879089 w 9667345"/>
              <a:gd name="connsiteY230" fmla="*/ 1297 h 6858889"/>
              <a:gd name="connsiteX231" fmla="*/ 4661697 w 9667345"/>
              <a:gd name="connsiteY231" fmla="*/ 1048499 h 6858889"/>
              <a:gd name="connsiteX232" fmla="*/ 4507836 w 9667345"/>
              <a:gd name="connsiteY232" fmla="*/ 1416295 h 6858889"/>
              <a:gd name="connsiteX233" fmla="*/ 4253707 w 9667345"/>
              <a:gd name="connsiteY233" fmla="*/ 2135030 h 6858889"/>
              <a:gd name="connsiteX234" fmla="*/ 4267105 w 9667345"/>
              <a:gd name="connsiteY234" fmla="*/ 3190442 h 6858889"/>
              <a:gd name="connsiteX235" fmla="*/ 4909775 w 9667345"/>
              <a:gd name="connsiteY235" fmla="*/ 4782638 h 6858889"/>
              <a:gd name="connsiteX236" fmla="*/ 5207555 w 9667345"/>
              <a:gd name="connsiteY236" fmla="*/ 5102893 h 6858889"/>
              <a:gd name="connsiteX237" fmla="*/ 6586247 w 9667345"/>
              <a:gd name="connsiteY237" fmla="*/ 5994937 h 6858889"/>
              <a:gd name="connsiteX238" fmla="*/ 7024491 w 9667345"/>
              <a:gd name="connsiteY238" fmla="*/ 6180779 h 6858889"/>
              <a:gd name="connsiteX239" fmla="*/ 8319770 w 9667345"/>
              <a:gd name="connsiteY239" fmla="*/ 6585744 h 6858889"/>
              <a:gd name="connsiteX240" fmla="*/ 9666913 w 9667345"/>
              <a:gd name="connsiteY240" fmla="*/ 6835982 h 6858889"/>
              <a:gd name="connsiteX241" fmla="*/ 9666913 w 9667345"/>
              <a:gd name="connsiteY241" fmla="*/ 6844626 h 6858889"/>
              <a:gd name="connsiteX242" fmla="*/ 8316312 w 9667345"/>
              <a:gd name="connsiteY242" fmla="*/ 6593955 h 6858889"/>
              <a:gd name="connsiteX243" fmla="*/ 7018008 w 9667345"/>
              <a:gd name="connsiteY243" fmla="*/ 6188992 h 6858889"/>
              <a:gd name="connsiteX244" fmla="*/ 6579764 w 9667345"/>
              <a:gd name="connsiteY244" fmla="*/ 6000988 h 6858889"/>
              <a:gd name="connsiteX245" fmla="*/ 5194157 w 9667345"/>
              <a:gd name="connsiteY245" fmla="*/ 5106782 h 6858889"/>
              <a:gd name="connsiteX246" fmla="*/ 4899835 w 9667345"/>
              <a:gd name="connsiteY246" fmla="*/ 4786528 h 6858889"/>
              <a:gd name="connsiteX247" fmla="*/ 4254139 w 9667345"/>
              <a:gd name="connsiteY247" fmla="*/ 3190010 h 6858889"/>
              <a:gd name="connsiteX248" fmla="*/ 4240741 w 9667345"/>
              <a:gd name="connsiteY248" fmla="*/ 2134598 h 6858889"/>
              <a:gd name="connsiteX249" fmla="*/ 4494870 w 9667345"/>
              <a:gd name="connsiteY249" fmla="*/ 1413701 h 6858889"/>
              <a:gd name="connsiteX250" fmla="*/ 4645273 w 9667345"/>
              <a:gd name="connsiteY250" fmla="*/ 1045906 h 6858889"/>
              <a:gd name="connsiteX251" fmla="*/ 4865691 w 9667345"/>
              <a:gd name="connsiteY251" fmla="*/ 1297 h 6858889"/>
              <a:gd name="connsiteX252" fmla="*/ 4438253 w 9667345"/>
              <a:gd name="connsiteY252" fmla="*/ 1297 h 6858889"/>
              <a:gd name="connsiteX253" fmla="*/ 4451652 w 9667345"/>
              <a:gd name="connsiteY253" fmla="*/ 1297 h 6858889"/>
              <a:gd name="connsiteX254" fmla="*/ 4237284 w 9667345"/>
              <a:gd name="connsiteY254" fmla="*/ 1163894 h 6858889"/>
              <a:gd name="connsiteX255" fmla="*/ 4096821 w 9667345"/>
              <a:gd name="connsiteY255" fmla="*/ 1525207 h 6858889"/>
              <a:gd name="connsiteX256" fmla="*/ 3852633 w 9667345"/>
              <a:gd name="connsiteY256" fmla="*/ 2264687 h 6858889"/>
              <a:gd name="connsiteX257" fmla="*/ 3889369 w 9667345"/>
              <a:gd name="connsiteY257" fmla="*/ 3323990 h 6858889"/>
              <a:gd name="connsiteX258" fmla="*/ 4575258 w 9667345"/>
              <a:gd name="connsiteY258" fmla="*/ 4918347 h 6858889"/>
              <a:gd name="connsiteX259" fmla="*/ 4879953 w 9667345"/>
              <a:gd name="connsiteY259" fmla="*/ 5236440 h 6858889"/>
              <a:gd name="connsiteX260" fmla="*/ 6285442 w 9667345"/>
              <a:gd name="connsiteY260" fmla="*/ 6126323 h 6858889"/>
              <a:gd name="connsiteX261" fmla="*/ 6723685 w 9667345"/>
              <a:gd name="connsiteY261" fmla="*/ 6314327 h 6858889"/>
              <a:gd name="connsiteX262" fmla="*/ 8021989 w 9667345"/>
              <a:gd name="connsiteY262" fmla="*/ 6729231 h 6858889"/>
              <a:gd name="connsiteX263" fmla="*/ 8590321 w 9667345"/>
              <a:gd name="connsiteY263" fmla="*/ 6858456 h 6858889"/>
              <a:gd name="connsiteX264" fmla="*/ 8546671 w 9667345"/>
              <a:gd name="connsiteY264" fmla="*/ 6858456 h 6858889"/>
              <a:gd name="connsiteX265" fmla="*/ 8018964 w 9667345"/>
              <a:gd name="connsiteY265" fmla="*/ 6737876 h 6858889"/>
              <a:gd name="connsiteX266" fmla="*/ 6717202 w 9667345"/>
              <a:gd name="connsiteY266" fmla="*/ 6322971 h 6858889"/>
              <a:gd name="connsiteX267" fmla="*/ 6275502 w 9667345"/>
              <a:gd name="connsiteY267" fmla="*/ 6134968 h 6858889"/>
              <a:gd name="connsiteX268" fmla="*/ 4866555 w 9667345"/>
              <a:gd name="connsiteY268" fmla="*/ 5242923 h 6858889"/>
              <a:gd name="connsiteX269" fmla="*/ 4561860 w 9667345"/>
              <a:gd name="connsiteY269" fmla="*/ 4922669 h 6858889"/>
              <a:gd name="connsiteX270" fmla="*/ 3875971 w 9667345"/>
              <a:gd name="connsiteY270" fmla="*/ 3326151 h 6858889"/>
              <a:gd name="connsiteX271" fmla="*/ 3839235 w 9667345"/>
              <a:gd name="connsiteY271" fmla="*/ 2262526 h 6858889"/>
              <a:gd name="connsiteX272" fmla="*/ 4083423 w 9667345"/>
              <a:gd name="connsiteY272" fmla="*/ 1523045 h 6858889"/>
              <a:gd name="connsiteX273" fmla="*/ 4223886 w 9667345"/>
              <a:gd name="connsiteY273" fmla="*/ 1161733 h 6858889"/>
              <a:gd name="connsiteX274" fmla="*/ 4438253 w 9667345"/>
              <a:gd name="connsiteY274" fmla="*/ 1297 h 6858889"/>
              <a:gd name="connsiteX275" fmla="*/ 3715197 w 9667345"/>
              <a:gd name="connsiteY275" fmla="*/ 1297 h 6858889"/>
              <a:gd name="connsiteX276" fmla="*/ 3728595 w 9667345"/>
              <a:gd name="connsiteY276" fmla="*/ 1297 h 6858889"/>
              <a:gd name="connsiteX277" fmla="*/ 3531083 w 9667345"/>
              <a:gd name="connsiteY277" fmla="*/ 1357948 h 6858889"/>
              <a:gd name="connsiteX278" fmla="*/ 3410501 w 9667345"/>
              <a:gd name="connsiteY278" fmla="*/ 1704998 h 6858889"/>
              <a:gd name="connsiteX279" fmla="*/ 3186194 w 9667345"/>
              <a:gd name="connsiteY279" fmla="*/ 2479486 h 6858889"/>
              <a:gd name="connsiteX280" fmla="*/ 3259665 w 9667345"/>
              <a:gd name="connsiteY280" fmla="*/ 3549162 h 6858889"/>
              <a:gd name="connsiteX281" fmla="*/ 4012544 w 9667345"/>
              <a:gd name="connsiteY281" fmla="*/ 5147409 h 6858889"/>
              <a:gd name="connsiteX282" fmla="*/ 4330638 w 9667345"/>
              <a:gd name="connsiteY282" fmla="*/ 5463341 h 6858889"/>
              <a:gd name="connsiteX283" fmla="*/ 5776320 w 9667345"/>
              <a:gd name="connsiteY283" fmla="*/ 6347174 h 6858889"/>
              <a:gd name="connsiteX284" fmla="*/ 6221478 w 9667345"/>
              <a:gd name="connsiteY284" fmla="*/ 6539067 h 6858889"/>
              <a:gd name="connsiteX285" fmla="*/ 7132106 w 9667345"/>
              <a:gd name="connsiteY285" fmla="*/ 6858889 h 6858889"/>
              <a:gd name="connsiteX286" fmla="*/ 7102285 w 9667345"/>
              <a:gd name="connsiteY286" fmla="*/ 6858889 h 6858889"/>
              <a:gd name="connsiteX287" fmla="*/ 6214995 w 9667345"/>
              <a:gd name="connsiteY287" fmla="*/ 6546414 h 6858889"/>
              <a:gd name="connsiteX288" fmla="*/ 5769837 w 9667345"/>
              <a:gd name="connsiteY288" fmla="*/ 6356249 h 6858889"/>
              <a:gd name="connsiteX289" fmla="*/ 4320697 w 9667345"/>
              <a:gd name="connsiteY289" fmla="*/ 5468095 h 6858889"/>
              <a:gd name="connsiteX290" fmla="*/ 3999578 w 9667345"/>
              <a:gd name="connsiteY290" fmla="*/ 5152162 h 6858889"/>
              <a:gd name="connsiteX291" fmla="*/ 3243243 w 9667345"/>
              <a:gd name="connsiteY291" fmla="*/ 3549594 h 6858889"/>
              <a:gd name="connsiteX292" fmla="*/ 3172796 w 9667345"/>
              <a:gd name="connsiteY292" fmla="*/ 2477758 h 6858889"/>
              <a:gd name="connsiteX293" fmla="*/ 3397102 w 9667345"/>
              <a:gd name="connsiteY293" fmla="*/ 1703270 h 6858889"/>
              <a:gd name="connsiteX294" fmla="*/ 3514226 w 9667345"/>
              <a:gd name="connsiteY294" fmla="*/ 1356220 h 6858889"/>
              <a:gd name="connsiteX295" fmla="*/ 3715197 w 9667345"/>
              <a:gd name="connsiteY295" fmla="*/ 1297 h 6858889"/>
              <a:gd name="connsiteX296" fmla="*/ 3566955 w 9667345"/>
              <a:gd name="connsiteY296" fmla="*/ 1297 h 6858889"/>
              <a:gd name="connsiteX297" fmla="*/ 3583809 w 9667345"/>
              <a:gd name="connsiteY297" fmla="*/ 1297 h 6858889"/>
              <a:gd name="connsiteX298" fmla="*/ 3386299 w 9667345"/>
              <a:gd name="connsiteY298" fmla="*/ 1395117 h 6858889"/>
              <a:gd name="connsiteX299" fmla="*/ 3272631 w 9667345"/>
              <a:gd name="connsiteY299" fmla="*/ 1740006 h 6858889"/>
              <a:gd name="connsiteX300" fmla="*/ 3055239 w 9667345"/>
              <a:gd name="connsiteY300" fmla="*/ 2520545 h 6858889"/>
              <a:gd name="connsiteX301" fmla="*/ 3132169 w 9667345"/>
              <a:gd name="connsiteY301" fmla="*/ 3592381 h 6858889"/>
              <a:gd name="connsiteX302" fmla="*/ 3898445 w 9667345"/>
              <a:gd name="connsiteY302" fmla="*/ 5192789 h 6858889"/>
              <a:gd name="connsiteX303" fmla="*/ 4223022 w 9667345"/>
              <a:gd name="connsiteY303" fmla="*/ 5508721 h 6858889"/>
              <a:gd name="connsiteX304" fmla="*/ 5675619 w 9667345"/>
              <a:gd name="connsiteY304" fmla="*/ 6392554 h 6858889"/>
              <a:gd name="connsiteX305" fmla="*/ 6120777 w 9667345"/>
              <a:gd name="connsiteY305" fmla="*/ 6584447 h 6858889"/>
              <a:gd name="connsiteX306" fmla="*/ 6884460 w 9667345"/>
              <a:gd name="connsiteY306" fmla="*/ 6858024 h 6858889"/>
              <a:gd name="connsiteX307" fmla="*/ 6853343 w 9667345"/>
              <a:gd name="connsiteY307" fmla="*/ 6858024 h 6858889"/>
              <a:gd name="connsiteX308" fmla="*/ 6113862 w 9667345"/>
              <a:gd name="connsiteY308" fmla="*/ 6590931 h 6858889"/>
              <a:gd name="connsiteX309" fmla="*/ 5665247 w 9667345"/>
              <a:gd name="connsiteY309" fmla="*/ 6399037 h 6858889"/>
              <a:gd name="connsiteX310" fmla="*/ 4209623 w 9667345"/>
              <a:gd name="connsiteY310" fmla="*/ 5513043 h 6858889"/>
              <a:gd name="connsiteX311" fmla="*/ 3888505 w 9667345"/>
              <a:gd name="connsiteY311" fmla="*/ 5197111 h 6858889"/>
              <a:gd name="connsiteX312" fmla="*/ 3118771 w 9667345"/>
              <a:gd name="connsiteY312" fmla="*/ 3594543 h 6858889"/>
              <a:gd name="connsiteX313" fmla="*/ 3038384 w 9667345"/>
              <a:gd name="connsiteY313" fmla="*/ 2520545 h 6858889"/>
              <a:gd name="connsiteX314" fmla="*/ 3259234 w 9667345"/>
              <a:gd name="connsiteY314" fmla="*/ 1737845 h 6858889"/>
              <a:gd name="connsiteX315" fmla="*/ 3372899 w 9667345"/>
              <a:gd name="connsiteY315" fmla="*/ 1395117 h 6858889"/>
              <a:gd name="connsiteX316" fmla="*/ 3566955 w 9667345"/>
              <a:gd name="connsiteY316" fmla="*/ 1297 h 6858889"/>
              <a:gd name="connsiteX317" fmla="*/ 3423467 w 9667345"/>
              <a:gd name="connsiteY317" fmla="*/ 1297 h 6858889"/>
              <a:gd name="connsiteX318" fmla="*/ 3436865 w 9667345"/>
              <a:gd name="connsiteY318" fmla="*/ 1297 h 6858889"/>
              <a:gd name="connsiteX319" fmla="*/ 3246268 w 9667345"/>
              <a:gd name="connsiteY319" fmla="*/ 1434446 h 6858889"/>
              <a:gd name="connsiteX320" fmla="*/ 3135627 w 9667345"/>
              <a:gd name="connsiteY320" fmla="*/ 1775013 h 6858889"/>
              <a:gd name="connsiteX321" fmla="*/ 2921258 w 9667345"/>
              <a:gd name="connsiteY321" fmla="*/ 2563764 h 6858889"/>
              <a:gd name="connsiteX322" fmla="*/ 3005104 w 9667345"/>
              <a:gd name="connsiteY322" fmla="*/ 3637761 h 6858889"/>
              <a:gd name="connsiteX323" fmla="*/ 3788238 w 9667345"/>
              <a:gd name="connsiteY323" fmla="*/ 5238168 h 6858889"/>
              <a:gd name="connsiteX324" fmla="*/ 4112813 w 9667345"/>
              <a:gd name="connsiteY324" fmla="*/ 5554101 h 6858889"/>
              <a:gd name="connsiteX325" fmla="*/ 5575351 w 9667345"/>
              <a:gd name="connsiteY325" fmla="*/ 6435773 h 6858889"/>
              <a:gd name="connsiteX326" fmla="*/ 6020509 w 9667345"/>
              <a:gd name="connsiteY326" fmla="*/ 6627666 h 6858889"/>
              <a:gd name="connsiteX327" fmla="*/ 6644161 w 9667345"/>
              <a:gd name="connsiteY327" fmla="*/ 6857592 h 6858889"/>
              <a:gd name="connsiteX328" fmla="*/ 6615637 w 9667345"/>
              <a:gd name="connsiteY328" fmla="*/ 6857592 h 6858889"/>
              <a:gd name="connsiteX329" fmla="*/ 6014025 w 9667345"/>
              <a:gd name="connsiteY329" fmla="*/ 6635877 h 6858889"/>
              <a:gd name="connsiteX330" fmla="*/ 5565410 w 9667345"/>
              <a:gd name="connsiteY330" fmla="*/ 6443985 h 6858889"/>
              <a:gd name="connsiteX331" fmla="*/ 4102871 w 9667345"/>
              <a:gd name="connsiteY331" fmla="*/ 5557991 h 6858889"/>
              <a:gd name="connsiteX332" fmla="*/ 3774838 w 9667345"/>
              <a:gd name="connsiteY332" fmla="*/ 5242058 h 6858889"/>
              <a:gd name="connsiteX333" fmla="*/ 2991707 w 9667345"/>
              <a:gd name="connsiteY333" fmla="*/ 3639491 h 6858889"/>
              <a:gd name="connsiteX334" fmla="*/ 2907861 w 9667345"/>
              <a:gd name="connsiteY334" fmla="*/ 2563764 h 6858889"/>
              <a:gd name="connsiteX335" fmla="*/ 3122227 w 9667345"/>
              <a:gd name="connsiteY335" fmla="*/ 1775013 h 6858889"/>
              <a:gd name="connsiteX336" fmla="*/ 3232870 w 9667345"/>
              <a:gd name="connsiteY336" fmla="*/ 1432286 h 6858889"/>
              <a:gd name="connsiteX337" fmla="*/ 3423467 w 9667345"/>
              <a:gd name="connsiteY337" fmla="*/ 1297 h 6858889"/>
              <a:gd name="connsiteX338" fmla="*/ 3276521 w 9667345"/>
              <a:gd name="connsiteY338" fmla="*/ 1297 h 6858889"/>
              <a:gd name="connsiteX339" fmla="*/ 3293377 w 9667345"/>
              <a:gd name="connsiteY339" fmla="*/ 1297 h 6858889"/>
              <a:gd name="connsiteX340" fmla="*/ 3105805 w 9667345"/>
              <a:gd name="connsiteY340" fmla="*/ 1473776 h 6858889"/>
              <a:gd name="connsiteX341" fmla="*/ 2998622 w 9667345"/>
              <a:gd name="connsiteY341" fmla="*/ 1812614 h 6858889"/>
              <a:gd name="connsiteX342" fmla="*/ 2787713 w 9667345"/>
              <a:gd name="connsiteY342" fmla="*/ 2607848 h 6858889"/>
              <a:gd name="connsiteX343" fmla="*/ 2881497 w 9667345"/>
              <a:gd name="connsiteY343" fmla="*/ 3683573 h 6858889"/>
              <a:gd name="connsiteX344" fmla="*/ 3674571 w 9667345"/>
              <a:gd name="connsiteY344" fmla="*/ 5283981 h 6858889"/>
              <a:gd name="connsiteX345" fmla="*/ 4002604 w 9667345"/>
              <a:gd name="connsiteY345" fmla="*/ 5599913 h 6858889"/>
              <a:gd name="connsiteX346" fmla="*/ 5471625 w 9667345"/>
              <a:gd name="connsiteY346" fmla="*/ 6481585 h 6858889"/>
              <a:gd name="connsiteX347" fmla="*/ 5920240 w 9667345"/>
              <a:gd name="connsiteY347" fmla="*/ 6673478 h 6858889"/>
              <a:gd name="connsiteX348" fmla="*/ 6409913 w 9667345"/>
              <a:gd name="connsiteY348" fmla="*/ 6858024 h 6858889"/>
              <a:gd name="connsiteX349" fmla="*/ 6380956 w 9667345"/>
              <a:gd name="connsiteY349" fmla="*/ 6858024 h 6858889"/>
              <a:gd name="connsiteX350" fmla="*/ 5913757 w 9667345"/>
              <a:gd name="connsiteY350" fmla="*/ 6679961 h 6858889"/>
              <a:gd name="connsiteX351" fmla="*/ 5465142 w 9667345"/>
              <a:gd name="connsiteY351" fmla="*/ 6488068 h 6858889"/>
              <a:gd name="connsiteX352" fmla="*/ 3992663 w 9667345"/>
              <a:gd name="connsiteY352" fmla="*/ 5604236 h 6858889"/>
              <a:gd name="connsiteX353" fmla="*/ 3664629 w 9667345"/>
              <a:gd name="connsiteY353" fmla="*/ 5288303 h 6858889"/>
              <a:gd name="connsiteX354" fmla="*/ 2864642 w 9667345"/>
              <a:gd name="connsiteY354" fmla="*/ 3685734 h 6858889"/>
              <a:gd name="connsiteX355" fmla="*/ 2774314 w 9667345"/>
              <a:gd name="connsiteY355" fmla="*/ 2605687 h 6858889"/>
              <a:gd name="connsiteX356" fmla="*/ 2981766 w 9667345"/>
              <a:gd name="connsiteY356" fmla="*/ 1810454 h 6858889"/>
              <a:gd name="connsiteX357" fmla="*/ 3092408 w 9667345"/>
              <a:gd name="connsiteY357" fmla="*/ 1471615 h 6858889"/>
              <a:gd name="connsiteX358" fmla="*/ 3276521 w 9667345"/>
              <a:gd name="connsiteY358" fmla="*/ 1297 h 6858889"/>
              <a:gd name="connsiteX359" fmla="*/ 3132169 w 9667345"/>
              <a:gd name="connsiteY359" fmla="*/ 1297 h 6858889"/>
              <a:gd name="connsiteX360" fmla="*/ 3145566 w 9667345"/>
              <a:gd name="connsiteY360" fmla="*/ 1297 h 6858889"/>
              <a:gd name="connsiteX361" fmla="*/ 2964911 w 9667345"/>
              <a:gd name="connsiteY361" fmla="*/ 1513105 h 6858889"/>
              <a:gd name="connsiteX362" fmla="*/ 2857726 w 9667345"/>
              <a:gd name="connsiteY362" fmla="*/ 1845461 h 6858889"/>
              <a:gd name="connsiteX363" fmla="*/ 2653732 w 9667345"/>
              <a:gd name="connsiteY363" fmla="*/ 2651066 h 6858889"/>
              <a:gd name="connsiteX364" fmla="*/ 2754001 w 9667345"/>
              <a:gd name="connsiteY364" fmla="*/ 3728954 h 6858889"/>
              <a:gd name="connsiteX365" fmla="*/ 3563930 w 9667345"/>
              <a:gd name="connsiteY365" fmla="*/ 5329361 h 6858889"/>
              <a:gd name="connsiteX366" fmla="*/ 3895420 w 9667345"/>
              <a:gd name="connsiteY366" fmla="*/ 5643133 h 6858889"/>
              <a:gd name="connsiteX367" fmla="*/ 5371356 w 9667345"/>
              <a:gd name="connsiteY367" fmla="*/ 6524804 h 6858889"/>
              <a:gd name="connsiteX368" fmla="*/ 5819971 w 9667345"/>
              <a:gd name="connsiteY368" fmla="*/ 6718859 h 6858889"/>
              <a:gd name="connsiteX369" fmla="*/ 6183877 w 9667345"/>
              <a:gd name="connsiteY369" fmla="*/ 6858024 h 6858889"/>
              <a:gd name="connsiteX370" fmla="*/ 6156648 w 9667345"/>
              <a:gd name="connsiteY370" fmla="*/ 6858024 h 6858889"/>
              <a:gd name="connsiteX371" fmla="*/ 5813056 w 9667345"/>
              <a:gd name="connsiteY371" fmla="*/ 6725342 h 6858889"/>
              <a:gd name="connsiteX372" fmla="*/ 5364441 w 9667345"/>
              <a:gd name="connsiteY372" fmla="*/ 6531288 h 6858889"/>
              <a:gd name="connsiteX373" fmla="*/ 3882022 w 9667345"/>
              <a:gd name="connsiteY373" fmla="*/ 5649616 h 6858889"/>
              <a:gd name="connsiteX374" fmla="*/ 3550532 w 9667345"/>
              <a:gd name="connsiteY374" fmla="*/ 5333683 h 6858889"/>
              <a:gd name="connsiteX375" fmla="*/ 2740603 w 9667345"/>
              <a:gd name="connsiteY375" fmla="*/ 3728954 h 6858889"/>
              <a:gd name="connsiteX376" fmla="*/ 2640334 w 9667345"/>
              <a:gd name="connsiteY376" fmla="*/ 2648906 h 6858889"/>
              <a:gd name="connsiteX377" fmla="*/ 2844328 w 9667345"/>
              <a:gd name="connsiteY377" fmla="*/ 1845461 h 6858889"/>
              <a:gd name="connsiteX378" fmla="*/ 2948056 w 9667345"/>
              <a:gd name="connsiteY378" fmla="*/ 1510944 h 6858889"/>
              <a:gd name="connsiteX379" fmla="*/ 3132169 w 9667345"/>
              <a:gd name="connsiteY379" fmla="*/ 1297 h 6858889"/>
              <a:gd name="connsiteX380" fmla="*/ 1666605 w 9667345"/>
              <a:gd name="connsiteY380" fmla="*/ 1297 h 6858889"/>
              <a:gd name="connsiteX381" fmla="*/ 1680003 w 9667345"/>
              <a:gd name="connsiteY381" fmla="*/ 1297 h 6858889"/>
              <a:gd name="connsiteX382" fmla="*/ 1680003 w 9667345"/>
              <a:gd name="connsiteY382" fmla="*/ 19882 h 6858889"/>
              <a:gd name="connsiteX383" fmla="*/ 1549482 w 9667345"/>
              <a:gd name="connsiteY383" fmla="*/ 1899053 h 6858889"/>
              <a:gd name="connsiteX384" fmla="*/ 1482491 w 9667345"/>
              <a:gd name="connsiteY384" fmla="*/ 2186028 h 6858889"/>
              <a:gd name="connsiteX385" fmla="*/ 1321715 w 9667345"/>
              <a:gd name="connsiteY385" fmla="*/ 3078073 h 6858889"/>
              <a:gd name="connsiteX386" fmla="*/ 1495889 w 9667345"/>
              <a:gd name="connsiteY386" fmla="*/ 4176705 h 6858889"/>
              <a:gd name="connsiteX387" fmla="*/ 2439797 w 9667345"/>
              <a:gd name="connsiteY387" fmla="*/ 5785324 h 6858889"/>
              <a:gd name="connsiteX388" fmla="*/ 2801111 w 9667345"/>
              <a:gd name="connsiteY388" fmla="*/ 6095205 h 6858889"/>
              <a:gd name="connsiteX389" fmla="*/ 4120160 w 9667345"/>
              <a:gd name="connsiteY389" fmla="*/ 6858024 h 6858889"/>
              <a:gd name="connsiteX390" fmla="*/ 4095092 w 9667345"/>
              <a:gd name="connsiteY390" fmla="*/ 6858024 h 6858889"/>
              <a:gd name="connsiteX391" fmla="*/ 2790738 w 9667345"/>
              <a:gd name="connsiteY391" fmla="*/ 6101688 h 6858889"/>
              <a:gd name="connsiteX392" fmla="*/ 2425967 w 9667345"/>
              <a:gd name="connsiteY392" fmla="*/ 5789646 h 6858889"/>
              <a:gd name="connsiteX393" fmla="*/ 1479034 w 9667345"/>
              <a:gd name="connsiteY393" fmla="*/ 4178866 h 6858889"/>
              <a:gd name="connsiteX394" fmla="*/ 1308318 w 9667345"/>
              <a:gd name="connsiteY394" fmla="*/ 3078073 h 6858889"/>
              <a:gd name="connsiteX395" fmla="*/ 1469093 w 9667345"/>
              <a:gd name="connsiteY395" fmla="*/ 2183867 h 6858889"/>
              <a:gd name="connsiteX396" fmla="*/ 1536083 w 9667345"/>
              <a:gd name="connsiteY396" fmla="*/ 1899053 h 6858889"/>
              <a:gd name="connsiteX397" fmla="*/ 1666605 w 9667345"/>
              <a:gd name="connsiteY397" fmla="*/ 19882 h 6858889"/>
              <a:gd name="connsiteX398" fmla="*/ 1666605 w 9667345"/>
              <a:gd name="connsiteY398" fmla="*/ 1297 h 6858889"/>
              <a:gd name="connsiteX399" fmla="*/ 5716245 w 9667345"/>
              <a:gd name="connsiteY399" fmla="*/ 865 h 6858889"/>
              <a:gd name="connsiteX400" fmla="*/ 5729643 w 9667345"/>
              <a:gd name="connsiteY400" fmla="*/ 865 h 6858889"/>
              <a:gd name="connsiteX401" fmla="*/ 5508793 w 9667345"/>
              <a:gd name="connsiteY401" fmla="*/ 814683 h 6858889"/>
              <a:gd name="connsiteX402" fmla="*/ 5334619 w 9667345"/>
              <a:gd name="connsiteY402" fmla="*/ 1194580 h 6858889"/>
              <a:gd name="connsiteX403" fmla="*/ 5053695 w 9667345"/>
              <a:gd name="connsiteY403" fmla="*/ 1878739 h 6858889"/>
              <a:gd name="connsiteX404" fmla="*/ 5023441 w 9667345"/>
              <a:gd name="connsiteY404" fmla="*/ 2919458 h 6858889"/>
              <a:gd name="connsiteX405" fmla="*/ 5585723 w 9667345"/>
              <a:gd name="connsiteY405" fmla="*/ 4509493 h 6858889"/>
              <a:gd name="connsiteX406" fmla="*/ 7626966 w 9667345"/>
              <a:gd name="connsiteY406" fmla="*/ 5911524 h 6858889"/>
              <a:gd name="connsiteX407" fmla="*/ 9666913 w 9667345"/>
              <a:gd name="connsiteY407" fmla="*/ 6434908 h 6858889"/>
              <a:gd name="connsiteX408" fmla="*/ 9666913 w 9667345"/>
              <a:gd name="connsiteY408" fmla="*/ 6443985 h 6858889"/>
              <a:gd name="connsiteX409" fmla="*/ 7617025 w 9667345"/>
              <a:gd name="connsiteY409" fmla="*/ 5919736 h 6858889"/>
              <a:gd name="connsiteX410" fmla="*/ 6425472 w 9667345"/>
              <a:gd name="connsiteY410" fmla="*/ 5306455 h 6858889"/>
              <a:gd name="connsiteX411" fmla="*/ 5572325 w 9667345"/>
              <a:gd name="connsiteY411" fmla="*/ 4513383 h 6858889"/>
              <a:gd name="connsiteX412" fmla="*/ 5006586 w 9667345"/>
              <a:gd name="connsiteY412" fmla="*/ 2921188 h 6858889"/>
              <a:gd name="connsiteX413" fmla="*/ 5036839 w 9667345"/>
              <a:gd name="connsiteY413" fmla="*/ 1876146 h 6858889"/>
              <a:gd name="connsiteX414" fmla="*/ 5321221 w 9667345"/>
              <a:gd name="connsiteY414" fmla="*/ 1192419 h 6858889"/>
              <a:gd name="connsiteX415" fmla="*/ 5495395 w 9667345"/>
              <a:gd name="connsiteY415" fmla="*/ 812521 h 6858889"/>
              <a:gd name="connsiteX416" fmla="*/ 5716245 w 9667345"/>
              <a:gd name="connsiteY416" fmla="*/ 865 h 6858889"/>
              <a:gd name="connsiteX417" fmla="*/ 4726525 w 9667345"/>
              <a:gd name="connsiteY417" fmla="*/ 865 h 6858889"/>
              <a:gd name="connsiteX418" fmla="*/ 4739923 w 9667345"/>
              <a:gd name="connsiteY418" fmla="*/ 865 h 6858889"/>
              <a:gd name="connsiteX419" fmla="*/ 4519073 w 9667345"/>
              <a:gd name="connsiteY419" fmla="*/ 1085235 h 6858889"/>
              <a:gd name="connsiteX420" fmla="*/ 4371695 w 9667345"/>
              <a:gd name="connsiteY420" fmla="*/ 1453030 h 6858889"/>
              <a:gd name="connsiteX421" fmla="*/ 4120592 w 9667345"/>
              <a:gd name="connsiteY421" fmla="*/ 2177816 h 6858889"/>
              <a:gd name="connsiteX422" fmla="*/ 4140473 w 9667345"/>
              <a:gd name="connsiteY422" fmla="*/ 3234958 h 6858889"/>
              <a:gd name="connsiteX423" fmla="*/ 4799566 w 9667345"/>
              <a:gd name="connsiteY423" fmla="*/ 4827154 h 6858889"/>
              <a:gd name="connsiteX424" fmla="*/ 5097346 w 9667345"/>
              <a:gd name="connsiteY424" fmla="*/ 5145247 h 6858889"/>
              <a:gd name="connsiteX425" fmla="*/ 6485979 w 9667345"/>
              <a:gd name="connsiteY425" fmla="*/ 6037292 h 6858889"/>
              <a:gd name="connsiteX426" fmla="*/ 6924221 w 9667345"/>
              <a:gd name="connsiteY426" fmla="*/ 6225295 h 6858889"/>
              <a:gd name="connsiteX427" fmla="*/ 8222527 w 9667345"/>
              <a:gd name="connsiteY427" fmla="*/ 6631988 h 6858889"/>
              <a:gd name="connsiteX428" fmla="*/ 9362217 w 9667345"/>
              <a:gd name="connsiteY428" fmla="*/ 6858024 h 6858889"/>
              <a:gd name="connsiteX429" fmla="*/ 9306465 w 9667345"/>
              <a:gd name="connsiteY429" fmla="*/ 6858024 h 6858889"/>
              <a:gd name="connsiteX430" fmla="*/ 8216044 w 9667345"/>
              <a:gd name="connsiteY430" fmla="*/ 6640632 h 6858889"/>
              <a:gd name="connsiteX431" fmla="*/ 6917738 w 9667345"/>
              <a:gd name="connsiteY431" fmla="*/ 6233939 h 6858889"/>
              <a:gd name="connsiteX432" fmla="*/ 6479496 w 9667345"/>
              <a:gd name="connsiteY432" fmla="*/ 6045935 h 6858889"/>
              <a:gd name="connsiteX433" fmla="*/ 5083948 w 9667345"/>
              <a:gd name="connsiteY433" fmla="*/ 5151730 h 6858889"/>
              <a:gd name="connsiteX434" fmla="*/ 4786168 w 9667345"/>
              <a:gd name="connsiteY434" fmla="*/ 4831476 h 6858889"/>
              <a:gd name="connsiteX435" fmla="*/ 4127075 w 9667345"/>
              <a:gd name="connsiteY435" fmla="*/ 3234958 h 6858889"/>
              <a:gd name="connsiteX436" fmla="*/ 4107194 w 9667345"/>
              <a:gd name="connsiteY436" fmla="*/ 2177816 h 6858889"/>
              <a:gd name="connsiteX437" fmla="*/ 4358298 w 9667345"/>
              <a:gd name="connsiteY437" fmla="*/ 1450869 h 6858889"/>
              <a:gd name="connsiteX438" fmla="*/ 4505676 w 9667345"/>
              <a:gd name="connsiteY438" fmla="*/ 1083075 h 6858889"/>
              <a:gd name="connsiteX439" fmla="*/ 4726525 w 9667345"/>
              <a:gd name="connsiteY439" fmla="*/ 865 h 6858889"/>
              <a:gd name="connsiteX440" fmla="*/ 4581741 w 9667345"/>
              <a:gd name="connsiteY440" fmla="*/ 865 h 6858889"/>
              <a:gd name="connsiteX441" fmla="*/ 4595139 w 9667345"/>
              <a:gd name="connsiteY441" fmla="*/ 865 h 6858889"/>
              <a:gd name="connsiteX442" fmla="*/ 4377746 w 9667345"/>
              <a:gd name="connsiteY442" fmla="*/ 1124132 h 6858889"/>
              <a:gd name="connsiteX443" fmla="*/ 4233826 w 9667345"/>
              <a:gd name="connsiteY443" fmla="*/ 1489767 h 6858889"/>
              <a:gd name="connsiteX444" fmla="*/ 3986180 w 9667345"/>
              <a:gd name="connsiteY444" fmla="*/ 2221036 h 6858889"/>
              <a:gd name="connsiteX445" fmla="*/ 4012976 w 9667345"/>
              <a:gd name="connsiteY445" fmla="*/ 3278178 h 6858889"/>
              <a:gd name="connsiteX446" fmla="*/ 4685467 w 9667345"/>
              <a:gd name="connsiteY446" fmla="*/ 4872534 h 6858889"/>
              <a:gd name="connsiteX447" fmla="*/ 4986705 w 9667345"/>
              <a:gd name="connsiteY447" fmla="*/ 5190628 h 6858889"/>
              <a:gd name="connsiteX448" fmla="*/ 6385711 w 9667345"/>
              <a:gd name="connsiteY448" fmla="*/ 6082672 h 6858889"/>
              <a:gd name="connsiteX449" fmla="*/ 6823953 w 9667345"/>
              <a:gd name="connsiteY449" fmla="*/ 6270675 h 6858889"/>
              <a:gd name="connsiteX450" fmla="*/ 8122259 w 9667345"/>
              <a:gd name="connsiteY450" fmla="*/ 6681690 h 6858889"/>
              <a:gd name="connsiteX451" fmla="*/ 8951634 w 9667345"/>
              <a:gd name="connsiteY451" fmla="*/ 6858456 h 6858889"/>
              <a:gd name="connsiteX452" fmla="*/ 8900205 w 9667345"/>
              <a:gd name="connsiteY452" fmla="*/ 6858456 h 6858889"/>
              <a:gd name="connsiteX453" fmla="*/ 8115776 w 9667345"/>
              <a:gd name="connsiteY453" fmla="*/ 6690766 h 6858889"/>
              <a:gd name="connsiteX454" fmla="*/ 6817470 w 9667345"/>
              <a:gd name="connsiteY454" fmla="*/ 6277591 h 6858889"/>
              <a:gd name="connsiteX455" fmla="*/ 6375770 w 9667345"/>
              <a:gd name="connsiteY455" fmla="*/ 6089588 h 6858889"/>
              <a:gd name="connsiteX456" fmla="*/ 4976765 w 9667345"/>
              <a:gd name="connsiteY456" fmla="*/ 5197543 h 6858889"/>
              <a:gd name="connsiteX457" fmla="*/ 4675527 w 9667345"/>
              <a:gd name="connsiteY457" fmla="*/ 4877289 h 6858889"/>
              <a:gd name="connsiteX458" fmla="*/ 3999578 w 9667345"/>
              <a:gd name="connsiteY458" fmla="*/ 3280771 h 6858889"/>
              <a:gd name="connsiteX459" fmla="*/ 3972783 w 9667345"/>
              <a:gd name="connsiteY459" fmla="*/ 2219307 h 6858889"/>
              <a:gd name="connsiteX460" fmla="*/ 4220429 w 9667345"/>
              <a:gd name="connsiteY460" fmla="*/ 1488038 h 6858889"/>
              <a:gd name="connsiteX461" fmla="*/ 4364348 w 9667345"/>
              <a:gd name="connsiteY461" fmla="*/ 1122404 h 6858889"/>
              <a:gd name="connsiteX462" fmla="*/ 4581741 w 9667345"/>
              <a:gd name="connsiteY462" fmla="*/ 865 h 6858889"/>
              <a:gd name="connsiteX463" fmla="*/ 4293901 w 9667345"/>
              <a:gd name="connsiteY463" fmla="*/ 865 h 6858889"/>
              <a:gd name="connsiteX464" fmla="*/ 4307299 w 9667345"/>
              <a:gd name="connsiteY464" fmla="*/ 865 h 6858889"/>
              <a:gd name="connsiteX465" fmla="*/ 4096389 w 9667345"/>
              <a:gd name="connsiteY465" fmla="*/ 1202791 h 6858889"/>
              <a:gd name="connsiteX466" fmla="*/ 3959384 w 9667345"/>
              <a:gd name="connsiteY466" fmla="*/ 1561942 h 6858889"/>
              <a:gd name="connsiteX467" fmla="*/ 3721679 w 9667345"/>
              <a:gd name="connsiteY467" fmla="*/ 2305314 h 6858889"/>
              <a:gd name="connsiteX468" fmla="*/ 3761872 w 9667345"/>
              <a:gd name="connsiteY468" fmla="*/ 3368937 h 6858889"/>
              <a:gd name="connsiteX469" fmla="*/ 4461159 w 9667345"/>
              <a:gd name="connsiteY469" fmla="*/ 4965455 h 6858889"/>
              <a:gd name="connsiteX470" fmla="*/ 4768880 w 9667345"/>
              <a:gd name="connsiteY470" fmla="*/ 5281388 h 6858889"/>
              <a:gd name="connsiteX471" fmla="*/ 6181283 w 9667345"/>
              <a:gd name="connsiteY471" fmla="*/ 6171271 h 6858889"/>
              <a:gd name="connsiteX472" fmla="*/ 6622984 w 9667345"/>
              <a:gd name="connsiteY472" fmla="*/ 6359275 h 6858889"/>
              <a:gd name="connsiteX473" fmla="*/ 7921289 w 9667345"/>
              <a:gd name="connsiteY473" fmla="*/ 6776340 h 6858889"/>
              <a:gd name="connsiteX474" fmla="*/ 8257533 w 9667345"/>
              <a:gd name="connsiteY474" fmla="*/ 6857592 h 6858889"/>
              <a:gd name="connsiteX475" fmla="*/ 8219501 w 9667345"/>
              <a:gd name="connsiteY475" fmla="*/ 6857592 h 6858889"/>
              <a:gd name="connsiteX476" fmla="*/ 7917399 w 9667345"/>
              <a:gd name="connsiteY476" fmla="*/ 6784552 h 6858889"/>
              <a:gd name="connsiteX477" fmla="*/ 6615637 w 9667345"/>
              <a:gd name="connsiteY477" fmla="*/ 6367487 h 6858889"/>
              <a:gd name="connsiteX478" fmla="*/ 6173937 w 9667345"/>
              <a:gd name="connsiteY478" fmla="*/ 6177322 h 6858889"/>
              <a:gd name="connsiteX479" fmla="*/ 4755050 w 9667345"/>
              <a:gd name="connsiteY479" fmla="*/ 5287439 h 6858889"/>
              <a:gd name="connsiteX480" fmla="*/ 4447329 w 9667345"/>
              <a:gd name="connsiteY480" fmla="*/ 4967184 h 6858889"/>
              <a:gd name="connsiteX481" fmla="*/ 3748043 w 9667345"/>
              <a:gd name="connsiteY481" fmla="*/ 3368937 h 6858889"/>
              <a:gd name="connsiteX482" fmla="*/ 3704392 w 9667345"/>
              <a:gd name="connsiteY482" fmla="*/ 2305314 h 6858889"/>
              <a:gd name="connsiteX483" fmla="*/ 3945554 w 9667345"/>
              <a:gd name="connsiteY483" fmla="*/ 1559782 h 6858889"/>
              <a:gd name="connsiteX484" fmla="*/ 4079533 w 9667345"/>
              <a:gd name="connsiteY484" fmla="*/ 1200631 h 6858889"/>
              <a:gd name="connsiteX485" fmla="*/ 4293901 w 9667345"/>
              <a:gd name="connsiteY485" fmla="*/ 865 h 6858889"/>
              <a:gd name="connsiteX486" fmla="*/ 3858684 w 9667345"/>
              <a:gd name="connsiteY486" fmla="*/ 865 h 6858889"/>
              <a:gd name="connsiteX487" fmla="*/ 3872082 w 9667345"/>
              <a:gd name="connsiteY487" fmla="*/ 865 h 6858889"/>
              <a:gd name="connsiteX488" fmla="*/ 3671113 w 9667345"/>
              <a:gd name="connsiteY488" fmla="*/ 1318619 h 6858889"/>
              <a:gd name="connsiteX489" fmla="*/ 3547506 w 9667345"/>
              <a:gd name="connsiteY489" fmla="*/ 1669558 h 6858889"/>
              <a:gd name="connsiteX490" fmla="*/ 3319740 w 9667345"/>
              <a:gd name="connsiteY490" fmla="*/ 2435835 h 6858889"/>
              <a:gd name="connsiteX491" fmla="*/ 3383272 w 9667345"/>
              <a:gd name="connsiteY491" fmla="*/ 3503350 h 6858889"/>
              <a:gd name="connsiteX492" fmla="*/ 4126211 w 9667345"/>
              <a:gd name="connsiteY492" fmla="*/ 5101596 h 6858889"/>
              <a:gd name="connsiteX493" fmla="*/ 4440846 w 9667345"/>
              <a:gd name="connsiteY493" fmla="*/ 5417529 h 6858889"/>
              <a:gd name="connsiteX494" fmla="*/ 5876588 w 9667345"/>
              <a:gd name="connsiteY494" fmla="*/ 6303522 h 6858889"/>
              <a:gd name="connsiteX495" fmla="*/ 6321746 w 9667345"/>
              <a:gd name="connsiteY495" fmla="*/ 6493687 h 6858889"/>
              <a:gd name="connsiteX496" fmla="*/ 7390557 w 9667345"/>
              <a:gd name="connsiteY496" fmla="*/ 6857592 h 6858889"/>
              <a:gd name="connsiteX497" fmla="*/ 7359439 w 9667345"/>
              <a:gd name="connsiteY497" fmla="*/ 6857592 h 6858889"/>
              <a:gd name="connsiteX498" fmla="*/ 6314831 w 9667345"/>
              <a:gd name="connsiteY498" fmla="*/ 6501898 h 6858889"/>
              <a:gd name="connsiteX499" fmla="*/ 5869673 w 9667345"/>
              <a:gd name="connsiteY499" fmla="*/ 6310005 h 6858889"/>
              <a:gd name="connsiteX500" fmla="*/ 4427449 w 9667345"/>
              <a:gd name="connsiteY500" fmla="*/ 5421850 h 6858889"/>
              <a:gd name="connsiteX501" fmla="*/ 4112813 w 9667345"/>
              <a:gd name="connsiteY501" fmla="*/ 5105917 h 6858889"/>
              <a:gd name="connsiteX502" fmla="*/ 3369875 w 9667345"/>
              <a:gd name="connsiteY502" fmla="*/ 3505511 h 6858889"/>
              <a:gd name="connsiteX503" fmla="*/ 3306342 w 9667345"/>
              <a:gd name="connsiteY503" fmla="*/ 2433674 h 6858889"/>
              <a:gd name="connsiteX504" fmla="*/ 3534108 w 9667345"/>
              <a:gd name="connsiteY504" fmla="*/ 1667398 h 6858889"/>
              <a:gd name="connsiteX505" fmla="*/ 3657715 w 9667345"/>
              <a:gd name="connsiteY505" fmla="*/ 1316458 h 6858889"/>
              <a:gd name="connsiteX506" fmla="*/ 3858684 w 9667345"/>
              <a:gd name="connsiteY506" fmla="*/ 865 h 6858889"/>
              <a:gd name="connsiteX507" fmla="*/ 2985225 w 9667345"/>
              <a:gd name="connsiteY507" fmla="*/ 865 h 6858889"/>
              <a:gd name="connsiteX508" fmla="*/ 2998622 w 9667345"/>
              <a:gd name="connsiteY508" fmla="*/ 865 h 6858889"/>
              <a:gd name="connsiteX509" fmla="*/ 2821423 w 9667345"/>
              <a:gd name="connsiteY509" fmla="*/ 1551570 h 6858889"/>
              <a:gd name="connsiteX510" fmla="*/ 2721154 w 9667345"/>
              <a:gd name="connsiteY510" fmla="*/ 1880037 h 6858889"/>
              <a:gd name="connsiteX511" fmla="*/ 2520184 w 9667345"/>
              <a:gd name="connsiteY511" fmla="*/ 2691693 h 6858889"/>
              <a:gd name="connsiteX512" fmla="*/ 2627369 w 9667345"/>
              <a:gd name="connsiteY512" fmla="*/ 3771741 h 6858889"/>
              <a:gd name="connsiteX513" fmla="*/ 3450694 w 9667345"/>
              <a:gd name="connsiteY513" fmla="*/ 5374309 h 6858889"/>
              <a:gd name="connsiteX514" fmla="*/ 3785211 w 9667345"/>
              <a:gd name="connsiteY514" fmla="*/ 5688081 h 6858889"/>
              <a:gd name="connsiteX515" fmla="*/ 5271088 w 9667345"/>
              <a:gd name="connsiteY515" fmla="*/ 6568024 h 6858889"/>
              <a:gd name="connsiteX516" fmla="*/ 5722728 w 9667345"/>
              <a:gd name="connsiteY516" fmla="*/ 6762078 h 6858889"/>
              <a:gd name="connsiteX517" fmla="*/ 5963890 w 9667345"/>
              <a:gd name="connsiteY517" fmla="*/ 6858024 h 6858889"/>
              <a:gd name="connsiteX518" fmla="*/ 5935798 w 9667345"/>
              <a:gd name="connsiteY518" fmla="*/ 6858024 h 6858889"/>
              <a:gd name="connsiteX519" fmla="*/ 5712788 w 9667345"/>
              <a:gd name="connsiteY519" fmla="*/ 6770722 h 6858889"/>
              <a:gd name="connsiteX520" fmla="*/ 5261147 w 9667345"/>
              <a:gd name="connsiteY520" fmla="*/ 6576668 h 6858889"/>
              <a:gd name="connsiteX521" fmla="*/ 3775272 w 9667345"/>
              <a:gd name="connsiteY521" fmla="*/ 5694996 h 6858889"/>
              <a:gd name="connsiteX522" fmla="*/ 3437296 w 9667345"/>
              <a:gd name="connsiteY522" fmla="*/ 5379064 h 6858889"/>
              <a:gd name="connsiteX523" fmla="*/ 2613972 w 9667345"/>
              <a:gd name="connsiteY523" fmla="*/ 3774334 h 6858889"/>
              <a:gd name="connsiteX524" fmla="*/ 2506787 w 9667345"/>
              <a:gd name="connsiteY524" fmla="*/ 2692125 h 6858889"/>
              <a:gd name="connsiteX525" fmla="*/ 2707756 w 9667345"/>
              <a:gd name="connsiteY525" fmla="*/ 1878307 h 6858889"/>
              <a:gd name="connsiteX526" fmla="*/ 2808025 w 9667345"/>
              <a:gd name="connsiteY526" fmla="*/ 1549842 h 6858889"/>
              <a:gd name="connsiteX527" fmla="*/ 2985225 w 9667345"/>
              <a:gd name="connsiteY527" fmla="*/ 865 h 6858889"/>
              <a:gd name="connsiteX528" fmla="*/ 2838710 w 9667345"/>
              <a:gd name="connsiteY528" fmla="*/ 865 h 6858889"/>
              <a:gd name="connsiteX529" fmla="*/ 2855567 w 9667345"/>
              <a:gd name="connsiteY529" fmla="*/ 865 h 6858889"/>
              <a:gd name="connsiteX530" fmla="*/ 2681392 w 9667345"/>
              <a:gd name="connsiteY530" fmla="*/ 1588739 h 6858889"/>
              <a:gd name="connsiteX531" fmla="*/ 2584149 w 9667345"/>
              <a:gd name="connsiteY531" fmla="*/ 1915044 h 6858889"/>
              <a:gd name="connsiteX532" fmla="*/ 2390096 w 9667345"/>
              <a:gd name="connsiteY532" fmla="*/ 2734912 h 6858889"/>
              <a:gd name="connsiteX533" fmla="*/ 2503762 w 9667345"/>
              <a:gd name="connsiteY533" fmla="*/ 3817122 h 6858889"/>
              <a:gd name="connsiteX534" fmla="*/ 3340485 w 9667345"/>
              <a:gd name="connsiteY534" fmla="*/ 5419690 h 6858889"/>
              <a:gd name="connsiteX535" fmla="*/ 3675002 w 9667345"/>
              <a:gd name="connsiteY535" fmla="*/ 5733461 h 6858889"/>
              <a:gd name="connsiteX536" fmla="*/ 5170819 w 9667345"/>
              <a:gd name="connsiteY536" fmla="*/ 6613403 h 6858889"/>
              <a:gd name="connsiteX537" fmla="*/ 5622459 w 9667345"/>
              <a:gd name="connsiteY537" fmla="*/ 6807459 h 6858889"/>
              <a:gd name="connsiteX538" fmla="*/ 5747363 w 9667345"/>
              <a:gd name="connsiteY538" fmla="*/ 6858024 h 6858889"/>
              <a:gd name="connsiteX539" fmla="*/ 5722728 w 9667345"/>
              <a:gd name="connsiteY539" fmla="*/ 6858024 h 6858889"/>
              <a:gd name="connsiteX540" fmla="*/ 5612519 w 9667345"/>
              <a:gd name="connsiteY540" fmla="*/ 6813941 h 6858889"/>
              <a:gd name="connsiteX541" fmla="*/ 5160879 w 9667345"/>
              <a:gd name="connsiteY541" fmla="*/ 6619886 h 6858889"/>
              <a:gd name="connsiteX542" fmla="*/ 3665063 w 9667345"/>
              <a:gd name="connsiteY542" fmla="*/ 5739943 h 6858889"/>
              <a:gd name="connsiteX543" fmla="*/ 3327087 w 9667345"/>
              <a:gd name="connsiteY543" fmla="*/ 5424011 h 6858889"/>
              <a:gd name="connsiteX544" fmla="*/ 2490364 w 9667345"/>
              <a:gd name="connsiteY544" fmla="*/ 3819282 h 6858889"/>
              <a:gd name="connsiteX545" fmla="*/ 2373240 w 9667345"/>
              <a:gd name="connsiteY545" fmla="*/ 2734912 h 6858889"/>
              <a:gd name="connsiteX546" fmla="*/ 2570751 w 9667345"/>
              <a:gd name="connsiteY546" fmla="*/ 1912883 h 6858889"/>
              <a:gd name="connsiteX547" fmla="*/ 2667995 w 9667345"/>
              <a:gd name="connsiteY547" fmla="*/ 1588739 h 6858889"/>
              <a:gd name="connsiteX548" fmla="*/ 2838710 w 9667345"/>
              <a:gd name="connsiteY548" fmla="*/ 865 h 6858889"/>
              <a:gd name="connsiteX549" fmla="*/ 2693495 w 9667345"/>
              <a:gd name="connsiteY549" fmla="*/ 865 h 6858889"/>
              <a:gd name="connsiteX550" fmla="*/ 2706893 w 9667345"/>
              <a:gd name="connsiteY550" fmla="*/ 865 h 6858889"/>
              <a:gd name="connsiteX551" fmla="*/ 2539633 w 9667345"/>
              <a:gd name="connsiteY551" fmla="*/ 1628068 h 6858889"/>
              <a:gd name="connsiteX552" fmla="*/ 2445847 w 9667345"/>
              <a:gd name="connsiteY552" fmla="*/ 1950052 h 6858889"/>
              <a:gd name="connsiteX553" fmla="*/ 2255252 w 9667345"/>
              <a:gd name="connsiteY553" fmla="*/ 2778131 h 6858889"/>
              <a:gd name="connsiteX554" fmla="*/ 2375833 w 9667345"/>
              <a:gd name="connsiteY554" fmla="*/ 3862501 h 6858889"/>
              <a:gd name="connsiteX555" fmla="*/ 3225955 w 9667345"/>
              <a:gd name="connsiteY555" fmla="*/ 5465070 h 6858889"/>
              <a:gd name="connsiteX556" fmla="*/ 3567387 w 9667345"/>
              <a:gd name="connsiteY556" fmla="*/ 5778841 h 6858889"/>
              <a:gd name="connsiteX557" fmla="*/ 5066660 w 9667345"/>
              <a:gd name="connsiteY557" fmla="*/ 6656623 h 6858889"/>
              <a:gd name="connsiteX558" fmla="*/ 5521759 w 9667345"/>
              <a:gd name="connsiteY558" fmla="*/ 6852838 h 6858889"/>
              <a:gd name="connsiteX559" fmla="*/ 5533428 w 9667345"/>
              <a:gd name="connsiteY559" fmla="*/ 6857592 h 6858889"/>
              <a:gd name="connsiteX560" fmla="*/ 5507928 w 9667345"/>
              <a:gd name="connsiteY560" fmla="*/ 6857592 h 6858889"/>
              <a:gd name="connsiteX561" fmla="*/ 5059745 w 9667345"/>
              <a:gd name="connsiteY561" fmla="*/ 6664835 h 6858889"/>
              <a:gd name="connsiteX562" fmla="*/ 3553989 w 9667345"/>
              <a:gd name="connsiteY562" fmla="*/ 5784892 h 6858889"/>
              <a:gd name="connsiteX563" fmla="*/ 3212557 w 9667345"/>
              <a:gd name="connsiteY563" fmla="*/ 5468959 h 6858889"/>
              <a:gd name="connsiteX564" fmla="*/ 2362435 w 9667345"/>
              <a:gd name="connsiteY564" fmla="*/ 3862501 h 6858889"/>
              <a:gd name="connsiteX565" fmla="*/ 2241852 w 9667345"/>
              <a:gd name="connsiteY565" fmla="*/ 2778131 h 6858889"/>
              <a:gd name="connsiteX566" fmla="*/ 2432449 w 9667345"/>
              <a:gd name="connsiteY566" fmla="*/ 1947890 h 6858889"/>
              <a:gd name="connsiteX567" fmla="*/ 2526235 w 9667345"/>
              <a:gd name="connsiteY567" fmla="*/ 1625908 h 6858889"/>
              <a:gd name="connsiteX568" fmla="*/ 2693495 w 9667345"/>
              <a:gd name="connsiteY568" fmla="*/ 865 h 6858889"/>
              <a:gd name="connsiteX569" fmla="*/ 2546980 w 9667345"/>
              <a:gd name="connsiteY569" fmla="*/ 865 h 6858889"/>
              <a:gd name="connsiteX570" fmla="*/ 2560380 w 9667345"/>
              <a:gd name="connsiteY570" fmla="*/ 865 h 6858889"/>
              <a:gd name="connsiteX571" fmla="*/ 2399604 w 9667345"/>
              <a:gd name="connsiteY571" fmla="*/ 1667398 h 6858889"/>
              <a:gd name="connsiteX572" fmla="*/ 2309276 w 9667345"/>
              <a:gd name="connsiteY572" fmla="*/ 1983330 h 6858889"/>
              <a:gd name="connsiteX573" fmla="*/ 2121704 w 9667345"/>
              <a:gd name="connsiteY573" fmla="*/ 2821783 h 6858889"/>
              <a:gd name="connsiteX574" fmla="*/ 2248768 w 9667345"/>
              <a:gd name="connsiteY574" fmla="*/ 3907881 h 6858889"/>
              <a:gd name="connsiteX575" fmla="*/ 3112289 w 9667345"/>
              <a:gd name="connsiteY575" fmla="*/ 5510450 h 6858889"/>
              <a:gd name="connsiteX576" fmla="*/ 3457178 w 9667345"/>
              <a:gd name="connsiteY576" fmla="*/ 5824221 h 6858889"/>
              <a:gd name="connsiteX577" fmla="*/ 4966392 w 9667345"/>
              <a:gd name="connsiteY577" fmla="*/ 6702003 h 6858889"/>
              <a:gd name="connsiteX578" fmla="*/ 5328136 w 9667345"/>
              <a:gd name="connsiteY578" fmla="*/ 6857160 h 6858889"/>
              <a:gd name="connsiteX579" fmla="*/ 5299612 w 9667345"/>
              <a:gd name="connsiteY579" fmla="*/ 6857160 h 6858889"/>
              <a:gd name="connsiteX580" fmla="*/ 4959910 w 9667345"/>
              <a:gd name="connsiteY580" fmla="*/ 6708054 h 6858889"/>
              <a:gd name="connsiteX581" fmla="*/ 3447237 w 9667345"/>
              <a:gd name="connsiteY581" fmla="*/ 5830272 h 6858889"/>
              <a:gd name="connsiteX582" fmla="*/ 3102348 w 9667345"/>
              <a:gd name="connsiteY582" fmla="*/ 5514339 h 6858889"/>
              <a:gd name="connsiteX583" fmla="*/ 2235803 w 9667345"/>
              <a:gd name="connsiteY583" fmla="*/ 3907881 h 6858889"/>
              <a:gd name="connsiteX584" fmla="*/ 2108737 w 9667345"/>
              <a:gd name="connsiteY584" fmla="*/ 2819622 h 6858889"/>
              <a:gd name="connsiteX585" fmla="*/ 2296308 w 9667345"/>
              <a:gd name="connsiteY585" fmla="*/ 1983330 h 6858889"/>
              <a:gd name="connsiteX586" fmla="*/ 2383181 w 9667345"/>
              <a:gd name="connsiteY586" fmla="*/ 1665237 h 6858889"/>
              <a:gd name="connsiteX587" fmla="*/ 2546980 w 9667345"/>
              <a:gd name="connsiteY587" fmla="*/ 865 h 6858889"/>
              <a:gd name="connsiteX588" fmla="*/ 2400036 w 9667345"/>
              <a:gd name="connsiteY588" fmla="*/ 865 h 6858889"/>
              <a:gd name="connsiteX589" fmla="*/ 2413434 w 9667345"/>
              <a:gd name="connsiteY589" fmla="*/ 865 h 6858889"/>
              <a:gd name="connsiteX590" fmla="*/ 2256115 w 9667345"/>
              <a:gd name="connsiteY590" fmla="*/ 1706727 h 6858889"/>
              <a:gd name="connsiteX591" fmla="*/ 2172271 w 9667345"/>
              <a:gd name="connsiteY591" fmla="*/ 2018770 h 6858889"/>
              <a:gd name="connsiteX592" fmla="*/ 1988157 w 9667345"/>
              <a:gd name="connsiteY592" fmla="*/ 2863273 h 6858889"/>
              <a:gd name="connsiteX593" fmla="*/ 2125161 w 9667345"/>
              <a:gd name="connsiteY593" fmla="*/ 3951533 h 6858889"/>
              <a:gd name="connsiteX594" fmla="*/ 3002080 w 9667345"/>
              <a:gd name="connsiteY594" fmla="*/ 5556263 h 6858889"/>
              <a:gd name="connsiteX595" fmla="*/ 3346969 w 9667345"/>
              <a:gd name="connsiteY595" fmla="*/ 5870033 h 6858889"/>
              <a:gd name="connsiteX596" fmla="*/ 4866123 w 9667345"/>
              <a:gd name="connsiteY596" fmla="*/ 6745655 h 6858889"/>
              <a:gd name="connsiteX597" fmla="*/ 5120684 w 9667345"/>
              <a:gd name="connsiteY597" fmla="*/ 6857592 h 6858889"/>
              <a:gd name="connsiteX598" fmla="*/ 5091296 w 9667345"/>
              <a:gd name="connsiteY598" fmla="*/ 6857592 h 6858889"/>
              <a:gd name="connsiteX599" fmla="*/ 4855751 w 9667345"/>
              <a:gd name="connsiteY599" fmla="*/ 6753867 h 6858889"/>
              <a:gd name="connsiteX600" fmla="*/ 3336595 w 9667345"/>
              <a:gd name="connsiteY600" fmla="*/ 5876084 h 6858889"/>
              <a:gd name="connsiteX601" fmla="*/ 2988682 w 9667345"/>
              <a:gd name="connsiteY601" fmla="*/ 5562313 h 6858889"/>
              <a:gd name="connsiteX602" fmla="*/ 2111764 w 9667345"/>
              <a:gd name="connsiteY602" fmla="*/ 3953694 h 6858889"/>
              <a:gd name="connsiteX603" fmla="*/ 1974759 w 9667345"/>
              <a:gd name="connsiteY603" fmla="*/ 2863273 h 6858889"/>
              <a:gd name="connsiteX604" fmla="*/ 2158874 w 9667345"/>
              <a:gd name="connsiteY604" fmla="*/ 2016609 h 6858889"/>
              <a:gd name="connsiteX605" fmla="*/ 2242718 w 9667345"/>
              <a:gd name="connsiteY605" fmla="*/ 1704566 h 6858889"/>
              <a:gd name="connsiteX606" fmla="*/ 2400036 w 9667345"/>
              <a:gd name="connsiteY606" fmla="*/ 865 h 6858889"/>
              <a:gd name="connsiteX607" fmla="*/ 2252226 w 9667345"/>
              <a:gd name="connsiteY607" fmla="*/ 865 h 6858889"/>
              <a:gd name="connsiteX608" fmla="*/ 2265624 w 9667345"/>
              <a:gd name="connsiteY608" fmla="*/ 865 h 6858889"/>
              <a:gd name="connsiteX609" fmla="*/ 2115221 w 9667345"/>
              <a:gd name="connsiteY609" fmla="*/ 1743896 h 6858889"/>
              <a:gd name="connsiteX610" fmla="*/ 2034834 w 9667345"/>
              <a:gd name="connsiteY610" fmla="*/ 2051617 h 6858889"/>
              <a:gd name="connsiteX611" fmla="*/ 1854176 w 9667345"/>
              <a:gd name="connsiteY611" fmla="*/ 2906493 h 6858889"/>
              <a:gd name="connsiteX612" fmla="*/ 1998098 w 9667345"/>
              <a:gd name="connsiteY612" fmla="*/ 3996913 h 6858889"/>
              <a:gd name="connsiteX613" fmla="*/ 2888413 w 9667345"/>
              <a:gd name="connsiteY613" fmla="*/ 5601642 h 6858889"/>
              <a:gd name="connsiteX614" fmla="*/ 3239786 w 9667345"/>
              <a:gd name="connsiteY614" fmla="*/ 5915414 h 6858889"/>
              <a:gd name="connsiteX615" fmla="*/ 4765854 w 9667345"/>
              <a:gd name="connsiteY615" fmla="*/ 6791034 h 6858889"/>
              <a:gd name="connsiteX616" fmla="*/ 4915393 w 9667345"/>
              <a:gd name="connsiteY616" fmla="*/ 6858024 h 6858889"/>
              <a:gd name="connsiteX617" fmla="*/ 4892055 w 9667345"/>
              <a:gd name="connsiteY617" fmla="*/ 6858024 h 6858889"/>
              <a:gd name="connsiteX618" fmla="*/ 4755482 w 9667345"/>
              <a:gd name="connsiteY618" fmla="*/ 6797517 h 6858889"/>
              <a:gd name="connsiteX619" fmla="*/ 3225955 w 9667345"/>
              <a:gd name="connsiteY619" fmla="*/ 5919736 h 6858889"/>
              <a:gd name="connsiteX620" fmla="*/ 2878041 w 9667345"/>
              <a:gd name="connsiteY620" fmla="*/ 5607693 h 6858889"/>
              <a:gd name="connsiteX621" fmla="*/ 1984699 w 9667345"/>
              <a:gd name="connsiteY621" fmla="*/ 3999074 h 6858889"/>
              <a:gd name="connsiteX622" fmla="*/ 1840778 w 9667345"/>
              <a:gd name="connsiteY622" fmla="*/ 2906493 h 6858889"/>
              <a:gd name="connsiteX623" fmla="*/ 2017978 w 9667345"/>
              <a:gd name="connsiteY623" fmla="*/ 2051617 h 6858889"/>
              <a:gd name="connsiteX624" fmla="*/ 2101823 w 9667345"/>
              <a:gd name="connsiteY624" fmla="*/ 1743896 h 6858889"/>
              <a:gd name="connsiteX625" fmla="*/ 2252226 w 9667345"/>
              <a:gd name="connsiteY625" fmla="*/ 865 h 6858889"/>
              <a:gd name="connsiteX626" fmla="*/ 2105282 w 9667345"/>
              <a:gd name="connsiteY626" fmla="*/ 865 h 6858889"/>
              <a:gd name="connsiteX627" fmla="*/ 2122137 w 9667345"/>
              <a:gd name="connsiteY627" fmla="*/ 865 h 6858889"/>
              <a:gd name="connsiteX628" fmla="*/ 1974759 w 9667345"/>
              <a:gd name="connsiteY628" fmla="*/ 1783225 h 6858889"/>
              <a:gd name="connsiteX629" fmla="*/ 1894371 w 9667345"/>
              <a:gd name="connsiteY629" fmla="*/ 2086624 h 6858889"/>
              <a:gd name="connsiteX630" fmla="*/ 1723655 w 9667345"/>
              <a:gd name="connsiteY630" fmla="*/ 2949711 h 6858889"/>
              <a:gd name="connsiteX631" fmla="*/ 1874058 w 9667345"/>
              <a:gd name="connsiteY631" fmla="*/ 4042292 h 6858889"/>
              <a:gd name="connsiteX632" fmla="*/ 2777772 w 9667345"/>
              <a:gd name="connsiteY632" fmla="*/ 5648752 h 6858889"/>
              <a:gd name="connsiteX633" fmla="*/ 3129144 w 9667345"/>
              <a:gd name="connsiteY633" fmla="*/ 5960794 h 6858889"/>
              <a:gd name="connsiteX634" fmla="*/ 4661697 w 9667345"/>
              <a:gd name="connsiteY634" fmla="*/ 6834254 h 6858889"/>
              <a:gd name="connsiteX635" fmla="*/ 4712694 w 9667345"/>
              <a:gd name="connsiteY635" fmla="*/ 6858024 h 6858889"/>
              <a:gd name="connsiteX636" fmla="*/ 4691518 w 9667345"/>
              <a:gd name="connsiteY636" fmla="*/ 6858024 h 6858889"/>
              <a:gd name="connsiteX637" fmla="*/ 4654782 w 9667345"/>
              <a:gd name="connsiteY637" fmla="*/ 6840737 h 6858889"/>
              <a:gd name="connsiteX638" fmla="*/ 3118771 w 9667345"/>
              <a:gd name="connsiteY638" fmla="*/ 5965116 h 6858889"/>
              <a:gd name="connsiteX639" fmla="*/ 2763942 w 9667345"/>
              <a:gd name="connsiteY639" fmla="*/ 5653073 h 6858889"/>
              <a:gd name="connsiteX640" fmla="*/ 1857203 w 9667345"/>
              <a:gd name="connsiteY640" fmla="*/ 4042292 h 6858889"/>
              <a:gd name="connsiteX641" fmla="*/ 1706800 w 9667345"/>
              <a:gd name="connsiteY641" fmla="*/ 2949711 h 6858889"/>
              <a:gd name="connsiteX642" fmla="*/ 1880974 w 9667345"/>
              <a:gd name="connsiteY642" fmla="*/ 2084463 h 6858889"/>
              <a:gd name="connsiteX643" fmla="*/ 1961361 w 9667345"/>
              <a:gd name="connsiteY643" fmla="*/ 1781064 h 6858889"/>
              <a:gd name="connsiteX644" fmla="*/ 2105282 w 9667345"/>
              <a:gd name="connsiteY644" fmla="*/ 865 h 6858889"/>
              <a:gd name="connsiteX645" fmla="*/ 1957472 w 9667345"/>
              <a:gd name="connsiteY645" fmla="*/ 865 h 6858889"/>
              <a:gd name="connsiteX646" fmla="*/ 1974327 w 9667345"/>
              <a:gd name="connsiteY646" fmla="*/ 865 h 6858889"/>
              <a:gd name="connsiteX647" fmla="*/ 1833865 w 9667345"/>
              <a:gd name="connsiteY647" fmla="*/ 1822122 h 6858889"/>
              <a:gd name="connsiteX648" fmla="*/ 1756935 w 9667345"/>
              <a:gd name="connsiteY648" fmla="*/ 2119471 h 6858889"/>
              <a:gd name="connsiteX649" fmla="*/ 1589675 w 9667345"/>
              <a:gd name="connsiteY649" fmla="*/ 2992931 h 6858889"/>
              <a:gd name="connsiteX650" fmla="*/ 1746993 w 9667345"/>
              <a:gd name="connsiteY650" fmla="*/ 4085512 h 6858889"/>
              <a:gd name="connsiteX651" fmla="*/ 2664105 w 9667345"/>
              <a:gd name="connsiteY651" fmla="*/ 5694131 h 6858889"/>
              <a:gd name="connsiteX652" fmla="*/ 3018935 w 9667345"/>
              <a:gd name="connsiteY652" fmla="*/ 6006174 h 6858889"/>
              <a:gd name="connsiteX653" fmla="*/ 4516912 w 9667345"/>
              <a:gd name="connsiteY653" fmla="*/ 6858024 h 6858889"/>
              <a:gd name="connsiteX654" fmla="*/ 4491845 w 9667345"/>
              <a:gd name="connsiteY654" fmla="*/ 6858024 h 6858889"/>
              <a:gd name="connsiteX655" fmla="*/ 3008562 w 9667345"/>
              <a:gd name="connsiteY655" fmla="*/ 6010496 h 6858889"/>
              <a:gd name="connsiteX656" fmla="*/ 2653732 w 9667345"/>
              <a:gd name="connsiteY656" fmla="*/ 5698453 h 6858889"/>
              <a:gd name="connsiteX657" fmla="*/ 1733596 w 9667345"/>
              <a:gd name="connsiteY657" fmla="*/ 4087673 h 6858889"/>
              <a:gd name="connsiteX658" fmla="*/ 1576277 w 9667345"/>
              <a:gd name="connsiteY658" fmla="*/ 2993363 h 6858889"/>
              <a:gd name="connsiteX659" fmla="*/ 1743537 w 9667345"/>
              <a:gd name="connsiteY659" fmla="*/ 2117741 h 6858889"/>
              <a:gd name="connsiteX660" fmla="*/ 1817009 w 9667345"/>
              <a:gd name="connsiteY660" fmla="*/ 1820394 h 6858889"/>
              <a:gd name="connsiteX661" fmla="*/ 1957472 w 9667345"/>
              <a:gd name="connsiteY661" fmla="*/ 865 h 6858889"/>
              <a:gd name="connsiteX662" fmla="*/ 1813983 w 9667345"/>
              <a:gd name="connsiteY662" fmla="*/ 865 h 6858889"/>
              <a:gd name="connsiteX663" fmla="*/ 1827381 w 9667345"/>
              <a:gd name="connsiteY663" fmla="*/ 865 h 6858889"/>
              <a:gd name="connsiteX664" fmla="*/ 1690376 w 9667345"/>
              <a:gd name="connsiteY664" fmla="*/ 1861452 h 6858889"/>
              <a:gd name="connsiteX665" fmla="*/ 1619928 w 9667345"/>
              <a:gd name="connsiteY665" fmla="*/ 2152749 h 6858889"/>
              <a:gd name="connsiteX666" fmla="*/ 1456128 w 9667345"/>
              <a:gd name="connsiteY666" fmla="*/ 3034421 h 6858889"/>
              <a:gd name="connsiteX667" fmla="*/ 1619928 w 9667345"/>
              <a:gd name="connsiteY667" fmla="*/ 4130892 h 6858889"/>
              <a:gd name="connsiteX668" fmla="*/ 2553464 w 9667345"/>
              <a:gd name="connsiteY668" fmla="*/ 5739511 h 6858889"/>
              <a:gd name="connsiteX669" fmla="*/ 2911750 w 9667345"/>
              <a:gd name="connsiteY669" fmla="*/ 6051554 h 6858889"/>
              <a:gd name="connsiteX670" fmla="*/ 4316807 w 9667345"/>
              <a:gd name="connsiteY670" fmla="*/ 6857592 h 6858889"/>
              <a:gd name="connsiteX671" fmla="*/ 4293901 w 9667345"/>
              <a:gd name="connsiteY671" fmla="*/ 6857592 h 6858889"/>
              <a:gd name="connsiteX672" fmla="*/ 2898352 w 9667345"/>
              <a:gd name="connsiteY672" fmla="*/ 6055876 h 6858889"/>
              <a:gd name="connsiteX673" fmla="*/ 2540066 w 9667345"/>
              <a:gd name="connsiteY673" fmla="*/ 5743834 h 6858889"/>
              <a:gd name="connsiteX674" fmla="*/ 1606530 w 9667345"/>
              <a:gd name="connsiteY674" fmla="*/ 4133053 h 6858889"/>
              <a:gd name="connsiteX675" fmla="*/ 1442730 w 9667345"/>
              <a:gd name="connsiteY675" fmla="*/ 3034421 h 6858889"/>
              <a:gd name="connsiteX676" fmla="*/ 1606530 w 9667345"/>
              <a:gd name="connsiteY676" fmla="*/ 2150589 h 6858889"/>
              <a:gd name="connsiteX677" fmla="*/ 1676978 w 9667345"/>
              <a:gd name="connsiteY677" fmla="*/ 1859291 h 6858889"/>
              <a:gd name="connsiteX678" fmla="*/ 1813983 w 9667345"/>
              <a:gd name="connsiteY678" fmla="*/ 865 h 6858889"/>
              <a:gd name="connsiteX679" fmla="*/ 1519660 w 9667345"/>
              <a:gd name="connsiteY679" fmla="*/ 865 h 6858889"/>
              <a:gd name="connsiteX680" fmla="*/ 1533058 w 9667345"/>
              <a:gd name="connsiteY680" fmla="*/ 865 h 6858889"/>
              <a:gd name="connsiteX681" fmla="*/ 1536516 w 9667345"/>
              <a:gd name="connsiteY681" fmla="*/ 52296 h 6858889"/>
              <a:gd name="connsiteX682" fmla="*/ 1409451 w 9667345"/>
              <a:gd name="connsiteY682" fmla="*/ 1937950 h 6858889"/>
              <a:gd name="connsiteX683" fmla="*/ 1342461 w 9667345"/>
              <a:gd name="connsiteY683" fmla="*/ 2218875 h 6858889"/>
              <a:gd name="connsiteX684" fmla="*/ 1188601 w 9667345"/>
              <a:gd name="connsiteY684" fmla="*/ 3121292 h 6858889"/>
              <a:gd name="connsiteX685" fmla="*/ 1369256 w 9667345"/>
              <a:gd name="connsiteY685" fmla="*/ 4222085 h 6858889"/>
              <a:gd name="connsiteX686" fmla="*/ 2329588 w 9667345"/>
              <a:gd name="connsiteY686" fmla="*/ 5830704 h 6858889"/>
              <a:gd name="connsiteX687" fmla="*/ 2690902 w 9667345"/>
              <a:gd name="connsiteY687" fmla="*/ 6140585 h 6858889"/>
              <a:gd name="connsiteX688" fmla="*/ 3923512 w 9667345"/>
              <a:gd name="connsiteY688" fmla="*/ 6858024 h 6858889"/>
              <a:gd name="connsiteX689" fmla="*/ 3900606 w 9667345"/>
              <a:gd name="connsiteY689" fmla="*/ 6858024 h 6858889"/>
              <a:gd name="connsiteX690" fmla="*/ 2680528 w 9667345"/>
              <a:gd name="connsiteY690" fmla="*/ 6147068 h 6858889"/>
              <a:gd name="connsiteX691" fmla="*/ 2315758 w 9667345"/>
              <a:gd name="connsiteY691" fmla="*/ 5835026 h 6858889"/>
              <a:gd name="connsiteX692" fmla="*/ 1355426 w 9667345"/>
              <a:gd name="connsiteY692" fmla="*/ 4222085 h 6858889"/>
              <a:gd name="connsiteX693" fmla="*/ 1174770 w 9667345"/>
              <a:gd name="connsiteY693" fmla="*/ 3121292 h 6858889"/>
              <a:gd name="connsiteX694" fmla="*/ 1329063 w 9667345"/>
              <a:gd name="connsiteY694" fmla="*/ 2216714 h 6858889"/>
              <a:gd name="connsiteX695" fmla="*/ 1396053 w 9667345"/>
              <a:gd name="connsiteY695" fmla="*/ 1937950 h 6858889"/>
              <a:gd name="connsiteX696" fmla="*/ 1523118 w 9667345"/>
              <a:gd name="connsiteY696" fmla="*/ 52296 h 6858889"/>
              <a:gd name="connsiteX697" fmla="*/ 1519660 w 9667345"/>
              <a:gd name="connsiteY697" fmla="*/ 865 h 6858889"/>
              <a:gd name="connsiteX698" fmla="*/ 927556 w 9667345"/>
              <a:gd name="connsiteY698" fmla="*/ 865 h 6858889"/>
              <a:gd name="connsiteX699" fmla="*/ 940955 w 9667345"/>
              <a:gd name="connsiteY699" fmla="*/ 865 h 6858889"/>
              <a:gd name="connsiteX700" fmla="*/ 960836 w 9667345"/>
              <a:gd name="connsiteY700" fmla="*/ 182386 h 6858889"/>
              <a:gd name="connsiteX701" fmla="*/ 843711 w 9667345"/>
              <a:gd name="connsiteY701" fmla="*/ 2092675 h 6858889"/>
              <a:gd name="connsiteX702" fmla="*/ 790119 w 9667345"/>
              <a:gd name="connsiteY702" fmla="*/ 2346804 h 6858889"/>
              <a:gd name="connsiteX703" fmla="*/ 656141 w 9667345"/>
              <a:gd name="connsiteY703" fmla="*/ 3292440 h 6858889"/>
              <a:gd name="connsiteX704" fmla="*/ 863592 w 9667345"/>
              <a:gd name="connsiteY704" fmla="*/ 4401445 h 6858889"/>
              <a:gd name="connsiteX705" fmla="*/ 1877515 w 9667345"/>
              <a:gd name="connsiteY705" fmla="*/ 6012225 h 6858889"/>
              <a:gd name="connsiteX706" fmla="*/ 2255684 w 9667345"/>
              <a:gd name="connsiteY706" fmla="*/ 6322107 h 6858889"/>
              <a:gd name="connsiteX707" fmla="*/ 3150753 w 9667345"/>
              <a:gd name="connsiteY707" fmla="*/ 6858024 h 6858889"/>
              <a:gd name="connsiteX708" fmla="*/ 3127414 w 9667345"/>
              <a:gd name="connsiteY708" fmla="*/ 6858024 h 6858889"/>
              <a:gd name="connsiteX709" fmla="*/ 2242284 w 9667345"/>
              <a:gd name="connsiteY709" fmla="*/ 6328590 h 6858889"/>
              <a:gd name="connsiteX710" fmla="*/ 1867576 w 9667345"/>
              <a:gd name="connsiteY710" fmla="*/ 6016547 h 6858889"/>
              <a:gd name="connsiteX711" fmla="*/ 850194 w 9667345"/>
              <a:gd name="connsiteY711" fmla="*/ 4401445 h 6858889"/>
              <a:gd name="connsiteX712" fmla="*/ 642743 w 9667345"/>
              <a:gd name="connsiteY712" fmla="*/ 3292440 h 6858889"/>
              <a:gd name="connsiteX713" fmla="*/ 776722 w 9667345"/>
              <a:gd name="connsiteY713" fmla="*/ 2344643 h 6858889"/>
              <a:gd name="connsiteX714" fmla="*/ 830313 w 9667345"/>
              <a:gd name="connsiteY714" fmla="*/ 2092675 h 6858889"/>
              <a:gd name="connsiteX715" fmla="*/ 947438 w 9667345"/>
              <a:gd name="connsiteY715" fmla="*/ 182386 h 6858889"/>
              <a:gd name="connsiteX716" fmla="*/ 927556 w 9667345"/>
              <a:gd name="connsiteY716" fmla="*/ 865 h 6858889"/>
              <a:gd name="connsiteX717" fmla="*/ 482400 w 9667345"/>
              <a:gd name="connsiteY717" fmla="*/ 865 h 6858889"/>
              <a:gd name="connsiteX718" fmla="*/ 495797 w 9667345"/>
              <a:gd name="connsiteY718" fmla="*/ 865 h 6858889"/>
              <a:gd name="connsiteX719" fmla="*/ 529076 w 9667345"/>
              <a:gd name="connsiteY719" fmla="*/ 279629 h 6858889"/>
              <a:gd name="connsiteX720" fmla="*/ 418434 w 9667345"/>
              <a:gd name="connsiteY720" fmla="*/ 2208502 h 6858889"/>
              <a:gd name="connsiteX721" fmla="*/ 374782 w 9667345"/>
              <a:gd name="connsiteY721" fmla="*/ 2439725 h 6858889"/>
              <a:gd name="connsiteX722" fmla="*/ 257659 w 9667345"/>
              <a:gd name="connsiteY722" fmla="*/ 3420801 h 6858889"/>
              <a:gd name="connsiteX723" fmla="*/ 485424 w 9667345"/>
              <a:gd name="connsiteY723" fmla="*/ 4535856 h 6858889"/>
              <a:gd name="connsiteX724" fmla="*/ 1542998 w 9667345"/>
              <a:gd name="connsiteY724" fmla="*/ 6148797 h 6858889"/>
              <a:gd name="connsiteX725" fmla="*/ 1927651 w 9667345"/>
              <a:gd name="connsiteY725" fmla="*/ 6458678 h 6858889"/>
              <a:gd name="connsiteX726" fmla="*/ 2581556 w 9667345"/>
              <a:gd name="connsiteY726" fmla="*/ 6857592 h 6858889"/>
              <a:gd name="connsiteX727" fmla="*/ 2559515 w 9667345"/>
              <a:gd name="connsiteY727" fmla="*/ 6857592 h 6858889"/>
              <a:gd name="connsiteX728" fmla="*/ 1914251 w 9667345"/>
              <a:gd name="connsiteY728" fmla="*/ 6462569 h 6858889"/>
              <a:gd name="connsiteX729" fmla="*/ 1529600 w 9667345"/>
              <a:gd name="connsiteY729" fmla="*/ 6154848 h 6858889"/>
              <a:gd name="connsiteX730" fmla="*/ 472026 w 9667345"/>
              <a:gd name="connsiteY730" fmla="*/ 4538018 h 6858889"/>
              <a:gd name="connsiteX731" fmla="*/ 244261 w 9667345"/>
              <a:gd name="connsiteY731" fmla="*/ 3420801 h 6858889"/>
              <a:gd name="connsiteX732" fmla="*/ 361385 w 9667345"/>
              <a:gd name="connsiteY732" fmla="*/ 2439725 h 6858889"/>
              <a:gd name="connsiteX733" fmla="*/ 405036 w 9667345"/>
              <a:gd name="connsiteY733" fmla="*/ 2208502 h 6858889"/>
              <a:gd name="connsiteX734" fmla="*/ 515678 w 9667345"/>
              <a:gd name="connsiteY734" fmla="*/ 279629 h 6858889"/>
              <a:gd name="connsiteX735" fmla="*/ 482400 w 9667345"/>
              <a:gd name="connsiteY735" fmla="*/ 865 h 6858889"/>
              <a:gd name="connsiteX736" fmla="*/ 331564 w 9667345"/>
              <a:gd name="connsiteY736" fmla="*/ 865 h 6858889"/>
              <a:gd name="connsiteX737" fmla="*/ 344962 w 9667345"/>
              <a:gd name="connsiteY737" fmla="*/ 865 h 6858889"/>
              <a:gd name="connsiteX738" fmla="*/ 385156 w 9667345"/>
              <a:gd name="connsiteY738" fmla="*/ 312908 h 6858889"/>
              <a:gd name="connsiteX739" fmla="*/ 277973 w 9667345"/>
              <a:gd name="connsiteY739" fmla="*/ 2247832 h 6858889"/>
              <a:gd name="connsiteX740" fmla="*/ 237778 w 9667345"/>
              <a:gd name="connsiteY740" fmla="*/ 2470843 h 6858889"/>
              <a:gd name="connsiteX741" fmla="*/ 124111 w 9667345"/>
              <a:gd name="connsiteY741" fmla="*/ 3464020 h 6858889"/>
              <a:gd name="connsiteX742" fmla="*/ 361817 w 9667345"/>
              <a:gd name="connsiteY742" fmla="*/ 4579076 h 6858889"/>
              <a:gd name="connsiteX743" fmla="*/ 1429331 w 9667345"/>
              <a:gd name="connsiteY743" fmla="*/ 6194177 h 6858889"/>
              <a:gd name="connsiteX744" fmla="*/ 1817441 w 9667345"/>
              <a:gd name="connsiteY744" fmla="*/ 6504059 h 6858889"/>
              <a:gd name="connsiteX745" fmla="*/ 2394850 w 9667345"/>
              <a:gd name="connsiteY745" fmla="*/ 6857592 h 6858889"/>
              <a:gd name="connsiteX746" fmla="*/ 2373240 w 9667345"/>
              <a:gd name="connsiteY746" fmla="*/ 6857592 h 6858889"/>
              <a:gd name="connsiteX747" fmla="*/ 1807501 w 9667345"/>
              <a:gd name="connsiteY747" fmla="*/ 6507949 h 6858889"/>
              <a:gd name="connsiteX748" fmla="*/ 1415933 w 9667345"/>
              <a:gd name="connsiteY748" fmla="*/ 6200228 h 6858889"/>
              <a:gd name="connsiteX749" fmla="*/ 348419 w 9667345"/>
              <a:gd name="connsiteY749" fmla="*/ 4581237 h 6858889"/>
              <a:gd name="connsiteX750" fmla="*/ 110713 w 9667345"/>
              <a:gd name="connsiteY750" fmla="*/ 3464020 h 6858889"/>
              <a:gd name="connsiteX751" fmla="*/ 224380 w 9667345"/>
              <a:gd name="connsiteY751" fmla="*/ 2470843 h 6858889"/>
              <a:gd name="connsiteX752" fmla="*/ 264575 w 9667345"/>
              <a:gd name="connsiteY752" fmla="*/ 2247832 h 6858889"/>
              <a:gd name="connsiteX753" fmla="*/ 371757 w 9667345"/>
              <a:gd name="connsiteY753" fmla="*/ 312908 h 6858889"/>
              <a:gd name="connsiteX754" fmla="*/ 331564 w 9667345"/>
              <a:gd name="connsiteY754" fmla="*/ 865 h 6858889"/>
              <a:gd name="connsiteX755" fmla="*/ 177272 w 9667345"/>
              <a:gd name="connsiteY755" fmla="*/ 865 h 6858889"/>
              <a:gd name="connsiteX756" fmla="*/ 194126 w 9667345"/>
              <a:gd name="connsiteY756" fmla="*/ 865 h 6858889"/>
              <a:gd name="connsiteX757" fmla="*/ 241235 w 9667345"/>
              <a:gd name="connsiteY757" fmla="*/ 343594 h 6858889"/>
              <a:gd name="connsiteX758" fmla="*/ 137509 w 9667345"/>
              <a:gd name="connsiteY758" fmla="*/ 2286729 h 6858889"/>
              <a:gd name="connsiteX759" fmla="*/ 100773 w 9667345"/>
              <a:gd name="connsiteY759" fmla="*/ 2501528 h 6858889"/>
              <a:gd name="connsiteX760" fmla="*/ 21628 w 9667345"/>
              <a:gd name="connsiteY760" fmla="*/ 3001305 h 6858889"/>
              <a:gd name="connsiteX761" fmla="*/ 0 w 9667345"/>
              <a:gd name="connsiteY761" fmla="*/ 3220433 h 6858889"/>
              <a:gd name="connsiteX762" fmla="*/ 0 w 9667345"/>
              <a:gd name="connsiteY762" fmla="*/ 3069197 h 6858889"/>
              <a:gd name="connsiteX763" fmla="*/ 6448 w 9667345"/>
              <a:gd name="connsiteY763" fmla="*/ 3000440 h 6858889"/>
              <a:gd name="connsiteX764" fmla="*/ 83485 w 9667345"/>
              <a:gd name="connsiteY764" fmla="*/ 2499800 h 6858889"/>
              <a:gd name="connsiteX765" fmla="*/ 120222 w 9667345"/>
              <a:gd name="connsiteY765" fmla="*/ 2285000 h 6858889"/>
              <a:gd name="connsiteX766" fmla="*/ 227406 w 9667345"/>
              <a:gd name="connsiteY766" fmla="*/ 343594 h 6858889"/>
              <a:gd name="connsiteX767" fmla="*/ 177272 w 9667345"/>
              <a:gd name="connsiteY767" fmla="*/ 865 h 6858889"/>
              <a:gd name="connsiteX768" fmla="*/ 26870 w 9667345"/>
              <a:gd name="connsiteY768" fmla="*/ 865 h 6858889"/>
              <a:gd name="connsiteX769" fmla="*/ 39834 w 9667345"/>
              <a:gd name="connsiteY769" fmla="*/ 865 h 6858889"/>
              <a:gd name="connsiteX770" fmla="*/ 96883 w 9667345"/>
              <a:gd name="connsiteY770" fmla="*/ 376872 h 6858889"/>
              <a:gd name="connsiteX771" fmla="*/ 62180 w 9667345"/>
              <a:gd name="connsiteY771" fmla="*/ 1813458 h 6858889"/>
              <a:gd name="connsiteX772" fmla="*/ 0 w 9667345"/>
              <a:gd name="connsiteY772" fmla="*/ 2275627 h 6858889"/>
              <a:gd name="connsiteX773" fmla="*/ 0 w 9667345"/>
              <a:gd name="connsiteY773" fmla="*/ 2177011 h 6858889"/>
              <a:gd name="connsiteX774" fmla="*/ 49031 w 9667345"/>
              <a:gd name="connsiteY774" fmla="*/ 1812364 h 6858889"/>
              <a:gd name="connsiteX775" fmla="*/ 83918 w 9667345"/>
              <a:gd name="connsiteY775" fmla="*/ 376872 h 6858889"/>
              <a:gd name="connsiteX776" fmla="*/ 26870 w 9667345"/>
              <a:gd name="connsiteY776" fmla="*/ 865 h 6858889"/>
              <a:gd name="connsiteX777" fmla="*/ 4005629 w 9667345"/>
              <a:gd name="connsiteY777" fmla="*/ 433 h 6858889"/>
              <a:gd name="connsiteX778" fmla="*/ 4019027 w 9667345"/>
              <a:gd name="connsiteY778" fmla="*/ 433 h 6858889"/>
              <a:gd name="connsiteX779" fmla="*/ 3811575 w 9667345"/>
              <a:gd name="connsiteY779" fmla="*/ 1278857 h 6858889"/>
              <a:gd name="connsiteX780" fmla="*/ 3684510 w 9667345"/>
              <a:gd name="connsiteY780" fmla="*/ 1634119 h 6858889"/>
              <a:gd name="connsiteX781" fmla="*/ 3453720 w 9667345"/>
              <a:gd name="connsiteY781" fmla="*/ 2392184 h 6858889"/>
              <a:gd name="connsiteX782" fmla="*/ 3510769 w 9667345"/>
              <a:gd name="connsiteY782" fmla="*/ 3457970 h 6858889"/>
              <a:gd name="connsiteX783" fmla="*/ 4236852 w 9667345"/>
              <a:gd name="connsiteY783" fmla="*/ 5056216 h 6858889"/>
              <a:gd name="connsiteX784" fmla="*/ 4551488 w 9667345"/>
              <a:gd name="connsiteY784" fmla="*/ 5372149 h 6858889"/>
              <a:gd name="connsiteX785" fmla="*/ 5980314 w 9667345"/>
              <a:gd name="connsiteY785" fmla="*/ 6258142 h 6858889"/>
              <a:gd name="connsiteX786" fmla="*/ 6422015 w 9667345"/>
              <a:gd name="connsiteY786" fmla="*/ 6447010 h 6858889"/>
              <a:gd name="connsiteX787" fmla="*/ 7663269 w 9667345"/>
              <a:gd name="connsiteY787" fmla="*/ 6856728 h 6858889"/>
              <a:gd name="connsiteX788" fmla="*/ 7626102 w 9667345"/>
              <a:gd name="connsiteY788" fmla="*/ 6856728 h 6858889"/>
              <a:gd name="connsiteX789" fmla="*/ 6415531 w 9667345"/>
              <a:gd name="connsiteY789" fmla="*/ 6455654 h 6858889"/>
              <a:gd name="connsiteX790" fmla="*/ 5970373 w 9667345"/>
              <a:gd name="connsiteY790" fmla="*/ 6265489 h 6858889"/>
              <a:gd name="connsiteX791" fmla="*/ 4538090 w 9667345"/>
              <a:gd name="connsiteY791" fmla="*/ 5375605 h 6858889"/>
              <a:gd name="connsiteX792" fmla="*/ 4223454 w 9667345"/>
              <a:gd name="connsiteY792" fmla="*/ 5059673 h 6858889"/>
              <a:gd name="connsiteX793" fmla="*/ 3497371 w 9667345"/>
              <a:gd name="connsiteY793" fmla="*/ 3459266 h 6858889"/>
              <a:gd name="connsiteX794" fmla="*/ 3440323 w 9667345"/>
              <a:gd name="connsiteY794" fmla="*/ 2391752 h 6858889"/>
              <a:gd name="connsiteX795" fmla="*/ 3671113 w 9667345"/>
              <a:gd name="connsiteY795" fmla="*/ 1631957 h 6858889"/>
              <a:gd name="connsiteX796" fmla="*/ 3798177 w 9667345"/>
              <a:gd name="connsiteY796" fmla="*/ 1276696 h 6858889"/>
              <a:gd name="connsiteX797" fmla="*/ 4005629 w 9667345"/>
              <a:gd name="connsiteY797" fmla="*/ 433 h 6858889"/>
              <a:gd name="connsiteX798" fmla="*/ 1372282 w 9667345"/>
              <a:gd name="connsiteY798" fmla="*/ 433 h 6858889"/>
              <a:gd name="connsiteX799" fmla="*/ 1385681 w 9667345"/>
              <a:gd name="connsiteY799" fmla="*/ 433 h 6858889"/>
              <a:gd name="connsiteX800" fmla="*/ 1392163 w 9667345"/>
              <a:gd name="connsiteY800" fmla="*/ 85142 h 6858889"/>
              <a:gd name="connsiteX801" fmla="*/ 1268556 w 9667345"/>
              <a:gd name="connsiteY801" fmla="*/ 1976847 h 6858889"/>
              <a:gd name="connsiteX802" fmla="*/ 1205024 w 9667345"/>
              <a:gd name="connsiteY802" fmla="*/ 2251722 h 6858889"/>
              <a:gd name="connsiteX803" fmla="*/ 1057646 w 9667345"/>
              <a:gd name="connsiteY803" fmla="*/ 3164511 h 6858889"/>
              <a:gd name="connsiteX804" fmla="*/ 1241760 w 9667345"/>
              <a:gd name="connsiteY804" fmla="*/ 4265304 h 6858889"/>
              <a:gd name="connsiteX805" fmla="*/ 2215489 w 9667345"/>
              <a:gd name="connsiteY805" fmla="*/ 5876084 h 6858889"/>
              <a:gd name="connsiteX806" fmla="*/ 2583717 w 9667345"/>
              <a:gd name="connsiteY806" fmla="*/ 6185966 h 6858889"/>
              <a:gd name="connsiteX807" fmla="*/ 3730323 w 9667345"/>
              <a:gd name="connsiteY807" fmla="*/ 6858024 h 6858889"/>
              <a:gd name="connsiteX808" fmla="*/ 3705687 w 9667345"/>
              <a:gd name="connsiteY808" fmla="*/ 6858024 h 6858889"/>
              <a:gd name="connsiteX809" fmla="*/ 2570320 w 9667345"/>
              <a:gd name="connsiteY809" fmla="*/ 6192449 h 6858889"/>
              <a:gd name="connsiteX810" fmla="*/ 2202091 w 9667345"/>
              <a:gd name="connsiteY810" fmla="*/ 5880407 h 6858889"/>
              <a:gd name="connsiteX811" fmla="*/ 1228362 w 9667345"/>
              <a:gd name="connsiteY811" fmla="*/ 4267466 h 6858889"/>
              <a:gd name="connsiteX812" fmla="*/ 1040791 w 9667345"/>
              <a:gd name="connsiteY812" fmla="*/ 3164511 h 6858889"/>
              <a:gd name="connsiteX813" fmla="*/ 1191627 w 9667345"/>
              <a:gd name="connsiteY813" fmla="*/ 2249561 h 6858889"/>
              <a:gd name="connsiteX814" fmla="*/ 1251701 w 9667345"/>
              <a:gd name="connsiteY814" fmla="*/ 1974686 h 6858889"/>
              <a:gd name="connsiteX815" fmla="*/ 1378765 w 9667345"/>
              <a:gd name="connsiteY815" fmla="*/ 85142 h 6858889"/>
              <a:gd name="connsiteX816" fmla="*/ 1372282 w 9667345"/>
              <a:gd name="connsiteY816" fmla="*/ 433 h 6858889"/>
              <a:gd name="connsiteX817" fmla="*/ 1225337 w 9667345"/>
              <a:gd name="connsiteY817" fmla="*/ 433 h 6858889"/>
              <a:gd name="connsiteX818" fmla="*/ 1238734 w 9667345"/>
              <a:gd name="connsiteY818" fmla="*/ 433 h 6858889"/>
              <a:gd name="connsiteX819" fmla="*/ 1248676 w 9667345"/>
              <a:gd name="connsiteY819" fmla="*/ 116260 h 6858889"/>
              <a:gd name="connsiteX820" fmla="*/ 1125069 w 9667345"/>
              <a:gd name="connsiteY820" fmla="*/ 2016176 h 6858889"/>
              <a:gd name="connsiteX821" fmla="*/ 1068020 w 9667345"/>
              <a:gd name="connsiteY821" fmla="*/ 2282407 h 6858889"/>
              <a:gd name="connsiteX822" fmla="*/ 924099 w 9667345"/>
              <a:gd name="connsiteY822" fmla="*/ 3207730 h 6858889"/>
              <a:gd name="connsiteX823" fmla="*/ 1118153 w 9667345"/>
              <a:gd name="connsiteY823" fmla="*/ 4310684 h 6858889"/>
              <a:gd name="connsiteX824" fmla="*/ 2101823 w 9667345"/>
              <a:gd name="connsiteY824" fmla="*/ 5921465 h 6858889"/>
              <a:gd name="connsiteX825" fmla="*/ 2473076 w 9667345"/>
              <a:gd name="connsiteY825" fmla="*/ 6231346 h 6858889"/>
              <a:gd name="connsiteX826" fmla="*/ 3536701 w 9667345"/>
              <a:gd name="connsiteY826" fmla="*/ 6857592 h 6858889"/>
              <a:gd name="connsiteX827" fmla="*/ 3511634 w 9667345"/>
              <a:gd name="connsiteY827" fmla="*/ 6857592 h 6858889"/>
              <a:gd name="connsiteX828" fmla="*/ 2463136 w 9667345"/>
              <a:gd name="connsiteY828" fmla="*/ 6237397 h 6858889"/>
              <a:gd name="connsiteX829" fmla="*/ 2091882 w 9667345"/>
              <a:gd name="connsiteY829" fmla="*/ 5925354 h 6858889"/>
              <a:gd name="connsiteX830" fmla="*/ 1101298 w 9667345"/>
              <a:gd name="connsiteY830" fmla="*/ 4312414 h 6858889"/>
              <a:gd name="connsiteX831" fmla="*/ 910701 w 9667345"/>
              <a:gd name="connsiteY831" fmla="*/ 3205569 h 6858889"/>
              <a:gd name="connsiteX832" fmla="*/ 1054621 w 9667345"/>
              <a:gd name="connsiteY832" fmla="*/ 2282407 h 6858889"/>
              <a:gd name="connsiteX833" fmla="*/ 1111671 w 9667345"/>
              <a:gd name="connsiteY833" fmla="*/ 2014016 h 6858889"/>
              <a:gd name="connsiteX834" fmla="*/ 1235277 w 9667345"/>
              <a:gd name="connsiteY834" fmla="*/ 116260 h 6858889"/>
              <a:gd name="connsiteX835" fmla="*/ 1225337 w 9667345"/>
              <a:gd name="connsiteY835" fmla="*/ 433 h 6858889"/>
              <a:gd name="connsiteX836" fmla="*/ 1074069 w 9667345"/>
              <a:gd name="connsiteY836" fmla="*/ 433 h 6858889"/>
              <a:gd name="connsiteX837" fmla="*/ 1090925 w 9667345"/>
              <a:gd name="connsiteY837" fmla="*/ 433 h 6858889"/>
              <a:gd name="connsiteX838" fmla="*/ 1104323 w 9667345"/>
              <a:gd name="connsiteY838" fmla="*/ 149107 h 6858889"/>
              <a:gd name="connsiteX839" fmla="*/ 983741 w 9667345"/>
              <a:gd name="connsiteY839" fmla="*/ 2053345 h 6858889"/>
              <a:gd name="connsiteX840" fmla="*/ 930150 w 9667345"/>
              <a:gd name="connsiteY840" fmla="*/ 2315686 h 6858889"/>
              <a:gd name="connsiteX841" fmla="*/ 789687 w 9667345"/>
              <a:gd name="connsiteY841" fmla="*/ 3249221 h 6858889"/>
              <a:gd name="connsiteX842" fmla="*/ 990657 w 9667345"/>
              <a:gd name="connsiteY842" fmla="*/ 4356065 h 6858889"/>
              <a:gd name="connsiteX843" fmla="*/ 1991614 w 9667345"/>
              <a:gd name="connsiteY843" fmla="*/ 5966845 h 6858889"/>
              <a:gd name="connsiteX844" fmla="*/ 2362867 w 9667345"/>
              <a:gd name="connsiteY844" fmla="*/ 6276726 h 6858889"/>
              <a:gd name="connsiteX845" fmla="*/ 3342214 w 9667345"/>
              <a:gd name="connsiteY845" fmla="*/ 6858024 h 6858889"/>
              <a:gd name="connsiteX846" fmla="*/ 3320605 w 9667345"/>
              <a:gd name="connsiteY846" fmla="*/ 6858024 h 6858889"/>
              <a:gd name="connsiteX847" fmla="*/ 2352927 w 9667345"/>
              <a:gd name="connsiteY847" fmla="*/ 6283209 h 6858889"/>
              <a:gd name="connsiteX848" fmla="*/ 1978216 w 9667345"/>
              <a:gd name="connsiteY848" fmla="*/ 5971166 h 6858889"/>
              <a:gd name="connsiteX849" fmla="*/ 977691 w 9667345"/>
              <a:gd name="connsiteY849" fmla="*/ 4358225 h 6858889"/>
              <a:gd name="connsiteX850" fmla="*/ 776722 w 9667345"/>
              <a:gd name="connsiteY850" fmla="*/ 3249221 h 6858889"/>
              <a:gd name="connsiteX851" fmla="*/ 913294 w 9667345"/>
              <a:gd name="connsiteY851" fmla="*/ 2313525 h 6858889"/>
              <a:gd name="connsiteX852" fmla="*/ 970344 w 9667345"/>
              <a:gd name="connsiteY852" fmla="*/ 2053345 h 6858889"/>
              <a:gd name="connsiteX853" fmla="*/ 1090925 w 9667345"/>
              <a:gd name="connsiteY853" fmla="*/ 149107 h 6858889"/>
              <a:gd name="connsiteX854" fmla="*/ 1074069 w 9667345"/>
              <a:gd name="connsiteY854" fmla="*/ 433 h 6858889"/>
              <a:gd name="connsiteX855" fmla="*/ 780179 w 9667345"/>
              <a:gd name="connsiteY855" fmla="*/ 433 h 6858889"/>
              <a:gd name="connsiteX856" fmla="*/ 793577 w 9667345"/>
              <a:gd name="connsiteY856" fmla="*/ 433 h 6858889"/>
              <a:gd name="connsiteX857" fmla="*/ 816915 w 9667345"/>
              <a:gd name="connsiteY857" fmla="*/ 213072 h 6858889"/>
              <a:gd name="connsiteX858" fmla="*/ 703249 w 9667345"/>
              <a:gd name="connsiteY858" fmla="*/ 2131572 h 6858889"/>
              <a:gd name="connsiteX859" fmla="*/ 653115 w 9667345"/>
              <a:gd name="connsiteY859" fmla="*/ 2377489 h 6858889"/>
              <a:gd name="connsiteX860" fmla="*/ 522593 w 9667345"/>
              <a:gd name="connsiteY860" fmla="*/ 3335659 h 6858889"/>
              <a:gd name="connsiteX861" fmla="*/ 739985 w 9667345"/>
              <a:gd name="connsiteY861" fmla="*/ 4444664 h 6858889"/>
              <a:gd name="connsiteX862" fmla="*/ 1767306 w 9667345"/>
              <a:gd name="connsiteY862" fmla="*/ 6057605 h 6858889"/>
              <a:gd name="connsiteX863" fmla="*/ 2145475 w 9667345"/>
              <a:gd name="connsiteY863" fmla="*/ 6367487 h 6858889"/>
              <a:gd name="connsiteX864" fmla="*/ 2960590 w 9667345"/>
              <a:gd name="connsiteY864" fmla="*/ 6857160 h 6858889"/>
              <a:gd name="connsiteX865" fmla="*/ 2936818 w 9667345"/>
              <a:gd name="connsiteY865" fmla="*/ 6857160 h 6858889"/>
              <a:gd name="connsiteX866" fmla="*/ 2135535 w 9667345"/>
              <a:gd name="connsiteY866" fmla="*/ 6373105 h 6858889"/>
              <a:gd name="connsiteX867" fmla="*/ 1753909 w 9667345"/>
              <a:gd name="connsiteY867" fmla="*/ 6063223 h 6858889"/>
              <a:gd name="connsiteX868" fmla="*/ 726587 w 9667345"/>
              <a:gd name="connsiteY868" fmla="*/ 4446393 h 6858889"/>
              <a:gd name="connsiteX869" fmla="*/ 509195 w 9667345"/>
              <a:gd name="connsiteY869" fmla="*/ 3335227 h 6858889"/>
              <a:gd name="connsiteX870" fmla="*/ 639717 w 9667345"/>
              <a:gd name="connsiteY870" fmla="*/ 2377057 h 6858889"/>
              <a:gd name="connsiteX871" fmla="*/ 686393 w 9667345"/>
              <a:gd name="connsiteY871" fmla="*/ 2129411 h 6858889"/>
              <a:gd name="connsiteX872" fmla="*/ 803517 w 9667345"/>
              <a:gd name="connsiteY872" fmla="*/ 215232 h 6858889"/>
              <a:gd name="connsiteX873" fmla="*/ 780179 w 9667345"/>
              <a:gd name="connsiteY873" fmla="*/ 433 h 6858889"/>
              <a:gd name="connsiteX874" fmla="*/ 628912 w 9667345"/>
              <a:gd name="connsiteY874" fmla="*/ 433 h 6858889"/>
              <a:gd name="connsiteX875" fmla="*/ 645768 w 9667345"/>
              <a:gd name="connsiteY875" fmla="*/ 433 h 6858889"/>
              <a:gd name="connsiteX876" fmla="*/ 672563 w 9667345"/>
              <a:gd name="connsiteY876" fmla="*/ 246350 h 6858889"/>
              <a:gd name="connsiteX877" fmla="*/ 558897 w 9667345"/>
              <a:gd name="connsiteY877" fmla="*/ 2170901 h 6858889"/>
              <a:gd name="connsiteX878" fmla="*/ 515245 w 9667345"/>
              <a:gd name="connsiteY878" fmla="*/ 2408175 h 6858889"/>
              <a:gd name="connsiteX879" fmla="*/ 391639 w 9667345"/>
              <a:gd name="connsiteY879" fmla="*/ 3378879 h 6858889"/>
              <a:gd name="connsiteX880" fmla="*/ 612488 w 9667345"/>
              <a:gd name="connsiteY880" fmla="*/ 4490044 h 6858889"/>
              <a:gd name="connsiteX881" fmla="*/ 1653207 w 9667345"/>
              <a:gd name="connsiteY881" fmla="*/ 6102985 h 6858889"/>
              <a:gd name="connsiteX882" fmla="*/ 2034834 w 9667345"/>
              <a:gd name="connsiteY882" fmla="*/ 6412867 h 6858889"/>
              <a:gd name="connsiteX883" fmla="*/ 2768696 w 9667345"/>
              <a:gd name="connsiteY883" fmla="*/ 6857592 h 6858889"/>
              <a:gd name="connsiteX884" fmla="*/ 2748382 w 9667345"/>
              <a:gd name="connsiteY884" fmla="*/ 6857592 h 6858889"/>
              <a:gd name="connsiteX885" fmla="*/ 2024893 w 9667345"/>
              <a:gd name="connsiteY885" fmla="*/ 6419349 h 6858889"/>
              <a:gd name="connsiteX886" fmla="*/ 1643267 w 9667345"/>
              <a:gd name="connsiteY886" fmla="*/ 6109468 h 6858889"/>
              <a:gd name="connsiteX887" fmla="*/ 599091 w 9667345"/>
              <a:gd name="connsiteY887" fmla="*/ 4492205 h 6858889"/>
              <a:gd name="connsiteX888" fmla="*/ 374782 w 9667345"/>
              <a:gd name="connsiteY888" fmla="*/ 3379311 h 6858889"/>
              <a:gd name="connsiteX889" fmla="*/ 501847 w 9667345"/>
              <a:gd name="connsiteY889" fmla="*/ 2408607 h 6858889"/>
              <a:gd name="connsiteX890" fmla="*/ 545499 w 9667345"/>
              <a:gd name="connsiteY890" fmla="*/ 2169173 h 6858889"/>
              <a:gd name="connsiteX891" fmla="*/ 659165 w 9667345"/>
              <a:gd name="connsiteY891" fmla="*/ 246350 h 6858889"/>
              <a:gd name="connsiteX892" fmla="*/ 628912 w 9667345"/>
              <a:gd name="connsiteY892" fmla="*/ 433 h 6858889"/>
              <a:gd name="connsiteX893" fmla="*/ 4150413 w 9667345"/>
              <a:gd name="connsiteY893" fmla="*/ 0 h 6858889"/>
              <a:gd name="connsiteX894" fmla="*/ 4163811 w 9667345"/>
              <a:gd name="connsiteY894" fmla="*/ 0 h 6858889"/>
              <a:gd name="connsiteX895" fmla="*/ 3952901 w 9667345"/>
              <a:gd name="connsiteY895" fmla="*/ 1239096 h 6858889"/>
              <a:gd name="connsiteX896" fmla="*/ 3822380 w 9667345"/>
              <a:gd name="connsiteY896" fmla="*/ 1596518 h 6858889"/>
              <a:gd name="connsiteX897" fmla="*/ 3588131 w 9667345"/>
              <a:gd name="connsiteY897" fmla="*/ 2348100 h 6858889"/>
              <a:gd name="connsiteX898" fmla="*/ 3638265 w 9667345"/>
              <a:gd name="connsiteY898" fmla="*/ 3413886 h 6858889"/>
              <a:gd name="connsiteX899" fmla="*/ 4350951 w 9667345"/>
              <a:gd name="connsiteY899" fmla="*/ 5010403 h 6858889"/>
              <a:gd name="connsiteX900" fmla="*/ 4658670 w 9667345"/>
              <a:gd name="connsiteY900" fmla="*/ 5326336 h 6858889"/>
              <a:gd name="connsiteX901" fmla="*/ 6081015 w 9667345"/>
              <a:gd name="connsiteY901" fmla="*/ 6214491 h 6858889"/>
              <a:gd name="connsiteX902" fmla="*/ 6522715 w 9667345"/>
              <a:gd name="connsiteY902" fmla="*/ 6404654 h 6858889"/>
              <a:gd name="connsiteX903" fmla="*/ 7824477 w 9667345"/>
              <a:gd name="connsiteY903" fmla="*/ 6826042 h 6858889"/>
              <a:gd name="connsiteX904" fmla="*/ 7951543 w 9667345"/>
              <a:gd name="connsiteY904" fmla="*/ 6857160 h 6858889"/>
              <a:gd name="connsiteX905" fmla="*/ 7910051 w 9667345"/>
              <a:gd name="connsiteY905" fmla="*/ 6857160 h 6858889"/>
              <a:gd name="connsiteX906" fmla="*/ 7817994 w 9667345"/>
              <a:gd name="connsiteY906" fmla="*/ 6833822 h 6858889"/>
              <a:gd name="connsiteX907" fmla="*/ 6516232 w 9667345"/>
              <a:gd name="connsiteY907" fmla="*/ 6410273 h 6858889"/>
              <a:gd name="connsiteX908" fmla="*/ 6071074 w 9667345"/>
              <a:gd name="connsiteY908" fmla="*/ 6220110 h 6858889"/>
              <a:gd name="connsiteX909" fmla="*/ 4648731 w 9667345"/>
              <a:gd name="connsiteY909" fmla="*/ 5330225 h 6858889"/>
              <a:gd name="connsiteX910" fmla="*/ 4337553 w 9667345"/>
              <a:gd name="connsiteY910" fmla="*/ 5014293 h 6858889"/>
              <a:gd name="connsiteX911" fmla="*/ 3621411 w 9667345"/>
              <a:gd name="connsiteY911" fmla="*/ 3413886 h 6858889"/>
              <a:gd name="connsiteX912" fmla="*/ 3574733 w 9667345"/>
              <a:gd name="connsiteY912" fmla="*/ 2348100 h 6858889"/>
              <a:gd name="connsiteX913" fmla="*/ 3808982 w 9667345"/>
              <a:gd name="connsiteY913" fmla="*/ 1594358 h 6858889"/>
              <a:gd name="connsiteX914" fmla="*/ 3939503 w 9667345"/>
              <a:gd name="connsiteY914" fmla="*/ 1239096 h 6858889"/>
              <a:gd name="connsiteX915" fmla="*/ 4150413 w 9667345"/>
              <a:gd name="connsiteY915" fmla="*/ 0 h 68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</a:cxnLst>
            <a:rect l="l" t="t" r="r" b="b"/>
            <a:pathLst>
              <a:path w="9667345" h="6858889">
                <a:moveTo>
                  <a:pt x="0" y="6810685"/>
                </a:moveTo>
                <a:lnTo>
                  <a:pt x="59283" y="6858456"/>
                </a:lnTo>
                <a:lnTo>
                  <a:pt x="39402" y="6858456"/>
                </a:lnTo>
                <a:lnTo>
                  <a:pt x="0" y="6827674"/>
                </a:lnTo>
                <a:close/>
                <a:moveTo>
                  <a:pt x="0" y="6672270"/>
                </a:moveTo>
                <a:lnTo>
                  <a:pt x="80461" y="6741333"/>
                </a:lnTo>
                <a:cubicBezTo>
                  <a:pt x="130162" y="6780662"/>
                  <a:pt x="180728" y="6819559"/>
                  <a:pt x="232159" y="6857592"/>
                </a:cubicBezTo>
                <a:lnTo>
                  <a:pt x="213144" y="6857592"/>
                </a:lnTo>
                <a:cubicBezTo>
                  <a:pt x="164738" y="6821288"/>
                  <a:pt x="117197" y="6784552"/>
                  <a:pt x="70519" y="6747384"/>
                </a:cubicBezTo>
                <a:lnTo>
                  <a:pt x="0" y="6686879"/>
                </a:lnTo>
                <a:close/>
                <a:moveTo>
                  <a:pt x="0" y="6527854"/>
                </a:moveTo>
                <a:lnTo>
                  <a:pt x="2977" y="6530761"/>
                </a:lnTo>
                <a:cubicBezTo>
                  <a:pt x="64732" y="6587479"/>
                  <a:pt x="128433" y="6642523"/>
                  <a:pt x="194126" y="6695952"/>
                </a:cubicBezTo>
                <a:cubicBezTo>
                  <a:pt x="261117" y="6750841"/>
                  <a:pt x="331564" y="6805297"/>
                  <a:pt x="404173" y="6858024"/>
                </a:cubicBezTo>
                <a:lnTo>
                  <a:pt x="386452" y="6858024"/>
                </a:lnTo>
                <a:cubicBezTo>
                  <a:pt x="315573" y="6807459"/>
                  <a:pt x="246854" y="6755595"/>
                  <a:pt x="180728" y="6702435"/>
                </a:cubicBezTo>
                <a:lnTo>
                  <a:pt x="0" y="6545608"/>
                </a:lnTo>
                <a:close/>
                <a:moveTo>
                  <a:pt x="0" y="6370764"/>
                </a:moveTo>
                <a:lnTo>
                  <a:pt x="116037" y="6485384"/>
                </a:lnTo>
                <a:cubicBezTo>
                  <a:pt x="177042" y="6542099"/>
                  <a:pt x="239940" y="6597143"/>
                  <a:pt x="304768" y="6650572"/>
                </a:cubicBezTo>
                <a:cubicBezTo>
                  <a:pt x="392072" y="6721019"/>
                  <a:pt x="483697" y="6790170"/>
                  <a:pt x="578345" y="6858024"/>
                </a:cubicBezTo>
                <a:lnTo>
                  <a:pt x="559329" y="6858024"/>
                </a:lnTo>
                <a:cubicBezTo>
                  <a:pt x="466839" y="6793196"/>
                  <a:pt x="377808" y="6726206"/>
                  <a:pt x="294395" y="6657055"/>
                </a:cubicBezTo>
                <a:cubicBezTo>
                  <a:pt x="229134" y="6603409"/>
                  <a:pt x="165865" y="6548177"/>
                  <a:pt x="104541" y="6491293"/>
                </a:cubicBezTo>
                <a:lnTo>
                  <a:pt x="0" y="6388228"/>
                </a:lnTo>
                <a:close/>
                <a:moveTo>
                  <a:pt x="0" y="6202503"/>
                </a:moveTo>
                <a:lnTo>
                  <a:pt x="55211" y="6264794"/>
                </a:lnTo>
                <a:cubicBezTo>
                  <a:pt x="168600" y="6385017"/>
                  <a:pt x="289533" y="6498333"/>
                  <a:pt x="418434" y="6605192"/>
                </a:cubicBezTo>
                <a:cubicBezTo>
                  <a:pt x="522593" y="6691631"/>
                  <a:pt x="635828" y="6776340"/>
                  <a:pt x="754680" y="6857592"/>
                </a:cubicBezTo>
                <a:lnTo>
                  <a:pt x="735663" y="6857592"/>
                </a:lnTo>
                <a:cubicBezTo>
                  <a:pt x="620270" y="6778069"/>
                  <a:pt x="510060" y="6695520"/>
                  <a:pt x="408494" y="6611243"/>
                </a:cubicBezTo>
                <a:cubicBezTo>
                  <a:pt x="278836" y="6503843"/>
                  <a:pt x="157336" y="6390123"/>
                  <a:pt x="43521" y="6269568"/>
                </a:cubicBezTo>
                <a:lnTo>
                  <a:pt x="0" y="6220508"/>
                </a:lnTo>
                <a:close/>
                <a:moveTo>
                  <a:pt x="0" y="6024018"/>
                </a:moveTo>
                <a:lnTo>
                  <a:pt x="8034" y="6034410"/>
                </a:lnTo>
                <a:cubicBezTo>
                  <a:pt x="165001" y="6225012"/>
                  <a:pt x="338317" y="6399523"/>
                  <a:pt x="529076" y="6559812"/>
                </a:cubicBezTo>
                <a:cubicBezTo>
                  <a:pt x="652683" y="6662242"/>
                  <a:pt x="789255" y="6762942"/>
                  <a:pt x="932743" y="6858024"/>
                </a:cubicBezTo>
                <a:lnTo>
                  <a:pt x="913294" y="6858024"/>
                </a:lnTo>
                <a:cubicBezTo>
                  <a:pt x="773696" y="6765103"/>
                  <a:pt x="640149" y="6666563"/>
                  <a:pt x="519135" y="6564134"/>
                </a:cubicBezTo>
                <a:cubicBezTo>
                  <a:pt x="391098" y="6457275"/>
                  <a:pt x="271003" y="6343959"/>
                  <a:pt x="158491" y="6223702"/>
                </a:cubicBezTo>
                <a:lnTo>
                  <a:pt x="0" y="6043322"/>
                </a:lnTo>
                <a:close/>
                <a:moveTo>
                  <a:pt x="0" y="5825690"/>
                </a:moveTo>
                <a:lnTo>
                  <a:pt x="125453" y="5989143"/>
                </a:lnTo>
                <a:cubicBezTo>
                  <a:pt x="281200" y="6179631"/>
                  <a:pt x="453280" y="6354142"/>
                  <a:pt x="642743" y="6514432"/>
                </a:cubicBezTo>
                <a:cubicBezTo>
                  <a:pt x="770240" y="6619886"/>
                  <a:pt x="907245" y="6722749"/>
                  <a:pt x="1051163" y="6819992"/>
                </a:cubicBezTo>
                <a:cubicBezTo>
                  <a:pt x="1070613" y="6832525"/>
                  <a:pt x="1090493" y="6845058"/>
                  <a:pt x="1109942" y="6858456"/>
                </a:cubicBezTo>
                <a:lnTo>
                  <a:pt x="1090062" y="6858456"/>
                </a:lnTo>
                <a:cubicBezTo>
                  <a:pt x="1073637" y="6848084"/>
                  <a:pt x="1057215" y="6837712"/>
                  <a:pt x="1040791" y="6826907"/>
                </a:cubicBezTo>
                <a:cubicBezTo>
                  <a:pt x="896871" y="6729664"/>
                  <a:pt x="755977" y="6626369"/>
                  <a:pt x="632370" y="6519185"/>
                </a:cubicBezTo>
                <a:cubicBezTo>
                  <a:pt x="441611" y="6358896"/>
                  <a:pt x="268781" y="6184081"/>
                  <a:pt x="112604" y="5993214"/>
                </a:cubicBezTo>
                <a:lnTo>
                  <a:pt x="0" y="5846530"/>
                </a:lnTo>
                <a:close/>
                <a:moveTo>
                  <a:pt x="0" y="5604549"/>
                </a:moveTo>
                <a:lnTo>
                  <a:pt x="95478" y="5747885"/>
                </a:lnTo>
                <a:cubicBezTo>
                  <a:pt x="286291" y="6016330"/>
                  <a:pt x="505520" y="6255332"/>
                  <a:pt x="756408" y="6469052"/>
                </a:cubicBezTo>
                <a:cubicBezTo>
                  <a:pt x="880449" y="6574506"/>
                  <a:pt x="1017453" y="6677369"/>
                  <a:pt x="1161372" y="6774611"/>
                </a:cubicBezTo>
                <a:cubicBezTo>
                  <a:pt x="1202863" y="6803136"/>
                  <a:pt x="1246083" y="6830364"/>
                  <a:pt x="1289734" y="6857592"/>
                </a:cubicBezTo>
                <a:lnTo>
                  <a:pt x="1271150" y="6857592"/>
                </a:lnTo>
                <a:cubicBezTo>
                  <a:pt x="1230523" y="6832093"/>
                  <a:pt x="1190329" y="6806593"/>
                  <a:pt x="1151432" y="6780662"/>
                </a:cubicBezTo>
                <a:cubicBezTo>
                  <a:pt x="1004054" y="6683419"/>
                  <a:pt x="870076" y="6580125"/>
                  <a:pt x="743010" y="6472941"/>
                </a:cubicBezTo>
                <a:cubicBezTo>
                  <a:pt x="491907" y="6260303"/>
                  <a:pt x="272678" y="6021301"/>
                  <a:pt x="81919" y="5752315"/>
                </a:cubicBezTo>
                <a:lnTo>
                  <a:pt x="0" y="5628996"/>
                </a:lnTo>
                <a:close/>
                <a:moveTo>
                  <a:pt x="0" y="5359076"/>
                </a:moveTo>
                <a:lnTo>
                  <a:pt x="78670" y="5496155"/>
                </a:lnTo>
                <a:cubicBezTo>
                  <a:pt x="296387" y="5850882"/>
                  <a:pt x="557492" y="6157873"/>
                  <a:pt x="867049" y="6423672"/>
                </a:cubicBezTo>
                <a:cubicBezTo>
                  <a:pt x="991088" y="6529127"/>
                  <a:pt x="1128093" y="6631988"/>
                  <a:pt x="1272015" y="6729231"/>
                </a:cubicBezTo>
                <a:cubicBezTo>
                  <a:pt x="1335979" y="6773315"/>
                  <a:pt x="1402536" y="6816102"/>
                  <a:pt x="1469526" y="6857592"/>
                </a:cubicBezTo>
                <a:lnTo>
                  <a:pt x="1450509" y="6857592"/>
                </a:lnTo>
                <a:cubicBezTo>
                  <a:pt x="1385681" y="6818263"/>
                  <a:pt x="1321284" y="6777637"/>
                  <a:pt x="1258184" y="6735282"/>
                </a:cubicBezTo>
                <a:cubicBezTo>
                  <a:pt x="1114264" y="6638039"/>
                  <a:pt x="980285" y="6534745"/>
                  <a:pt x="856678" y="6427561"/>
                </a:cubicBezTo>
                <a:cubicBezTo>
                  <a:pt x="547120" y="6161763"/>
                  <a:pt x="284664" y="5854772"/>
                  <a:pt x="65196" y="5499518"/>
                </a:cubicBezTo>
                <a:lnTo>
                  <a:pt x="0" y="5386698"/>
                </a:lnTo>
                <a:close/>
                <a:moveTo>
                  <a:pt x="0" y="5079907"/>
                </a:moveTo>
                <a:lnTo>
                  <a:pt x="75746" y="5232455"/>
                </a:lnTo>
                <a:cubicBezTo>
                  <a:pt x="314438" y="5681597"/>
                  <a:pt x="611840" y="6058901"/>
                  <a:pt x="980716" y="6377859"/>
                </a:cubicBezTo>
                <a:cubicBezTo>
                  <a:pt x="1100866" y="6483315"/>
                  <a:pt x="1238303" y="6586176"/>
                  <a:pt x="1378765" y="6683419"/>
                </a:cubicBezTo>
                <a:cubicBezTo>
                  <a:pt x="1466068" y="6743925"/>
                  <a:pt x="1558557" y="6801840"/>
                  <a:pt x="1652775" y="6858024"/>
                </a:cubicBezTo>
                <a:lnTo>
                  <a:pt x="1631165" y="6858024"/>
                </a:lnTo>
                <a:cubicBezTo>
                  <a:pt x="1540405" y="6804432"/>
                  <a:pt x="1452670" y="6748680"/>
                  <a:pt x="1368824" y="6690334"/>
                </a:cubicBezTo>
                <a:cubicBezTo>
                  <a:pt x="1224905" y="6593091"/>
                  <a:pt x="1090925" y="6489797"/>
                  <a:pt x="967318" y="6382614"/>
                </a:cubicBezTo>
                <a:cubicBezTo>
                  <a:pt x="600712" y="6063656"/>
                  <a:pt x="301932" y="5685380"/>
                  <a:pt x="62592" y="5235569"/>
                </a:cubicBezTo>
                <a:lnTo>
                  <a:pt x="0" y="5109615"/>
                </a:lnTo>
                <a:close/>
                <a:moveTo>
                  <a:pt x="0" y="4754262"/>
                </a:moveTo>
                <a:lnTo>
                  <a:pt x="86287" y="4958028"/>
                </a:lnTo>
                <a:cubicBezTo>
                  <a:pt x="336960" y="5509160"/>
                  <a:pt x="666675" y="5960362"/>
                  <a:pt x="1091358" y="6332479"/>
                </a:cubicBezTo>
                <a:cubicBezTo>
                  <a:pt x="1214964" y="6437934"/>
                  <a:pt x="1348944" y="6540795"/>
                  <a:pt x="1489406" y="6638039"/>
                </a:cubicBezTo>
                <a:cubicBezTo>
                  <a:pt x="1600048" y="6714537"/>
                  <a:pt x="1716308" y="6787577"/>
                  <a:pt x="1836889" y="6857592"/>
                </a:cubicBezTo>
                <a:lnTo>
                  <a:pt x="1816575" y="6857592"/>
                </a:lnTo>
                <a:cubicBezTo>
                  <a:pt x="1699884" y="6789306"/>
                  <a:pt x="1586651" y="6718427"/>
                  <a:pt x="1479466" y="6644089"/>
                </a:cubicBezTo>
                <a:cubicBezTo>
                  <a:pt x="1335546" y="6546846"/>
                  <a:pt x="1201999" y="6443552"/>
                  <a:pt x="1081417" y="6336369"/>
                </a:cubicBezTo>
                <a:cubicBezTo>
                  <a:pt x="656734" y="5964251"/>
                  <a:pt x="324372" y="5511395"/>
                  <a:pt x="73038" y="4959848"/>
                </a:cubicBezTo>
                <a:lnTo>
                  <a:pt x="0" y="4787554"/>
                </a:lnTo>
                <a:close/>
                <a:moveTo>
                  <a:pt x="0" y="4357497"/>
                </a:moveTo>
                <a:lnTo>
                  <a:pt x="3590" y="4371077"/>
                </a:lnTo>
                <a:cubicBezTo>
                  <a:pt x="33405" y="4468408"/>
                  <a:pt x="67926" y="4568055"/>
                  <a:pt x="107256" y="4670269"/>
                </a:cubicBezTo>
                <a:cubicBezTo>
                  <a:pt x="364842" y="5332819"/>
                  <a:pt x="723130" y="5861822"/>
                  <a:pt x="1205024" y="6287099"/>
                </a:cubicBezTo>
                <a:cubicBezTo>
                  <a:pt x="1325606" y="6392554"/>
                  <a:pt x="1456128" y="6495415"/>
                  <a:pt x="1600048" y="6592659"/>
                </a:cubicBezTo>
                <a:cubicBezTo>
                  <a:pt x="1733164" y="6685148"/>
                  <a:pt x="1874923" y="6773747"/>
                  <a:pt x="2023165" y="6858024"/>
                </a:cubicBezTo>
                <a:lnTo>
                  <a:pt x="2001554" y="6858024"/>
                </a:lnTo>
                <a:cubicBezTo>
                  <a:pt x="1858500" y="6775908"/>
                  <a:pt x="1719334" y="6689469"/>
                  <a:pt x="1587082" y="6599142"/>
                </a:cubicBezTo>
                <a:cubicBezTo>
                  <a:pt x="1446188" y="6501898"/>
                  <a:pt x="1315665" y="6398605"/>
                  <a:pt x="1192058" y="6291421"/>
                </a:cubicBezTo>
                <a:cubicBezTo>
                  <a:pt x="713190" y="5866144"/>
                  <a:pt x="351877" y="5337573"/>
                  <a:pt x="94290" y="4672429"/>
                </a:cubicBezTo>
                <a:lnTo>
                  <a:pt x="0" y="4400852"/>
                </a:lnTo>
                <a:close/>
                <a:moveTo>
                  <a:pt x="0" y="3631903"/>
                </a:moveTo>
                <a:lnTo>
                  <a:pt x="10844" y="3768898"/>
                </a:lnTo>
                <a:cubicBezTo>
                  <a:pt x="44858" y="4035486"/>
                  <a:pt x="118926" y="4317816"/>
                  <a:pt x="234320" y="4624456"/>
                </a:cubicBezTo>
                <a:cubicBezTo>
                  <a:pt x="488449" y="5287439"/>
                  <a:pt x="839822" y="5816009"/>
                  <a:pt x="1315233" y="6239558"/>
                </a:cubicBezTo>
                <a:cubicBezTo>
                  <a:pt x="1435814" y="6347174"/>
                  <a:pt x="1566337" y="6450035"/>
                  <a:pt x="1706800" y="6547278"/>
                </a:cubicBezTo>
                <a:cubicBezTo>
                  <a:pt x="1864118" y="6656623"/>
                  <a:pt x="2028350" y="6758620"/>
                  <a:pt x="2205549" y="6857592"/>
                </a:cubicBezTo>
                <a:lnTo>
                  <a:pt x="2183507" y="6857592"/>
                </a:lnTo>
                <a:cubicBezTo>
                  <a:pt x="2010198" y="6760782"/>
                  <a:pt x="1848127" y="6660513"/>
                  <a:pt x="1696860" y="6553329"/>
                </a:cubicBezTo>
                <a:cubicBezTo>
                  <a:pt x="1556397" y="6456086"/>
                  <a:pt x="1425874" y="6352792"/>
                  <a:pt x="1305292" y="6245609"/>
                </a:cubicBezTo>
                <a:cubicBezTo>
                  <a:pt x="829883" y="5820332"/>
                  <a:pt x="475051" y="5291760"/>
                  <a:pt x="220923" y="4626617"/>
                </a:cubicBezTo>
                <a:cubicBezTo>
                  <a:pt x="142263" y="4421110"/>
                  <a:pt x="82837" y="4226947"/>
                  <a:pt x="42265" y="4041321"/>
                </a:cubicBezTo>
                <a:lnTo>
                  <a:pt x="0" y="3795139"/>
                </a:lnTo>
                <a:close/>
                <a:moveTo>
                  <a:pt x="5434888" y="1729"/>
                </a:moveTo>
                <a:lnTo>
                  <a:pt x="5448286" y="1729"/>
                </a:lnTo>
                <a:cubicBezTo>
                  <a:pt x="5418033" y="302967"/>
                  <a:pt x="5344560" y="600316"/>
                  <a:pt x="5227436" y="893774"/>
                </a:cubicBezTo>
                <a:cubicBezTo>
                  <a:pt x="5173844" y="1019974"/>
                  <a:pt x="5117227" y="1145742"/>
                  <a:pt x="5060177" y="1269781"/>
                </a:cubicBezTo>
                <a:cubicBezTo>
                  <a:pt x="4952995" y="1494521"/>
                  <a:pt x="4842785" y="1727905"/>
                  <a:pt x="4785736" y="1963449"/>
                </a:cubicBezTo>
                <a:cubicBezTo>
                  <a:pt x="4695407" y="2329084"/>
                  <a:pt x="4728687" y="2696879"/>
                  <a:pt x="4768880" y="3010651"/>
                </a:cubicBezTo>
                <a:cubicBezTo>
                  <a:pt x="4832844" y="3470935"/>
                  <a:pt x="4956451" y="4067793"/>
                  <a:pt x="5361416" y="4600686"/>
                </a:cubicBezTo>
                <a:cubicBezTo>
                  <a:pt x="5441371" y="4710462"/>
                  <a:pt x="5538614" y="4817646"/>
                  <a:pt x="5642341" y="4920939"/>
                </a:cubicBezTo>
                <a:cubicBezTo>
                  <a:pt x="5986797" y="5257618"/>
                  <a:pt x="6438438" y="5559287"/>
                  <a:pt x="6990779" y="5817306"/>
                </a:cubicBezTo>
                <a:cubicBezTo>
                  <a:pt x="7131674" y="5883431"/>
                  <a:pt x="7275593" y="5945235"/>
                  <a:pt x="7425997" y="6003148"/>
                </a:cubicBezTo>
                <a:cubicBezTo>
                  <a:pt x="7821020" y="6156144"/>
                  <a:pt x="8255805" y="6287963"/>
                  <a:pt x="8717818" y="6393418"/>
                </a:cubicBezTo>
                <a:cubicBezTo>
                  <a:pt x="9019489" y="6462137"/>
                  <a:pt x="9337150" y="6520050"/>
                  <a:pt x="9666913" y="6567592"/>
                </a:cubicBezTo>
                <a:lnTo>
                  <a:pt x="9666913" y="6576236"/>
                </a:lnTo>
                <a:cubicBezTo>
                  <a:pt x="9335853" y="6528262"/>
                  <a:pt x="9016896" y="6470348"/>
                  <a:pt x="8714362" y="6401198"/>
                </a:cubicBezTo>
                <a:cubicBezTo>
                  <a:pt x="8249322" y="6295742"/>
                  <a:pt x="7814105" y="6163492"/>
                  <a:pt x="7416056" y="6008767"/>
                </a:cubicBezTo>
                <a:cubicBezTo>
                  <a:pt x="7268679" y="5950854"/>
                  <a:pt x="7124759" y="5889050"/>
                  <a:pt x="6984296" y="5822924"/>
                </a:cubicBezTo>
                <a:cubicBezTo>
                  <a:pt x="6428930" y="5564474"/>
                  <a:pt x="5973832" y="5263236"/>
                  <a:pt x="5632400" y="4924397"/>
                </a:cubicBezTo>
                <a:cubicBezTo>
                  <a:pt x="5525216" y="4821103"/>
                  <a:pt x="5431863" y="4713487"/>
                  <a:pt x="5348018" y="4604143"/>
                </a:cubicBezTo>
                <a:cubicBezTo>
                  <a:pt x="4943053" y="4069089"/>
                  <a:pt x="4819014" y="3472232"/>
                  <a:pt x="4755482" y="3009786"/>
                </a:cubicBezTo>
                <a:cubicBezTo>
                  <a:pt x="4712262" y="2697743"/>
                  <a:pt x="4682010" y="2328220"/>
                  <a:pt x="4772337" y="1962585"/>
                </a:cubicBezTo>
                <a:cubicBezTo>
                  <a:pt x="4828955" y="1725312"/>
                  <a:pt x="4939596" y="1491927"/>
                  <a:pt x="5043322" y="1266755"/>
                </a:cubicBezTo>
                <a:cubicBezTo>
                  <a:pt x="5103397" y="1142716"/>
                  <a:pt x="5160446" y="1016517"/>
                  <a:pt x="5210581" y="890749"/>
                </a:cubicBezTo>
                <a:cubicBezTo>
                  <a:pt x="5327704" y="597723"/>
                  <a:pt x="5404635" y="300374"/>
                  <a:pt x="5434888" y="1729"/>
                </a:cubicBezTo>
                <a:close/>
                <a:moveTo>
                  <a:pt x="5575783" y="1297"/>
                </a:moveTo>
                <a:lnTo>
                  <a:pt x="5589181" y="1297"/>
                </a:lnTo>
                <a:cubicBezTo>
                  <a:pt x="5555902" y="288272"/>
                  <a:pt x="5481997" y="573087"/>
                  <a:pt x="5368330" y="854012"/>
                </a:cubicBezTo>
                <a:cubicBezTo>
                  <a:pt x="5314738" y="979780"/>
                  <a:pt x="5254664" y="1107709"/>
                  <a:pt x="5197614" y="1231748"/>
                </a:cubicBezTo>
                <a:cubicBezTo>
                  <a:pt x="5090430" y="1454760"/>
                  <a:pt x="4979790" y="1685982"/>
                  <a:pt x="4919715" y="1921527"/>
                </a:cubicBezTo>
                <a:cubicBezTo>
                  <a:pt x="4825929" y="2282839"/>
                  <a:pt x="4856183" y="2652364"/>
                  <a:pt x="4896376" y="2964406"/>
                </a:cubicBezTo>
                <a:cubicBezTo>
                  <a:pt x="4956883" y="3424691"/>
                  <a:pt x="5077033" y="4021548"/>
                  <a:pt x="5472057" y="4554441"/>
                </a:cubicBezTo>
                <a:cubicBezTo>
                  <a:pt x="5555470" y="4664218"/>
                  <a:pt x="5649256" y="4771402"/>
                  <a:pt x="5752981" y="4874695"/>
                </a:cubicBezTo>
                <a:cubicBezTo>
                  <a:pt x="6094413" y="5213533"/>
                  <a:pt x="6546053" y="5515204"/>
                  <a:pt x="7094937" y="5773223"/>
                </a:cubicBezTo>
                <a:cubicBezTo>
                  <a:pt x="7232375" y="5837187"/>
                  <a:pt x="7376294" y="5898990"/>
                  <a:pt x="7526698" y="5956904"/>
                </a:cubicBezTo>
                <a:cubicBezTo>
                  <a:pt x="7921721" y="6109900"/>
                  <a:pt x="8353481" y="6239990"/>
                  <a:pt x="8818519" y="6343283"/>
                </a:cubicBezTo>
                <a:cubicBezTo>
                  <a:pt x="9090369" y="6405087"/>
                  <a:pt x="9373886" y="6457382"/>
                  <a:pt x="9666913" y="6500602"/>
                </a:cubicBezTo>
                <a:lnTo>
                  <a:pt x="9666913" y="6509246"/>
                </a:lnTo>
                <a:cubicBezTo>
                  <a:pt x="9372158" y="6465594"/>
                  <a:pt x="9086479" y="6413299"/>
                  <a:pt x="8811605" y="6351496"/>
                </a:cubicBezTo>
                <a:cubicBezTo>
                  <a:pt x="8349591" y="6248201"/>
                  <a:pt x="7914374" y="6118112"/>
                  <a:pt x="7516324" y="5965116"/>
                </a:cubicBezTo>
                <a:cubicBezTo>
                  <a:pt x="7368947" y="5907202"/>
                  <a:pt x="7225028" y="5845399"/>
                  <a:pt x="7084564" y="5779273"/>
                </a:cubicBezTo>
                <a:cubicBezTo>
                  <a:pt x="6535681" y="5521255"/>
                  <a:pt x="6080582" y="5217856"/>
                  <a:pt x="5739151" y="4879017"/>
                </a:cubicBezTo>
                <a:cubicBezTo>
                  <a:pt x="5635425" y="4775724"/>
                  <a:pt x="5542072" y="4668108"/>
                  <a:pt x="5458226" y="4558762"/>
                </a:cubicBezTo>
                <a:cubicBezTo>
                  <a:pt x="5059745" y="4023709"/>
                  <a:pt x="4942621" y="3427284"/>
                  <a:pt x="4882546" y="2966567"/>
                </a:cubicBezTo>
                <a:cubicBezTo>
                  <a:pt x="4842352" y="2652364"/>
                  <a:pt x="4812099" y="2282839"/>
                  <a:pt x="4905886" y="1919366"/>
                </a:cubicBezTo>
                <a:cubicBezTo>
                  <a:pt x="4965960" y="1683821"/>
                  <a:pt x="5076601" y="1452598"/>
                  <a:pt x="5180327" y="1229587"/>
                </a:cubicBezTo>
                <a:cubicBezTo>
                  <a:pt x="5240834" y="1105980"/>
                  <a:pt x="5300909" y="977619"/>
                  <a:pt x="5354501" y="851851"/>
                </a:cubicBezTo>
                <a:cubicBezTo>
                  <a:pt x="5468599" y="573087"/>
                  <a:pt x="5542072" y="287840"/>
                  <a:pt x="5575783" y="1297"/>
                </a:cubicBezTo>
                <a:close/>
                <a:moveTo>
                  <a:pt x="5293994" y="1297"/>
                </a:moveTo>
                <a:lnTo>
                  <a:pt x="5307392" y="1297"/>
                </a:lnTo>
                <a:cubicBezTo>
                  <a:pt x="5277139" y="315069"/>
                  <a:pt x="5203665" y="624950"/>
                  <a:pt x="5083083" y="930511"/>
                </a:cubicBezTo>
                <a:cubicBezTo>
                  <a:pt x="5036406" y="1056710"/>
                  <a:pt x="4976332" y="1182478"/>
                  <a:pt x="4919283" y="1306517"/>
                </a:cubicBezTo>
                <a:cubicBezTo>
                  <a:pt x="4815557" y="1533851"/>
                  <a:pt x="4708806" y="1768963"/>
                  <a:pt x="4651756" y="2006668"/>
                </a:cubicBezTo>
                <a:cubicBezTo>
                  <a:pt x="4564885" y="2374031"/>
                  <a:pt x="4598597" y="2741827"/>
                  <a:pt x="4645273" y="3055599"/>
                </a:cubicBezTo>
                <a:cubicBezTo>
                  <a:pt x="4712262" y="3515884"/>
                  <a:pt x="4839328" y="4112741"/>
                  <a:pt x="5247749" y="4645633"/>
                </a:cubicBezTo>
                <a:cubicBezTo>
                  <a:pt x="5331595" y="4755410"/>
                  <a:pt x="5428405" y="4862594"/>
                  <a:pt x="5535589" y="4965888"/>
                </a:cubicBezTo>
                <a:cubicBezTo>
                  <a:pt x="5877020" y="5300404"/>
                  <a:pt x="6335575" y="5602075"/>
                  <a:pt x="6890942" y="5862254"/>
                </a:cubicBezTo>
                <a:cubicBezTo>
                  <a:pt x="7031838" y="5926218"/>
                  <a:pt x="7175758" y="5988023"/>
                  <a:pt x="7326160" y="6045935"/>
                </a:cubicBezTo>
                <a:cubicBezTo>
                  <a:pt x="7721184" y="6201092"/>
                  <a:pt x="8159427" y="6335072"/>
                  <a:pt x="8617983" y="6440527"/>
                </a:cubicBezTo>
                <a:cubicBezTo>
                  <a:pt x="8950770" y="6516161"/>
                  <a:pt x="9301711" y="6580989"/>
                  <a:pt x="9667345" y="6632852"/>
                </a:cubicBezTo>
                <a:lnTo>
                  <a:pt x="9667345" y="6642793"/>
                </a:lnTo>
                <a:cubicBezTo>
                  <a:pt x="9298685" y="6590498"/>
                  <a:pt x="8946016" y="6526101"/>
                  <a:pt x="8614525" y="6448739"/>
                </a:cubicBezTo>
                <a:cubicBezTo>
                  <a:pt x="8152944" y="6341123"/>
                  <a:pt x="7714269" y="6208872"/>
                  <a:pt x="7316220" y="6054147"/>
                </a:cubicBezTo>
                <a:cubicBezTo>
                  <a:pt x="7168842" y="5996234"/>
                  <a:pt x="7021464" y="5934431"/>
                  <a:pt x="6884460" y="5868305"/>
                </a:cubicBezTo>
                <a:cubicBezTo>
                  <a:pt x="6325635" y="5607693"/>
                  <a:pt x="5867512" y="5306455"/>
                  <a:pt x="5522623" y="4969778"/>
                </a:cubicBezTo>
                <a:cubicBezTo>
                  <a:pt x="5415440" y="4866483"/>
                  <a:pt x="5318629" y="4758867"/>
                  <a:pt x="5234783" y="4649523"/>
                </a:cubicBezTo>
                <a:cubicBezTo>
                  <a:pt x="4826361" y="4114469"/>
                  <a:pt x="4695840" y="3515884"/>
                  <a:pt x="4628850" y="3055167"/>
                </a:cubicBezTo>
                <a:cubicBezTo>
                  <a:pt x="4585198" y="2741395"/>
                  <a:pt x="4551920" y="2371870"/>
                  <a:pt x="4638790" y="2004076"/>
                </a:cubicBezTo>
                <a:cubicBezTo>
                  <a:pt x="4695407" y="1766370"/>
                  <a:pt x="4802591" y="1531258"/>
                  <a:pt x="4906318" y="1303924"/>
                </a:cubicBezTo>
                <a:cubicBezTo>
                  <a:pt x="4962934" y="1179885"/>
                  <a:pt x="5019984" y="1053685"/>
                  <a:pt x="5070118" y="927917"/>
                </a:cubicBezTo>
                <a:cubicBezTo>
                  <a:pt x="5190699" y="624518"/>
                  <a:pt x="5264173" y="312908"/>
                  <a:pt x="5293994" y="1297"/>
                </a:cubicBezTo>
                <a:close/>
                <a:moveTo>
                  <a:pt x="5150073" y="1297"/>
                </a:moveTo>
                <a:lnTo>
                  <a:pt x="5163472" y="1297"/>
                </a:lnTo>
                <a:cubicBezTo>
                  <a:pt x="5140133" y="327603"/>
                  <a:pt x="5066228" y="651747"/>
                  <a:pt x="4942621" y="969840"/>
                </a:cubicBezTo>
                <a:cubicBezTo>
                  <a:pt x="4895512" y="1096040"/>
                  <a:pt x="4838895" y="1221807"/>
                  <a:pt x="4781845" y="1343686"/>
                </a:cubicBezTo>
                <a:cubicBezTo>
                  <a:pt x="4681145" y="1572748"/>
                  <a:pt x="4574394" y="1810454"/>
                  <a:pt x="4517344" y="2049888"/>
                </a:cubicBezTo>
                <a:cubicBezTo>
                  <a:pt x="4433499" y="2417251"/>
                  <a:pt x="4470667" y="2786775"/>
                  <a:pt x="4517344" y="3098818"/>
                </a:cubicBezTo>
                <a:cubicBezTo>
                  <a:pt x="4587359" y="3559535"/>
                  <a:pt x="4721339" y="4155959"/>
                  <a:pt x="5136243" y="4691014"/>
                </a:cubicBezTo>
                <a:cubicBezTo>
                  <a:pt x="5220088" y="4800790"/>
                  <a:pt x="5316900" y="4907974"/>
                  <a:pt x="5424084" y="5011268"/>
                </a:cubicBezTo>
                <a:cubicBezTo>
                  <a:pt x="5768540" y="5343623"/>
                  <a:pt x="6230554" y="5645293"/>
                  <a:pt x="6789377" y="5905473"/>
                </a:cubicBezTo>
                <a:cubicBezTo>
                  <a:pt x="6930272" y="5971598"/>
                  <a:pt x="7074193" y="6033402"/>
                  <a:pt x="7224595" y="6091316"/>
                </a:cubicBezTo>
                <a:cubicBezTo>
                  <a:pt x="7623076" y="6248201"/>
                  <a:pt x="8057862" y="6380452"/>
                  <a:pt x="8519875" y="6487636"/>
                </a:cubicBezTo>
                <a:cubicBezTo>
                  <a:pt x="8879026" y="6571913"/>
                  <a:pt x="9262813" y="6643225"/>
                  <a:pt x="9666480" y="6699411"/>
                </a:cubicBezTo>
                <a:lnTo>
                  <a:pt x="9666480" y="6708918"/>
                </a:lnTo>
                <a:cubicBezTo>
                  <a:pt x="9261516" y="6651869"/>
                  <a:pt x="8875568" y="6580557"/>
                  <a:pt x="8513393" y="6495848"/>
                </a:cubicBezTo>
                <a:cubicBezTo>
                  <a:pt x="8051379" y="6388664"/>
                  <a:pt x="7616161" y="6254252"/>
                  <a:pt x="7218112" y="6099527"/>
                </a:cubicBezTo>
                <a:cubicBezTo>
                  <a:pt x="7067710" y="6039452"/>
                  <a:pt x="6920332" y="5977649"/>
                  <a:pt x="6779869" y="5911524"/>
                </a:cubicBezTo>
                <a:cubicBezTo>
                  <a:pt x="6221045" y="5651345"/>
                  <a:pt x="5759032" y="5349674"/>
                  <a:pt x="5411118" y="5015158"/>
                </a:cubicBezTo>
                <a:cubicBezTo>
                  <a:pt x="5303934" y="4911864"/>
                  <a:pt x="5207123" y="4804248"/>
                  <a:pt x="5123278" y="4694903"/>
                </a:cubicBezTo>
                <a:cubicBezTo>
                  <a:pt x="4708373" y="4157688"/>
                  <a:pt x="4574826" y="3561263"/>
                  <a:pt x="4504379" y="3100547"/>
                </a:cubicBezTo>
                <a:cubicBezTo>
                  <a:pt x="4457701" y="2786775"/>
                  <a:pt x="4420534" y="2416819"/>
                  <a:pt x="4504379" y="2047294"/>
                </a:cubicBezTo>
                <a:cubicBezTo>
                  <a:pt x="4561428" y="1807860"/>
                  <a:pt x="4668612" y="1570154"/>
                  <a:pt x="4768880" y="1341093"/>
                </a:cubicBezTo>
                <a:cubicBezTo>
                  <a:pt x="4825929" y="1219214"/>
                  <a:pt x="4882979" y="1093015"/>
                  <a:pt x="4929656" y="967246"/>
                </a:cubicBezTo>
                <a:cubicBezTo>
                  <a:pt x="5053263" y="649153"/>
                  <a:pt x="5127167" y="327170"/>
                  <a:pt x="5150073" y="1297"/>
                </a:cubicBezTo>
                <a:close/>
                <a:moveTo>
                  <a:pt x="5008747" y="1297"/>
                </a:moveTo>
                <a:lnTo>
                  <a:pt x="5022145" y="1297"/>
                </a:lnTo>
                <a:cubicBezTo>
                  <a:pt x="4998807" y="340136"/>
                  <a:pt x="4924902" y="676814"/>
                  <a:pt x="4801294" y="1009169"/>
                </a:cubicBezTo>
                <a:cubicBezTo>
                  <a:pt x="4754618" y="1132776"/>
                  <a:pt x="4697569" y="1258976"/>
                  <a:pt x="4643977" y="1378694"/>
                </a:cubicBezTo>
                <a:cubicBezTo>
                  <a:pt x="4543708" y="1612077"/>
                  <a:pt x="4439982" y="1851512"/>
                  <a:pt x="4386390" y="2093107"/>
                </a:cubicBezTo>
                <a:cubicBezTo>
                  <a:pt x="4302977" y="2462631"/>
                  <a:pt x="4343171" y="2832155"/>
                  <a:pt x="4389848" y="3144198"/>
                </a:cubicBezTo>
                <a:cubicBezTo>
                  <a:pt x="4463320" y="3604915"/>
                  <a:pt x="4600325" y="4201340"/>
                  <a:pt x="5022145" y="4736393"/>
                </a:cubicBezTo>
                <a:cubicBezTo>
                  <a:pt x="5109448" y="4846171"/>
                  <a:pt x="5206258" y="4953355"/>
                  <a:pt x="5313442" y="5056648"/>
                </a:cubicBezTo>
                <a:cubicBezTo>
                  <a:pt x="5661356" y="5386843"/>
                  <a:pt x="6122938" y="5686351"/>
                  <a:pt x="6688676" y="5948692"/>
                </a:cubicBezTo>
                <a:cubicBezTo>
                  <a:pt x="6829571" y="6014818"/>
                  <a:pt x="6973492" y="6076622"/>
                  <a:pt x="7123895" y="6136696"/>
                </a:cubicBezTo>
                <a:cubicBezTo>
                  <a:pt x="7522376" y="6293582"/>
                  <a:pt x="7960618" y="6427993"/>
                  <a:pt x="8419174" y="6537339"/>
                </a:cubicBezTo>
                <a:cubicBezTo>
                  <a:pt x="8805986" y="6628962"/>
                  <a:pt x="9224349" y="6706325"/>
                  <a:pt x="9666049" y="6767264"/>
                </a:cubicBezTo>
                <a:lnTo>
                  <a:pt x="9666049" y="6775908"/>
                </a:lnTo>
                <a:cubicBezTo>
                  <a:pt x="9222187" y="6714537"/>
                  <a:pt x="8802529" y="6637175"/>
                  <a:pt x="8412691" y="6545550"/>
                </a:cubicBezTo>
                <a:cubicBezTo>
                  <a:pt x="7954135" y="6436206"/>
                  <a:pt x="7515460" y="6299633"/>
                  <a:pt x="7117412" y="6142747"/>
                </a:cubicBezTo>
                <a:cubicBezTo>
                  <a:pt x="6967009" y="6084833"/>
                  <a:pt x="6819631" y="6023030"/>
                  <a:pt x="6679169" y="5956904"/>
                </a:cubicBezTo>
                <a:cubicBezTo>
                  <a:pt x="6113862" y="5692402"/>
                  <a:pt x="5651848" y="5392893"/>
                  <a:pt x="5303934" y="5060537"/>
                </a:cubicBezTo>
                <a:cubicBezTo>
                  <a:pt x="5193725" y="4957244"/>
                  <a:pt x="5096482" y="4849628"/>
                  <a:pt x="5009611" y="4740283"/>
                </a:cubicBezTo>
                <a:cubicBezTo>
                  <a:pt x="4588224" y="4203068"/>
                  <a:pt x="4450787" y="3606643"/>
                  <a:pt x="4377314" y="3145926"/>
                </a:cubicBezTo>
                <a:cubicBezTo>
                  <a:pt x="4327180" y="2831723"/>
                  <a:pt x="4290444" y="2462199"/>
                  <a:pt x="4370831" y="2090514"/>
                </a:cubicBezTo>
                <a:cubicBezTo>
                  <a:pt x="4424423" y="1848919"/>
                  <a:pt x="4531607" y="1609484"/>
                  <a:pt x="4631875" y="1376100"/>
                </a:cubicBezTo>
                <a:cubicBezTo>
                  <a:pt x="4685467" y="1256383"/>
                  <a:pt x="4742516" y="1130616"/>
                  <a:pt x="4789193" y="1006575"/>
                </a:cubicBezTo>
                <a:cubicBezTo>
                  <a:pt x="4912800" y="675949"/>
                  <a:pt x="4986705" y="339703"/>
                  <a:pt x="5008747" y="1297"/>
                </a:cubicBezTo>
                <a:close/>
                <a:moveTo>
                  <a:pt x="4865691" y="1297"/>
                </a:moveTo>
                <a:lnTo>
                  <a:pt x="4879089" y="1297"/>
                </a:lnTo>
                <a:cubicBezTo>
                  <a:pt x="4862666" y="352670"/>
                  <a:pt x="4788761" y="703609"/>
                  <a:pt x="4661697" y="1048499"/>
                </a:cubicBezTo>
                <a:cubicBezTo>
                  <a:pt x="4615020" y="1172538"/>
                  <a:pt x="4561428" y="1296577"/>
                  <a:pt x="4507836" y="1416295"/>
                </a:cubicBezTo>
                <a:cubicBezTo>
                  <a:pt x="4407567" y="1649678"/>
                  <a:pt x="4303842" y="1891273"/>
                  <a:pt x="4253707" y="2135030"/>
                </a:cubicBezTo>
                <a:cubicBezTo>
                  <a:pt x="4173320" y="2511036"/>
                  <a:pt x="4216971" y="2895255"/>
                  <a:pt x="4267105" y="3190442"/>
                </a:cubicBezTo>
                <a:cubicBezTo>
                  <a:pt x="4344036" y="3651159"/>
                  <a:pt x="4484930" y="4247584"/>
                  <a:pt x="4909775" y="4782638"/>
                </a:cubicBezTo>
                <a:cubicBezTo>
                  <a:pt x="4996645" y="4892416"/>
                  <a:pt x="5096914" y="4999599"/>
                  <a:pt x="5207555" y="5102893"/>
                </a:cubicBezTo>
                <a:cubicBezTo>
                  <a:pt x="5555470" y="5431358"/>
                  <a:pt x="6020509" y="5730435"/>
                  <a:pt x="6586247" y="5994937"/>
                </a:cubicBezTo>
                <a:cubicBezTo>
                  <a:pt x="6730168" y="6061062"/>
                  <a:pt x="6874087" y="6122866"/>
                  <a:pt x="7024491" y="6180779"/>
                </a:cubicBezTo>
                <a:cubicBezTo>
                  <a:pt x="7426430" y="6339826"/>
                  <a:pt x="7861214" y="6476399"/>
                  <a:pt x="8319770" y="6585744"/>
                </a:cubicBezTo>
                <a:cubicBezTo>
                  <a:pt x="8733378" y="6684284"/>
                  <a:pt x="9185883" y="6769425"/>
                  <a:pt x="9666913" y="6835982"/>
                </a:cubicBezTo>
                <a:lnTo>
                  <a:pt x="9666913" y="6844626"/>
                </a:lnTo>
                <a:cubicBezTo>
                  <a:pt x="9184585" y="6778069"/>
                  <a:pt x="8730784" y="6692928"/>
                  <a:pt x="8316312" y="6593955"/>
                </a:cubicBezTo>
                <a:cubicBezTo>
                  <a:pt x="7854731" y="6484179"/>
                  <a:pt x="7419514" y="6348038"/>
                  <a:pt x="7018008" y="6188992"/>
                </a:cubicBezTo>
                <a:cubicBezTo>
                  <a:pt x="6867604" y="6131078"/>
                  <a:pt x="6720226" y="6067113"/>
                  <a:pt x="6579764" y="6000988"/>
                </a:cubicBezTo>
                <a:cubicBezTo>
                  <a:pt x="6010567" y="5736486"/>
                  <a:pt x="5545529" y="5437409"/>
                  <a:pt x="5194157" y="5106782"/>
                </a:cubicBezTo>
                <a:cubicBezTo>
                  <a:pt x="5083948" y="5003488"/>
                  <a:pt x="4986705" y="4895872"/>
                  <a:pt x="4899835" y="4786528"/>
                </a:cubicBezTo>
                <a:cubicBezTo>
                  <a:pt x="4471532" y="4249313"/>
                  <a:pt x="4327612" y="3650727"/>
                  <a:pt x="4254139" y="3190010"/>
                </a:cubicBezTo>
                <a:cubicBezTo>
                  <a:pt x="4204005" y="2896552"/>
                  <a:pt x="4156895" y="2510604"/>
                  <a:pt x="4240741" y="2134598"/>
                </a:cubicBezTo>
                <a:cubicBezTo>
                  <a:pt x="4290876" y="1890841"/>
                  <a:pt x="4394601" y="1647084"/>
                  <a:pt x="4494870" y="1413701"/>
                </a:cubicBezTo>
                <a:cubicBezTo>
                  <a:pt x="4548030" y="1293552"/>
                  <a:pt x="4601622" y="1169945"/>
                  <a:pt x="4645273" y="1045906"/>
                </a:cubicBezTo>
                <a:cubicBezTo>
                  <a:pt x="4775796" y="701016"/>
                  <a:pt x="4849268" y="351805"/>
                  <a:pt x="4865691" y="1297"/>
                </a:cubicBezTo>
                <a:close/>
                <a:moveTo>
                  <a:pt x="4438253" y="1297"/>
                </a:moveTo>
                <a:lnTo>
                  <a:pt x="4451652" y="1297"/>
                </a:lnTo>
                <a:cubicBezTo>
                  <a:pt x="4441278" y="391567"/>
                  <a:pt x="4371263" y="779675"/>
                  <a:pt x="4237284" y="1163894"/>
                </a:cubicBezTo>
                <a:cubicBezTo>
                  <a:pt x="4194064" y="1285772"/>
                  <a:pt x="4143498" y="1407650"/>
                  <a:pt x="4096821" y="1525207"/>
                </a:cubicBezTo>
                <a:cubicBezTo>
                  <a:pt x="4000010" y="1765073"/>
                  <a:pt x="3899309" y="2014880"/>
                  <a:pt x="3852633" y="2264687"/>
                </a:cubicBezTo>
                <a:cubicBezTo>
                  <a:pt x="3782187" y="2644584"/>
                  <a:pt x="3832320" y="3030532"/>
                  <a:pt x="3889369" y="3323990"/>
                </a:cubicBezTo>
                <a:cubicBezTo>
                  <a:pt x="3972783" y="3784706"/>
                  <a:pt x="4130100" y="4381564"/>
                  <a:pt x="4575258" y="4918347"/>
                </a:cubicBezTo>
                <a:cubicBezTo>
                  <a:pt x="4665586" y="5027691"/>
                  <a:pt x="4766286" y="5135307"/>
                  <a:pt x="4879953" y="5236440"/>
                </a:cubicBezTo>
                <a:cubicBezTo>
                  <a:pt x="5231326" y="5560584"/>
                  <a:pt x="5706304" y="5860093"/>
                  <a:pt x="6285442" y="6126323"/>
                </a:cubicBezTo>
                <a:cubicBezTo>
                  <a:pt x="6425904" y="6192449"/>
                  <a:pt x="6573281" y="6256413"/>
                  <a:pt x="6723685" y="6314327"/>
                </a:cubicBezTo>
                <a:cubicBezTo>
                  <a:pt x="7128648" y="6475103"/>
                  <a:pt x="7566892" y="6615565"/>
                  <a:pt x="8021989" y="6729231"/>
                </a:cubicBezTo>
                <a:cubicBezTo>
                  <a:pt x="8202645" y="6774179"/>
                  <a:pt x="8391946" y="6816966"/>
                  <a:pt x="8590321" y="6858456"/>
                </a:cubicBezTo>
                <a:lnTo>
                  <a:pt x="8546671" y="6858456"/>
                </a:lnTo>
                <a:cubicBezTo>
                  <a:pt x="8362557" y="6819992"/>
                  <a:pt x="8186222" y="6779798"/>
                  <a:pt x="8018964" y="6737876"/>
                </a:cubicBezTo>
                <a:cubicBezTo>
                  <a:pt x="7560409" y="6624641"/>
                  <a:pt x="7122165" y="6484179"/>
                  <a:pt x="6717202" y="6322971"/>
                </a:cubicBezTo>
                <a:cubicBezTo>
                  <a:pt x="6566798" y="6262896"/>
                  <a:pt x="6419421" y="6198932"/>
                  <a:pt x="6275502" y="6134968"/>
                </a:cubicBezTo>
                <a:cubicBezTo>
                  <a:pt x="5696365" y="5866576"/>
                  <a:pt x="5221385" y="5564906"/>
                  <a:pt x="4866555" y="5242923"/>
                </a:cubicBezTo>
                <a:cubicBezTo>
                  <a:pt x="4752457" y="5139629"/>
                  <a:pt x="4652188" y="5032013"/>
                  <a:pt x="4561860" y="4922669"/>
                </a:cubicBezTo>
                <a:cubicBezTo>
                  <a:pt x="4117134" y="4383293"/>
                  <a:pt x="3959817" y="3784706"/>
                  <a:pt x="3875971" y="3326151"/>
                </a:cubicBezTo>
                <a:cubicBezTo>
                  <a:pt x="3819355" y="3030964"/>
                  <a:pt x="3765762" y="2644584"/>
                  <a:pt x="3839235" y="2262526"/>
                </a:cubicBezTo>
                <a:cubicBezTo>
                  <a:pt x="3885911" y="2012287"/>
                  <a:pt x="3986180" y="1764641"/>
                  <a:pt x="4083423" y="1523045"/>
                </a:cubicBezTo>
                <a:cubicBezTo>
                  <a:pt x="4130100" y="1405489"/>
                  <a:pt x="4180235" y="1283611"/>
                  <a:pt x="4223886" y="1161733"/>
                </a:cubicBezTo>
                <a:cubicBezTo>
                  <a:pt x="4357866" y="779675"/>
                  <a:pt x="4428313" y="391567"/>
                  <a:pt x="4438253" y="1297"/>
                </a:cubicBezTo>
                <a:close/>
                <a:moveTo>
                  <a:pt x="3715197" y="1297"/>
                </a:moveTo>
                <a:lnTo>
                  <a:pt x="3728595" y="1297"/>
                </a:lnTo>
                <a:cubicBezTo>
                  <a:pt x="3738534" y="453370"/>
                  <a:pt x="3671545" y="907604"/>
                  <a:pt x="3531083" y="1357948"/>
                </a:cubicBezTo>
                <a:cubicBezTo>
                  <a:pt x="3494347" y="1473776"/>
                  <a:pt x="3450694" y="1591332"/>
                  <a:pt x="3410501" y="1704998"/>
                </a:cubicBezTo>
                <a:cubicBezTo>
                  <a:pt x="3320173" y="1956967"/>
                  <a:pt x="3226388" y="2217146"/>
                  <a:pt x="3186194" y="2479486"/>
                </a:cubicBezTo>
                <a:cubicBezTo>
                  <a:pt x="3142542" y="2782886"/>
                  <a:pt x="3162423" y="3121725"/>
                  <a:pt x="3259665" y="3549162"/>
                </a:cubicBezTo>
                <a:cubicBezTo>
                  <a:pt x="3410070" y="4230297"/>
                  <a:pt x="3641292" y="4723861"/>
                  <a:pt x="4012544" y="5147409"/>
                </a:cubicBezTo>
                <a:cubicBezTo>
                  <a:pt x="4106330" y="5254592"/>
                  <a:pt x="4213513" y="5362207"/>
                  <a:pt x="4330638" y="5463341"/>
                </a:cubicBezTo>
                <a:cubicBezTo>
                  <a:pt x="4691950" y="5774951"/>
                  <a:pt x="5177302" y="6072299"/>
                  <a:pt x="5776320" y="6347174"/>
                </a:cubicBezTo>
                <a:cubicBezTo>
                  <a:pt x="5923697" y="6415028"/>
                  <a:pt x="6071074" y="6478992"/>
                  <a:pt x="6221478" y="6539067"/>
                </a:cubicBezTo>
                <a:cubicBezTo>
                  <a:pt x="6514504" y="6655326"/>
                  <a:pt x="6818767" y="6762510"/>
                  <a:pt x="7132106" y="6858889"/>
                </a:cubicBezTo>
                <a:lnTo>
                  <a:pt x="7102285" y="6858889"/>
                </a:lnTo>
                <a:cubicBezTo>
                  <a:pt x="6797589" y="6765103"/>
                  <a:pt x="6500242" y="6660513"/>
                  <a:pt x="6214995" y="6546414"/>
                </a:cubicBezTo>
                <a:cubicBezTo>
                  <a:pt x="6064159" y="6486339"/>
                  <a:pt x="5913757" y="6422375"/>
                  <a:pt x="5769837" y="6356249"/>
                </a:cubicBezTo>
                <a:cubicBezTo>
                  <a:pt x="5167361" y="6079214"/>
                  <a:pt x="4682010" y="5781866"/>
                  <a:pt x="4320697" y="5468095"/>
                </a:cubicBezTo>
                <a:cubicBezTo>
                  <a:pt x="4203573" y="5366962"/>
                  <a:pt x="4096821" y="5259346"/>
                  <a:pt x="3999578" y="5152162"/>
                </a:cubicBezTo>
                <a:cubicBezTo>
                  <a:pt x="3627894" y="4726885"/>
                  <a:pt x="3397102" y="4233322"/>
                  <a:pt x="3243243" y="3549594"/>
                </a:cubicBezTo>
                <a:cubicBezTo>
                  <a:pt x="3186194" y="3281203"/>
                  <a:pt x="3112721" y="2878400"/>
                  <a:pt x="3172796" y="2477758"/>
                </a:cubicBezTo>
                <a:cubicBezTo>
                  <a:pt x="3212988" y="2215417"/>
                  <a:pt x="3306775" y="1955237"/>
                  <a:pt x="3397102" y="1703270"/>
                </a:cubicBezTo>
                <a:cubicBezTo>
                  <a:pt x="3437296" y="1589603"/>
                  <a:pt x="3477491" y="1472047"/>
                  <a:pt x="3514226" y="1356220"/>
                </a:cubicBezTo>
                <a:cubicBezTo>
                  <a:pt x="3658147" y="908036"/>
                  <a:pt x="3725137" y="453370"/>
                  <a:pt x="3715197" y="1297"/>
                </a:cubicBezTo>
                <a:close/>
                <a:moveTo>
                  <a:pt x="3566955" y="1297"/>
                </a:moveTo>
                <a:lnTo>
                  <a:pt x="3583809" y="1297"/>
                </a:lnTo>
                <a:cubicBezTo>
                  <a:pt x="3593751" y="465903"/>
                  <a:pt x="3530218" y="932671"/>
                  <a:pt x="3386299" y="1395117"/>
                </a:cubicBezTo>
                <a:cubicBezTo>
                  <a:pt x="3353019" y="1510944"/>
                  <a:pt x="3312826" y="1628500"/>
                  <a:pt x="3272631" y="1740006"/>
                </a:cubicBezTo>
                <a:cubicBezTo>
                  <a:pt x="3182303" y="1994135"/>
                  <a:pt x="3091976" y="2258205"/>
                  <a:pt x="3055239" y="2520545"/>
                </a:cubicBezTo>
                <a:cubicBezTo>
                  <a:pt x="3011588" y="2826105"/>
                  <a:pt x="3034926" y="3167104"/>
                  <a:pt x="3132169" y="3592381"/>
                </a:cubicBezTo>
                <a:cubicBezTo>
                  <a:pt x="3228980" y="4015497"/>
                  <a:pt x="3413094" y="4643472"/>
                  <a:pt x="3898445" y="5192789"/>
                </a:cubicBezTo>
                <a:cubicBezTo>
                  <a:pt x="3995256" y="5299972"/>
                  <a:pt x="4102439" y="5407588"/>
                  <a:pt x="4223022" y="5508721"/>
                </a:cubicBezTo>
                <a:cubicBezTo>
                  <a:pt x="4587792" y="5822492"/>
                  <a:pt x="5063203" y="6111629"/>
                  <a:pt x="5675619" y="6392554"/>
                </a:cubicBezTo>
                <a:cubicBezTo>
                  <a:pt x="5822996" y="6458678"/>
                  <a:pt x="5973400" y="6522644"/>
                  <a:pt x="6120777" y="6584447"/>
                </a:cubicBezTo>
                <a:cubicBezTo>
                  <a:pt x="6369287" y="6682122"/>
                  <a:pt x="6624280" y="6773747"/>
                  <a:pt x="6884460" y="6858024"/>
                </a:cubicBezTo>
                <a:lnTo>
                  <a:pt x="6853343" y="6858024"/>
                </a:lnTo>
                <a:cubicBezTo>
                  <a:pt x="6600943" y="6775908"/>
                  <a:pt x="6353296" y="6686444"/>
                  <a:pt x="6113862" y="6590931"/>
                </a:cubicBezTo>
                <a:cubicBezTo>
                  <a:pt x="5963026" y="6531288"/>
                  <a:pt x="5812624" y="6467323"/>
                  <a:pt x="5665247" y="6399037"/>
                </a:cubicBezTo>
                <a:cubicBezTo>
                  <a:pt x="5052831" y="6118112"/>
                  <a:pt x="4577851" y="5828975"/>
                  <a:pt x="4209623" y="5513043"/>
                </a:cubicBezTo>
                <a:cubicBezTo>
                  <a:pt x="4092499" y="5411910"/>
                  <a:pt x="3982290" y="5304294"/>
                  <a:pt x="3888505" y="5197111"/>
                </a:cubicBezTo>
                <a:cubicBezTo>
                  <a:pt x="3399696" y="4645633"/>
                  <a:pt x="3216015" y="4018091"/>
                  <a:pt x="3118771" y="3594543"/>
                </a:cubicBezTo>
                <a:cubicBezTo>
                  <a:pt x="3021528" y="3168832"/>
                  <a:pt x="2994731" y="2826105"/>
                  <a:pt x="3038384" y="2520545"/>
                </a:cubicBezTo>
                <a:cubicBezTo>
                  <a:pt x="3078578" y="2256043"/>
                  <a:pt x="3168906" y="1994135"/>
                  <a:pt x="3259234" y="1737845"/>
                </a:cubicBezTo>
                <a:cubicBezTo>
                  <a:pt x="3295971" y="1626340"/>
                  <a:pt x="3339622" y="1510944"/>
                  <a:pt x="3372899" y="1395117"/>
                </a:cubicBezTo>
                <a:cubicBezTo>
                  <a:pt x="3516821" y="932671"/>
                  <a:pt x="3580353" y="465903"/>
                  <a:pt x="3566955" y="1297"/>
                </a:cubicBezTo>
                <a:close/>
                <a:moveTo>
                  <a:pt x="3423467" y="1297"/>
                </a:moveTo>
                <a:lnTo>
                  <a:pt x="3436865" y="1297"/>
                </a:lnTo>
                <a:cubicBezTo>
                  <a:pt x="3453720" y="478437"/>
                  <a:pt x="3390188" y="959467"/>
                  <a:pt x="3246268" y="1434446"/>
                </a:cubicBezTo>
                <a:cubicBezTo>
                  <a:pt x="3212557" y="1549842"/>
                  <a:pt x="3172364" y="1663508"/>
                  <a:pt x="3135627" y="1775013"/>
                </a:cubicBezTo>
                <a:cubicBezTo>
                  <a:pt x="3048324" y="2033033"/>
                  <a:pt x="2957995" y="2297534"/>
                  <a:pt x="2921258" y="2563764"/>
                </a:cubicBezTo>
                <a:cubicBezTo>
                  <a:pt x="2878041" y="2871485"/>
                  <a:pt x="2907861" y="3212484"/>
                  <a:pt x="3005104" y="3637761"/>
                </a:cubicBezTo>
                <a:cubicBezTo>
                  <a:pt x="3165880" y="4311116"/>
                  <a:pt x="3413525" y="4818942"/>
                  <a:pt x="3788238" y="5238168"/>
                </a:cubicBezTo>
                <a:cubicBezTo>
                  <a:pt x="3885047" y="5345352"/>
                  <a:pt x="3992231" y="5452968"/>
                  <a:pt x="4112813" y="5554101"/>
                </a:cubicBezTo>
                <a:cubicBezTo>
                  <a:pt x="4481040" y="5865712"/>
                  <a:pt x="4956451" y="6154848"/>
                  <a:pt x="5575351" y="6435773"/>
                </a:cubicBezTo>
                <a:cubicBezTo>
                  <a:pt x="5722728" y="6503627"/>
                  <a:pt x="5873131" y="6567592"/>
                  <a:pt x="6020509" y="6627666"/>
                </a:cubicBezTo>
                <a:cubicBezTo>
                  <a:pt x="6223206" y="6709783"/>
                  <a:pt x="6432387" y="6786281"/>
                  <a:pt x="6644161" y="6857592"/>
                </a:cubicBezTo>
                <a:lnTo>
                  <a:pt x="6615637" y="6857592"/>
                </a:lnTo>
                <a:cubicBezTo>
                  <a:pt x="6411209" y="6788009"/>
                  <a:pt x="6210240" y="6714537"/>
                  <a:pt x="6014025" y="6635877"/>
                </a:cubicBezTo>
                <a:cubicBezTo>
                  <a:pt x="5863191" y="6574074"/>
                  <a:pt x="5712788" y="6510110"/>
                  <a:pt x="5565410" y="6443985"/>
                </a:cubicBezTo>
                <a:cubicBezTo>
                  <a:pt x="4949536" y="6160899"/>
                  <a:pt x="4467642" y="5871762"/>
                  <a:pt x="4102871" y="5557991"/>
                </a:cubicBezTo>
                <a:cubicBezTo>
                  <a:pt x="3982290" y="5456858"/>
                  <a:pt x="3872082" y="5349242"/>
                  <a:pt x="3774838" y="5242058"/>
                </a:cubicBezTo>
                <a:cubicBezTo>
                  <a:pt x="3400127" y="4822832"/>
                  <a:pt x="3149025" y="4312846"/>
                  <a:pt x="2991707" y="3639491"/>
                </a:cubicBezTo>
                <a:cubicBezTo>
                  <a:pt x="2891006" y="3214213"/>
                  <a:pt x="2864210" y="2871485"/>
                  <a:pt x="2907861" y="2563764"/>
                </a:cubicBezTo>
                <a:cubicBezTo>
                  <a:pt x="2941572" y="2297534"/>
                  <a:pt x="3031900" y="2031303"/>
                  <a:pt x="3122227" y="1775013"/>
                </a:cubicBezTo>
                <a:cubicBezTo>
                  <a:pt x="3159398" y="1663508"/>
                  <a:pt x="3199590" y="1548113"/>
                  <a:pt x="3232870" y="1432286"/>
                </a:cubicBezTo>
                <a:cubicBezTo>
                  <a:pt x="3376790" y="957306"/>
                  <a:pt x="3440323" y="476276"/>
                  <a:pt x="3423467" y="1297"/>
                </a:cubicBezTo>
                <a:close/>
                <a:moveTo>
                  <a:pt x="3276521" y="1297"/>
                </a:moveTo>
                <a:lnTo>
                  <a:pt x="3293377" y="1297"/>
                </a:lnTo>
                <a:cubicBezTo>
                  <a:pt x="3313258" y="490971"/>
                  <a:pt x="3249726" y="984535"/>
                  <a:pt x="3105805" y="1473776"/>
                </a:cubicBezTo>
                <a:cubicBezTo>
                  <a:pt x="3072095" y="1587442"/>
                  <a:pt x="3035357" y="1701108"/>
                  <a:pt x="2998622" y="1812614"/>
                </a:cubicBezTo>
                <a:cubicBezTo>
                  <a:pt x="2911319" y="2071065"/>
                  <a:pt x="2820991" y="2339456"/>
                  <a:pt x="2787713" y="2607848"/>
                </a:cubicBezTo>
                <a:cubicBezTo>
                  <a:pt x="2747519" y="2917297"/>
                  <a:pt x="2777772" y="3258297"/>
                  <a:pt x="2881497" y="3683573"/>
                </a:cubicBezTo>
                <a:cubicBezTo>
                  <a:pt x="3042273" y="4356929"/>
                  <a:pt x="3296402" y="4864755"/>
                  <a:pt x="3674571" y="5283981"/>
                </a:cubicBezTo>
                <a:cubicBezTo>
                  <a:pt x="3771814" y="5391164"/>
                  <a:pt x="3882022" y="5498780"/>
                  <a:pt x="4002604" y="5599913"/>
                </a:cubicBezTo>
                <a:cubicBezTo>
                  <a:pt x="4370831" y="5909363"/>
                  <a:pt x="4852726" y="6196771"/>
                  <a:pt x="5471625" y="6481585"/>
                </a:cubicBezTo>
                <a:cubicBezTo>
                  <a:pt x="5619002" y="6547711"/>
                  <a:pt x="5769837" y="6611675"/>
                  <a:pt x="5920240" y="6673478"/>
                </a:cubicBezTo>
                <a:cubicBezTo>
                  <a:pt x="6081880" y="6737876"/>
                  <a:pt x="6244384" y="6799679"/>
                  <a:pt x="6409913" y="6858024"/>
                </a:cubicBezTo>
                <a:lnTo>
                  <a:pt x="6380956" y="6858024"/>
                </a:lnTo>
                <a:cubicBezTo>
                  <a:pt x="6222774" y="6801840"/>
                  <a:pt x="6066753" y="6742629"/>
                  <a:pt x="5913757" y="6679961"/>
                </a:cubicBezTo>
                <a:cubicBezTo>
                  <a:pt x="5762922" y="6620318"/>
                  <a:pt x="5612519" y="6556355"/>
                  <a:pt x="5465142" y="6488068"/>
                </a:cubicBezTo>
                <a:cubicBezTo>
                  <a:pt x="4842785" y="6203253"/>
                  <a:pt x="4360891" y="5916278"/>
                  <a:pt x="3992663" y="5604236"/>
                </a:cubicBezTo>
                <a:cubicBezTo>
                  <a:pt x="3872082" y="5503103"/>
                  <a:pt x="3761872" y="5395487"/>
                  <a:pt x="3664629" y="5288303"/>
                </a:cubicBezTo>
                <a:cubicBezTo>
                  <a:pt x="3283004" y="4869077"/>
                  <a:pt x="3028443" y="4359091"/>
                  <a:pt x="2864642" y="3685734"/>
                </a:cubicBezTo>
                <a:cubicBezTo>
                  <a:pt x="2764374" y="3260457"/>
                  <a:pt x="2734121" y="2917730"/>
                  <a:pt x="2774314" y="2605687"/>
                </a:cubicBezTo>
                <a:cubicBezTo>
                  <a:pt x="2807594" y="2336863"/>
                  <a:pt x="2897921" y="2068472"/>
                  <a:pt x="2981766" y="1810454"/>
                </a:cubicBezTo>
                <a:cubicBezTo>
                  <a:pt x="3018935" y="1698947"/>
                  <a:pt x="3059128" y="1585281"/>
                  <a:pt x="3092408" y="1471615"/>
                </a:cubicBezTo>
                <a:cubicBezTo>
                  <a:pt x="3236328" y="982373"/>
                  <a:pt x="3296402" y="488809"/>
                  <a:pt x="3276521" y="1297"/>
                </a:cubicBezTo>
                <a:close/>
                <a:moveTo>
                  <a:pt x="3132169" y="1297"/>
                </a:moveTo>
                <a:lnTo>
                  <a:pt x="3145566" y="1297"/>
                </a:lnTo>
                <a:cubicBezTo>
                  <a:pt x="3168906" y="501343"/>
                  <a:pt x="3108830" y="1009169"/>
                  <a:pt x="2964911" y="1513105"/>
                </a:cubicBezTo>
                <a:cubicBezTo>
                  <a:pt x="2931201" y="1624611"/>
                  <a:pt x="2894463" y="1738277"/>
                  <a:pt x="2857726" y="1845461"/>
                </a:cubicBezTo>
                <a:cubicBezTo>
                  <a:pt x="2774314" y="2107801"/>
                  <a:pt x="2687012" y="2378353"/>
                  <a:pt x="2653732" y="2651066"/>
                </a:cubicBezTo>
                <a:cubicBezTo>
                  <a:pt x="2616996" y="2960516"/>
                  <a:pt x="2650275" y="3303677"/>
                  <a:pt x="2754001" y="3728954"/>
                </a:cubicBezTo>
                <a:cubicBezTo>
                  <a:pt x="2921258" y="4400148"/>
                  <a:pt x="3179278" y="4910135"/>
                  <a:pt x="3563930" y="5329361"/>
                </a:cubicBezTo>
                <a:cubicBezTo>
                  <a:pt x="3661173" y="5436545"/>
                  <a:pt x="3774838" y="5544161"/>
                  <a:pt x="3895420" y="5643133"/>
                </a:cubicBezTo>
                <a:cubicBezTo>
                  <a:pt x="4263647" y="5950854"/>
                  <a:pt x="4745542" y="6239990"/>
                  <a:pt x="5371356" y="6524804"/>
                </a:cubicBezTo>
                <a:cubicBezTo>
                  <a:pt x="5518733" y="6593091"/>
                  <a:pt x="5672594" y="6657055"/>
                  <a:pt x="5819971" y="6718859"/>
                </a:cubicBezTo>
                <a:cubicBezTo>
                  <a:pt x="5940552" y="6766400"/>
                  <a:pt x="6061566" y="6813076"/>
                  <a:pt x="6183877" y="6858024"/>
                </a:cubicBezTo>
                <a:lnTo>
                  <a:pt x="6156648" y="6858024"/>
                </a:lnTo>
                <a:cubicBezTo>
                  <a:pt x="6040821" y="6815238"/>
                  <a:pt x="5925858" y="6771154"/>
                  <a:pt x="5813056" y="6725342"/>
                </a:cubicBezTo>
                <a:cubicBezTo>
                  <a:pt x="5662221" y="6665699"/>
                  <a:pt x="5511818" y="6599574"/>
                  <a:pt x="5364441" y="6531288"/>
                </a:cubicBezTo>
                <a:cubicBezTo>
                  <a:pt x="4735169" y="6246473"/>
                  <a:pt x="4253275" y="5957337"/>
                  <a:pt x="3882022" y="5649616"/>
                </a:cubicBezTo>
                <a:cubicBezTo>
                  <a:pt x="3761440" y="5548483"/>
                  <a:pt x="3650800" y="5443028"/>
                  <a:pt x="3550532" y="5333683"/>
                </a:cubicBezTo>
                <a:cubicBezTo>
                  <a:pt x="3165448" y="4912296"/>
                  <a:pt x="2907861" y="4404038"/>
                  <a:pt x="2740603" y="3728954"/>
                </a:cubicBezTo>
                <a:cubicBezTo>
                  <a:pt x="2633852" y="3303677"/>
                  <a:pt x="2603598" y="2960948"/>
                  <a:pt x="2640334" y="2648906"/>
                </a:cubicBezTo>
                <a:cubicBezTo>
                  <a:pt x="2673614" y="2378353"/>
                  <a:pt x="2760485" y="2105641"/>
                  <a:pt x="2844328" y="1845461"/>
                </a:cubicBezTo>
                <a:cubicBezTo>
                  <a:pt x="2881065" y="1736116"/>
                  <a:pt x="2917801" y="1622449"/>
                  <a:pt x="2948056" y="1510944"/>
                </a:cubicBezTo>
                <a:cubicBezTo>
                  <a:pt x="3095432" y="1007009"/>
                  <a:pt x="3155507" y="500911"/>
                  <a:pt x="3132169" y="1297"/>
                </a:cubicBezTo>
                <a:close/>
                <a:moveTo>
                  <a:pt x="1666605" y="1297"/>
                </a:moveTo>
                <a:lnTo>
                  <a:pt x="1680003" y="1297"/>
                </a:lnTo>
                <a:cubicBezTo>
                  <a:pt x="1680003" y="7348"/>
                  <a:pt x="1680003" y="13831"/>
                  <a:pt x="1680003" y="19882"/>
                </a:cubicBezTo>
                <a:cubicBezTo>
                  <a:pt x="1737053" y="624950"/>
                  <a:pt x="1693402" y="1256815"/>
                  <a:pt x="1549482" y="1899053"/>
                </a:cubicBezTo>
                <a:cubicBezTo>
                  <a:pt x="1529168" y="1995864"/>
                  <a:pt x="1505831" y="2093107"/>
                  <a:pt x="1482491" y="2186028"/>
                </a:cubicBezTo>
                <a:cubicBezTo>
                  <a:pt x="1408587" y="2477326"/>
                  <a:pt x="1335114" y="2778564"/>
                  <a:pt x="1321715" y="3078073"/>
                </a:cubicBezTo>
                <a:cubicBezTo>
                  <a:pt x="1308318" y="3402217"/>
                  <a:pt x="1365367" y="3761800"/>
                  <a:pt x="1495889" y="4176705"/>
                </a:cubicBezTo>
                <a:cubicBezTo>
                  <a:pt x="1706800" y="4847899"/>
                  <a:pt x="2008038" y="5360047"/>
                  <a:pt x="2439797" y="5785324"/>
                </a:cubicBezTo>
                <a:cubicBezTo>
                  <a:pt x="2550006" y="5892940"/>
                  <a:pt x="2670587" y="5996234"/>
                  <a:pt x="2801111" y="6095205"/>
                </a:cubicBezTo>
                <a:cubicBezTo>
                  <a:pt x="3137787" y="6352360"/>
                  <a:pt x="3550964" y="6591363"/>
                  <a:pt x="4120160" y="6858024"/>
                </a:cubicBezTo>
                <a:lnTo>
                  <a:pt x="4095092" y="6858024"/>
                </a:lnTo>
                <a:cubicBezTo>
                  <a:pt x="3533675" y="6593955"/>
                  <a:pt x="3123958" y="6356681"/>
                  <a:pt x="2790738" y="6101688"/>
                </a:cubicBezTo>
                <a:cubicBezTo>
                  <a:pt x="2660216" y="6002284"/>
                  <a:pt x="2536609" y="5896829"/>
                  <a:pt x="2425967" y="5789646"/>
                </a:cubicBezTo>
                <a:cubicBezTo>
                  <a:pt x="1994207" y="5364369"/>
                  <a:pt x="1693402" y="4852221"/>
                  <a:pt x="1479034" y="4178866"/>
                </a:cubicBezTo>
                <a:cubicBezTo>
                  <a:pt x="1348512" y="3763530"/>
                  <a:pt x="1294921" y="3404378"/>
                  <a:pt x="1308318" y="3078073"/>
                </a:cubicBezTo>
                <a:cubicBezTo>
                  <a:pt x="1321715" y="2776403"/>
                  <a:pt x="1395622" y="2475165"/>
                  <a:pt x="1469093" y="2183867"/>
                </a:cubicBezTo>
                <a:cubicBezTo>
                  <a:pt x="1489406" y="2090946"/>
                  <a:pt x="1512745" y="1994135"/>
                  <a:pt x="1536083" y="1899053"/>
                </a:cubicBezTo>
                <a:cubicBezTo>
                  <a:pt x="1680003" y="1256815"/>
                  <a:pt x="1723655" y="624950"/>
                  <a:pt x="1666605" y="19882"/>
                </a:cubicBezTo>
                <a:cubicBezTo>
                  <a:pt x="1666605" y="13831"/>
                  <a:pt x="1666605" y="7348"/>
                  <a:pt x="1666605" y="1297"/>
                </a:cubicBezTo>
                <a:close/>
                <a:moveTo>
                  <a:pt x="5716245" y="865"/>
                </a:moveTo>
                <a:lnTo>
                  <a:pt x="5729643" y="865"/>
                </a:lnTo>
                <a:cubicBezTo>
                  <a:pt x="5692906" y="275739"/>
                  <a:pt x="5619434" y="548452"/>
                  <a:pt x="5508793" y="814683"/>
                </a:cubicBezTo>
                <a:cubicBezTo>
                  <a:pt x="5455201" y="942611"/>
                  <a:pt x="5394694" y="1070541"/>
                  <a:pt x="5334619" y="1194580"/>
                </a:cubicBezTo>
                <a:cubicBezTo>
                  <a:pt x="5223979" y="1415429"/>
                  <a:pt x="5113769" y="1644491"/>
                  <a:pt x="5053695" y="1878739"/>
                </a:cubicBezTo>
                <a:cubicBezTo>
                  <a:pt x="4956451" y="2237891"/>
                  <a:pt x="4983248" y="2607416"/>
                  <a:pt x="5023441" y="2919458"/>
                </a:cubicBezTo>
                <a:cubicBezTo>
                  <a:pt x="5077033" y="3379743"/>
                  <a:pt x="5194157" y="3976600"/>
                  <a:pt x="5585723" y="4509493"/>
                </a:cubicBezTo>
                <a:cubicBezTo>
                  <a:pt x="5990687" y="5060537"/>
                  <a:pt x="6716769" y="5560584"/>
                  <a:pt x="7626966" y="5911524"/>
                </a:cubicBezTo>
                <a:cubicBezTo>
                  <a:pt x="8232035" y="6146204"/>
                  <a:pt x="8915763" y="6321675"/>
                  <a:pt x="9666913" y="6434908"/>
                </a:cubicBezTo>
                <a:lnTo>
                  <a:pt x="9666913" y="6443985"/>
                </a:lnTo>
                <a:cubicBezTo>
                  <a:pt x="8913170" y="6330750"/>
                  <a:pt x="8225552" y="6154848"/>
                  <a:pt x="7617025" y="5919736"/>
                </a:cubicBezTo>
                <a:cubicBezTo>
                  <a:pt x="7171868" y="5746426"/>
                  <a:pt x="6770362" y="5539838"/>
                  <a:pt x="6425472" y="5306455"/>
                </a:cubicBezTo>
                <a:cubicBezTo>
                  <a:pt x="6067617" y="5062699"/>
                  <a:pt x="5779778" y="4796468"/>
                  <a:pt x="5572325" y="4513383"/>
                </a:cubicBezTo>
                <a:cubicBezTo>
                  <a:pt x="5180759" y="3980490"/>
                  <a:pt x="5063635" y="3381904"/>
                  <a:pt x="5006586" y="2921188"/>
                </a:cubicBezTo>
                <a:cubicBezTo>
                  <a:pt x="4969849" y="2607416"/>
                  <a:pt x="4943053" y="2237459"/>
                  <a:pt x="5036839" y="1876146"/>
                </a:cubicBezTo>
                <a:cubicBezTo>
                  <a:pt x="5100372" y="1642763"/>
                  <a:pt x="5210581" y="1413269"/>
                  <a:pt x="5321221" y="1192419"/>
                </a:cubicBezTo>
                <a:cubicBezTo>
                  <a:pt x="5381728" y="1068812"/>
                  <a:pt x="5441803" y="940451"/>
                  <a:pt x="5495395" y="812521"/>
                </a:cubicBezTo>
                <a:cubicBezTo>
                  <a:pt x="5605604" y="545859"/>
                  <a:pt x="5679509" y="273579"/>
                  <a:pt x="5716245" y="865"/>
                </a:cubicBezTo>
                <a:close/>
                <a:moveTo>
                  <a:pt x="4726525" y="865"/>
                </a:moveTo>
                <a:lnTo>
                  <a:pt x="4739923" y="865"/>
                </a:lnTo>
                <a:cubicBezTo>
                  <a:pt x="4723068" y="366500"/>
                  <a:pt x="4649595" y="727812"/>
                  <a:pt x="4519073" y="1085235"/>
                </a:cubicBezTo>
                <a:cubicBezTo>
                  <a:pt x="4475422" y="1209274"/>
                  <a:pt x="4421830" y="1333313"/>
                  <a:pt x="4371695" y="1453030"/>
                </a:cubicBezTo>
                <a:cubicBezTo>
                  <a:pt x="4274453" y="1688575"/>
                  <a:pt x="4170726" y="1931899"/>
                  <a:pt x="4120592" y="2177816"/>
                </a:cubicBezTo>
                <a:cubicBezTo>
                  <a:pt x="4043230" y="2555552"/>
                  <a:pt x="4090338" y="2939771"/>
                  <a:pt x="4140473" y="3234958"/>
                </a:cubicBezTo>
                <a:cubicBezTo>
                  <a:pt x="4220429" y="3693514"/>
                  <a:pt x="4367806" y="4290372"/>
                  <a:pt x="4799566" y="4827154"/>
                </a:cubicBezTo>
                <a:cubicBezTo>
                  <a:pt x="4886436" y="4936498"/>
                  <a:pt x="4986705" y="5044114"/>
                  <a:pt x="5097346" y="5145247"/>
                </a:cubicBezTo>
                <a:cubicBezTo>
                  <a:pt x="5448718" y="5473714"/>
                  <a:pt x="5913757" y="5772791"/>
                  <a:pt x="6485979" y="6037292"/>
                </a:cubicBezTo>
                <a:cubicBezTo>
                  <a:pt x="6626441" y="6103417"/>
                  <a:pt x="6773819" y="6167382"/>
                  <a:pt x="6924221" y="6225295"/>
                </a:cubicBezTo>
                <a:cubicBezTo>
                  <a:pt x="7325729" y="6384342"/>
                  <a:pt x="7763970" y="6520482"/>
                  <a:pt x="8222527" y="6631988"/>
                </a:cubicBezTo>
                <a:cubicBezTo>
                  <a:pt x="8573466" y="6718427"/>
                  <a:pt x="8955524" y="6793628"/>
                  <a:pt x="9362217" y="6858024"/>
                </a:cubicBezTo>
                <a:lnTo>
                  <a:pt x="9306465" y="6858024"/>
                </a:lnTo>
                <a:cubicBezTo>
                  <a:pt x="8917924" y="6795789"/>
                  <a:pt x="8552290" y="6723181"/>
                  <a:pt x="8216044" y="6640632"/>
                </a:cubicBezTo>
                <a:cubicBezTo>
                  <a:pt x="7757921" y="6529127"/>
                  <a:pt x="7319246" y="6392986"/>
                  <a:pt x="6917738" y="6233939"/>
                </a:cubicBezTo>
                <a:cubicBezTo>
                  <a:pt x="6767336" y="6173865"/>
                  <a:pt x="6619958" y="6112061"/>
                  <a:pt x="6479496" y="6045935"/>
                </a:cubicBezTo>
                <a:cubicBezTo>
                  <a:pt x="5903817" y="5779706"/>
                  <a:pt x="5435320" y="5478035"/>
                  <a:pt x="5083948" y="5151730"/>
                </a:cubicBezTo>
                <a:cubicBezTo>
                  <a:pt x="4973739" y="5048437"/>
                  <a:pt x="4873038" y="4940821"/>
                  <a:pt x="4786168" y="4831476"/>
                </a:cubicBezTo>
                <a:cubicBezTo>
                  <a:pt x="4354840" y="4294261"/>
                  <a:pt x="4207463" y="3695676"/>
                  <a:pt x="4127075" y="3234958"/>
                </a:cubicBezTo>
                <a:cubicBezTo>
                  <a:pt x="4076940" y="2939771"/>
                  <a:pt x="4026807" y="2553824"/>
                  <a:pt x="4107194" y="2177816"/>
                </a:cubicBezTo>
                <a:cubicBezTo>
                  <a:pt x="4157329" y="1930170"/>
                  <a:pt x="4261054" y="1686415"/>
                  <a:pt x="4358298" y="1450869"/>
                </a:cubicBezTo>
                <a:cubicBezTo>
                  <a:pt x="4408432" y="1330721"/>
                  <a:pt x="4462023" y="1207113"/>
                  <a:pt x="4505676" y="1083075"/>
                </a:cubicBezTo>
                <a:cubicBezTo>
                  <a:pt x="4636198" y="727812"/>
                  <a:pt x="4709670" y="364338"/>
                  <a:pt x="4726525" y="865"/>
                </a:cubicBezTo>
                <a:close/>
                <a:moveTo>
                  <a:pt x="4581741" y="865"/>
                </a:moveTo>
                <a:lnTo>
                  <a:pt x="4595139" y="865"/>
                </a:lnTo>
                <a:cubicBezTo>
                  <a:pt x="4581741" y="378601"/>
                  <a:pt x="4511725" y="754608"/>
                  <a:pt x="4377746" y="1124132"/>
                </a:cubicBezTo>
                <a:cubicBezTo>
                  <a:pt x="4334094" y="1246011"/>
                  <a:pt x="4283961" y="1370050"/>
                  <a:pt x="4233826" y="1489767"/>
                </a:cubicBezTo>
                <a:cubicBezTo>
                  <a:pt x="4136583" y="1727473"/>
                  <a:pt x="4036314" y="1973390"/>
                  <a:pt x="3986180" y="2221036"/>
                </a:cubicBezTo>
                <a:cubicBezTo>
                  <a:pt x="3912708" y="2598772"/>
                  <a:pt x="3962841" y="2984720"/>
                  <a:pt x="4012976" y="3278178"/>
                </a:cubicBezTo>
                <a:cubicBezTo>
                  <a:pt x="4096389" y="3738894"/>
                  <a:pt x="4247224" y="4335752"/>
                  <a:pt x="4685467" y="4872534"/>
                </a:cubicBezTo>
                <a:cubicBezTo>
                  <a:pt x="4775796" y="4981879"/>
                  <a:pt x="4876064" y="5089495"/>
                  <a:pt x="4986705" y="5190628"/>
                </a:cubicBezTo>
                <a:cubicBezTo>
                  <a:pt x="5341534" y="5516933"/>
                  <a:pt x="5810031" y="5816441"/>
                  <a:pt x="6385711" y="6082672"/>
                </a:cubicBezTo>
                <a:cubicBezTo>
                  <a:pt x="6526173" y="6148797"/>
                  <a:pt x="6673550" y="6210601"/>
                  <a:pt x="6823953" y="6270675"/>
                </a:cubicBezTo>
                <a:cubicBezTo>
                  <a:pt x="7228916" y="6429723"/>
                  <a:pt x="7663702" y="6568024"/>
                  <a:pt x="8122259" y="6681690"/>
                </a:cubicBezTo>
                <a:cubicBezTo>
                  <a:pt x="8381573" y="6745655"/>
                  <a:pt x="8658608" y="6804432"/>
                  <a:pt x="8951634" y="6858456"/>
                </a:cubicBezTo>
                <a:lnTo>
                  <a:pt x="8900205" y="6858456"/>
                </a:lnTo>
                <a:cubicBezTo>
                  <a:pt x="8623169" y="6807459"/>
                  <a:pt x="8360829" y="6751273"/>
                  <a:pt x="8115776" y="6690766"/>
                </a:cubicBezTo>
                <a:cubicBezTo>
                  <a:pt x="7657652" y="6577100"/>
                  <a:pt x="7222433" y="6438798"/>
                  <a:pt x="6817470" y="6277591"/>
                </a:cubicBezTo>
                <a:cubicBezTo>
                  <a:pt x="6667067" y="6219676"/>
                  <a:pt x="6519690" y="6155712"/>
                  <a:pt x="6375770" y="6089588"/>
                </a:cubicBezTo>
                <a:cubicBezTo>
                  <a:pt x="5800090" y="5823356"/>
                  <a:pt x="5328136" y="5521687"/>
                  <a:pt x="4976765" y="5197543"/>
                </a:cubicBezTo>
                <a:cubicBezTo>
                  <a:pt x="4863098" y="5094249"/>
                  <a:pt x="4762397" y="4986633"/>
                  <a:pt x="4675527" y="4877289"/>
                </a:cubicBezTo>
                <a:cubicBezTo>
                  <a:pt x="4233826" y="4337913"/>
                  <a:pt x="4083423" y="3741488"/>
                  <a:pt x="3999578" y="3280771"/>
                </a:cubicBezTo>
                <a:cubicBezTo>
                  <a:pt x="3945986" y="2985584"/>
                  <a:pt x="3895852" y="2599204"/>
                  <a:pt x="3972783" y="2219307"/>
                </a:cubicBezTo>
                <a:cubicBezTo>
                  <a:pt x="4022916" y="1971229"/>
                  <a:pt x="4123185" y="1725312"/>
                  <a:pt x="4220429" y="1488038"/>
                </a:cubicBezTo>
                <a:cubicBezTo>
                  <a:pt x="4270562" y="1368320"/>
                  <a:pt x="4320697" y="1244281"/>
                  <a:pt x="4364348" y="1122404"/>
                </a:cubicBezTo>
                <a:cubicBezTo>
                  <a:pt x="4494870" y="752447"/>
                  <a:pt x="4568343" y="376872"/>
                  <a:pt x="4581741" y="865"/>
                </a:cubicBezTo>
                <a:close/>
                <a:moveTo>
                  <a:pt x="4293901" y="865"/>
                </a:moveTo>
                <a:lnTo>
                  <a:pt x="4307299" y="865"/>
                </a:lnTo>
                <a:cubicBezTo>
                  <a:pt x="4300384" y="403668"/>
                  <a:pt x="4230369" y="806471"/>
                  <a:pt x="4096389" y="1202791"/>
                </a:cubicBezTo>
                <a:cubicBezTo>
                  <a:pt x="4053170" y="1322508"/>
                  <a:pt x="4006061" y="1444386"/>
                  <a:pt x="3959384" y="1561942"/>
                </a:cubicBezTo>
                <a:cubicBezTo>
                  <a:pt x="3865599" y="1803538"/>
                  <a:pt x="3765330" y="2053345"/>
                  <a:pt x="3721679" y="2305314"/>
                </a:cubicBezTo>
                <a:cubicBezTo>
                  <a:pt x="3648207" y="2689532"/>
                  <a:pt x="3704824" y="3075480"/>
                  <a:pt x="3761872" y="3368937"/>
                </a:cubicBezTo>
                <a:cubicBezTo>
                  <a:pt x="3895420" y="4050505"/>
                  <a:pt x="4109787" y="4544068"/>
                  <a:pt x="4461159" y="4965455"/>
                </a:cubicBezTo>
                <a:cubicBezTo>
                  <a:pt x="4551488" y="5072639"/>
                  <a:pt x="4655214" y="5180255"/>
                  <a:pt x="4768880" y="5281388"/>
                </a:cubicBezTo>
                <a:cubicBezTo>
                  <a:pt x="5123710" y="5603372"/>
                  <a:pt x="5599121" y="5900719"/>
                  <a:pt x="6181283" y="6171271"/>
                </a:cubicBezTo>
                <a:cubicBezTo>
                  <a:pt x="6325203" y="6237397"/>
                  <a:pt x="6472580" y="6299201"/>
                  <a:pt x="6622984" y="6359275"/>
                </a:cubicBezTo>
                <a:cubicBezTo>
                  <a:pt x="7030974" y="6520050"/>
                  <a:pt x="7466191" y="6660513"/>
                  <a:pt x="7921289" y="6776340"/>
                </a:cubicBezTo>
                <a:cubicBezTo>
                  <a:pt x="8031066" y="6804865"/>
                  <a:pt x="8143003" y="6831661"/>
                  <a:pt x="8257533" y="6857592"/>
                </a:cubicBezTo>
                <a:lnTo>
                  <a:pt x="8219501" y="6857592"/>
                </a:lnTo>
                <a:cubicBezTo>
                  <a:pt x="8116640" y="6833822"/>
                  <a:pt x="8015939" y="6809619"/>
                  <a:pt x="7917399" y="6784552"/>
                </a:cubicBezTo>
                <a:cubicBezTo>
                  <a:pt x="7458844" y="6669157"/>
                  <a:pt x="7024058" y="6528695"/>
                  <a:pt x="6615637" y="6367487"/>
                </a:cubicBezTo>
                <a:cubicBezTo>
                  <a:pt x="6465233" y="6307412"/>
                  <a:pt x="6317856" y="6243448"/>
                  <a:pt x="6173937" y="6177322"/>
                </a:cubicBezTo>
                <a:cubicBezTo>
                  <a:pt x="5588317" y="5906770"/>
                  <a:pt x="5113337" y="5607693"/>
                  <a:pt x="4755050" y="5287439"/>
                </a:cubicBezTo>
                <a:cubicBezTo>
                  <a:pt x="4644841" y="5184144"/>
                  <a:pt x="4541115" y="5076528"/>
                  <a:pt x="4447329" y="4967184"/>
                </a:cubicBezTo>
                <a:cubicBezTo>
                  <a:pt x="4095957" y="4546229"/>
                  <a:pt x="3882022" y="4052666"/>
                  <a:pt x="3748043" y="3368937"/>
                </a:cubicBezTo>
                <a:cubicBezTo>
                  <a:pt x="3690994" y="3075480"/>
                  <a:pt x="3633944" y="2689532"/>
                  <a:pt x="3704392" y="2305314"/>
                </a:cubicBezTo>
                <a:cubicBezTo>
                  <a:pt x="3751501" y="2053345"/>
                  <a:pt x="3848311" y="1801378"/>
                  <a:pt x="3945554" y="1559782"/>
                </a:cubicBezTo>
                <a:cubicBezTo>
                  <a:pt x="3992663" y="1442226"/>
                  <a:pt x="4039340" y="1320347"/>
                  <a:pt x="4079533" y="1200631"/>
                </a:cubicBezTo>
                <a:cubicBezTo>
                  <a:pt x="4216971" y="804310"/>
                  <a:pt x="4287418" y="403668"/>
                  <a:pt x="4293901" y="865"/>
                </a:cubicBezTo>
                <a:close/>
                <a:moveTo>
                  <a:pt x="3858684" y="865"/>
                </a:moveTo>
                <a:lnTo>
                  <a:pt x="3872082" y="865"/>
                </a:lnTo>
                <a:cubicBezTo>
                  <a:pt x="3878564" y="440836"/>
                  <a:pt x="3811575" y="882969"/>
                  <a:pt x="3671113" y="1318619"/>
                </a:cubicBezTo>
                <a:cubicBezTo>
                  <a:pt x="3631351" y="1436175"/>
                  <a:pt x="3591157" y="1553731"/>
                  <a:pt x="3547506" y="1669558"/>
                </a:cubicBezTo>
                <a:cubicBezTo>
                  <a:pt x="3456745" y="1919366"/>
                  <a:pt x="3363393" y="2175656"/>
                  <a:pt x="3319740" y="2435835"/>
                </a:cubicBezTo>
                <a:cubicBezTo>
                  <a:pt x="3272631" y="2741395"/>
                  <a:pt x="3292945" y="3071590"/>
                  <a:pt x="3383272" y="3503350"/>
                </a:cubicBezTo>
                <a:cubicBezTo>
                  <a:pt x="3530650" y="4184484"/>
                  <a:pt x="3757983" y="4678048"/>
                  <a:pt x="4126211" y="5101596"/>
                </a:cubicBezTo>
                <a:cubicBezTo>
                  <a:pt x="4219996" y="5208780"/>
                  <a:pt x="4323722" y="5316396"/>
                  <a:pt x="4440846" y="5417529"/>
                </a:cubicBezTo>
                <a:cubicBezTo>
                  <a:pt x="4799134" y="5731300"/>
                  <a:pt x="5284053" y="6030809"/>
                  <a:pt x="5876588" y="6303522"/>
                </a:cubicBezTo>
                <a:cubicBezTo>
                  <a:pt x="6023965" y="6369648"/>
                  <a:pt x="6171343" y="6433612"/>
                  <a:pt x="6321746" y="6493687"/>
                </a:cubicBezTo>
                <a:cubicBezTo>
                  <a:pt x="6662314" y="6630260"/>
                  <a:pt x="7021033" y="6753003"/>
                  <a:pt x="7390557" y="6857592"/>
                </a:cubicBezTo>
                <a:lnTo>
                  <a:pt x="7359439" y="6857592"/>
                </a:lnTo>
                <a:cubicBezTo>
                  <a:pt x="6997262" y="6753867"/>
                  <a:pt x="6647187" y="6635445"/>
                  <a:pt x="6314831" y="6501898"/>
                </a:cubicBezTo>
                <a:cubicBezTo>
                  <a:pt x="6163995" y="6442256"/>
                  <a:pt x="6013593" y="6378291"/>
                  <a:pt x="5869673" y="6310005"/>
                </a:cubicBezTo>
                <a:cubicBezTo>
                  <a:pt x="5274112" y="6037292"/>
                  <a:pt x="4788761" y="5737783"/>
                  <a:pt x="4427449" y="5421850"/>
                </a:cubicBezTo>
                <a:cubicBezTo>
                  <a:pt x="4313782" y="5320717"/>
                  <a:pt x="4206598" y="5213101"/>
                  <a:pt x="4112813" y="5105917"/>
                </a:cubicBezTo>
                <a:cubicBezTo>
                  <a:pt x="3744585" y="4682803"/>
                  <a:pt x="3517253" y="4189238"/>
                  <a:pt x="3369875" y="3505511"/>
                </a:cubicBezTo>
                <a:cubicBezTo>
                  <a:pt x="3276089" y="3071590"/>
                  <a:pt x="3259665" y="2741395"/>
                  <a:pt x="3306342" y="2433674"/>
                </a:cubicBezTo>
                <a:cubicBezTo>
                  <a:pt x="3346536" y="2175224"/>
                  <a:pt x="3443780" y="1917204"/>
                  <a:pt x="3534108" y="1667398"/>
                </a:cubicBezTo>
                <a:cubicBezTo>
                  <a:pt x="3573869" y="1552002"/>
                  <a:pt x="3617522" y="1434014"/>
                  <a:pt x="3657715" y="1316458"/>
                </a:cubicBezTo>
                <a:cubicBezTo>
                  <a:pt x="3798609" y="880808"/>
                  <a:pt x="3865167" y="440836"/>
                  <a:pt x="3858684" y="865"/>
                </a:cubicBezTo>
                <a:close/>
                <a:moveTo>
                  <a:pt x="2985225" y="865"/>
                </a:moveTo>
                <a:lnTo>
                  <a:pt x="2998622" y="865"/>
                </a:lnTo>
                <a:cubicBezTo>
                  <a:pt x="3028875" y="513013"/>
                  <a:pt x="2968801" y="1033372"/>
                  <a:pt x="2821423" y="1551570"/>
                </a:cubicBezTo>
                <a:cubicBezTo>
                  <a:pt x="2791602" y="1661347"/>
                  <a:pt x="2757890" y="1772853"/>
                  <a:pt x="2721154" y="1880037"/>
                </a:cubicBezTo>
                <a:cubicBezTo>
                  <a:pt x="2637310" y="2144538"/>
                  <a:pt x="2553464" y="2418979"/>
                  <a:pt x="2520184" y="2691693"/>
                </a:cubicBezTo>
                <a:cubicBezTo>
                  <a:pt x="2486906" y="3005464"/>
                  <a:pt x="2520184" y="3348193"/>
                  <a:pt x="2627369" y="3771741"/>
                </a:cubicBezTo>
                <a:cubicBezTo>
                  <a:pt x="2801543" y="4445097"/>
                  <a:pt x="3062587" y="4955083"/>
                  <a:pt x="3450694" y="5374309"/>
                </a:cubicBezTo>
                <a:cubicBezTo>
                  <a:pt x="3550964" y="5481493"/>
                  <a:pt x="3664629" y="5589109"/>
                  <a:pt x="3785211" y="5688081"/>
                </a:cubicBezTo>
                <a:cubicBezTo>
                  <a:pt x="4153439" y="5994072"/>
                  <a:pt x="4641816" y="6283209"/>
                  <a:pt x="5271088" y="6568024"/>
                </a:cubicBezTo>
                <a:cubicBezTo>
                  <a:pt x="5418033" y="6636310"/>
                  <a:pt x="5572325" y="6702003"/>
                  <a:pt x="5722728" y="6762078"/>
                </a:cubicBezTo>
                <a:cubicBezTo>
                  <a:pt x="5802252" y="6794493"/>
                  <a:pt x="5882639" y="6826475"/>
                  <a:pt x="5963890" y="6858024"/>
                </a:cubicBezTo>
                <a:lnTo>
                  <a:pt x="5935798" y="6858024"/>
                </a:lnTo>
                <a:cubicBezTo>
                  <a:pt x="5861029" y="6829499"/>
                  <a:pt x="5787125" y="6800544"/>
                  <a:pt x="5712788" y="6770722"/>
                </a:cubicBezTo>
                <a:cubicBezTo>
                  <a:pt x="5562385" y="6708918"/>
                  <a:pt x="5411550" y="6644955"/>
                  <a:pt x="5261147" y="6576668"/>
                </a:cubicBezTo>
                <a:cubicBezTo>
                  <a:pt x="4631875" y="6289692"/>
                  <a:pt x="4143498" y="6000555"/>
                  <a:pt x="3775272" y="5694996"/>
                </a:cubicBezTo>
                <a:cubicBezTo>
                  <a:pt x="3651663" y="5593862"/>
                  <a:pt x="3537566" y="5488408"/>
                  <a:pt x="3437296" y="5379064"/>
                </a:cubicBezTo>
                <a:cubicBezTo>
                  <a:pt x="3049189" y="4957676"/>
                  <a:pt x="2788145" y="4447689"/>
                  <a:pt x="2613972" y="3774334"/>
                </a:cubicBezTo>
                <a:cubicBezTo>
                  <a:pt x="2506787" y="3348625"/>
                  <a:pt x="2473508" y="3005897"/>
                  <a:pt x="2506787" y="2692125"/>
                </a:cubicBezTo>
                <a:cubicBezTo>
                  <a:pt x="2537042" y="2417251"/>
                  <a:pt x="2623912" y="2144538"/>
                  <a:pt x="2707756" y="1878307"/>
                </a:cubicBezTo>
                <a:cubicBezTo>
                  <a:pt x="2741035" y="1770692"/>
                  <a:pt x="2777772" y="1659186"/>
                  <a:pt x="2808025" y="1549842"/>
                </a:cubicBezTo>
                <a:cubicBezTo>
                  <a:pt x="2954970" y="1031211"/>
                  <a:pt x="3012020" y="513013"/>
                  <a:pt x="2985225" y="865"/>
                </a:cubicBezTo>
                <a:close/>
                <a:moveTo>
                  <a:pt x="2838710" y="865"/>
                </a:moveTo>
                <a:lnTo>
                  <a:pt x="2855567" y="865"/>
                </a:lnTo>
                <a:cubicBezTo>
                  <a:pt x="2885387" y="525114"/>
                  <a:pt x="2828770" y="1058007"/>
                  <a:pt x="2681392" y="1588739"/>
                </a:cubicBezTo>
                <a:cubicBezTo>
                  <a:pt x="2651139" y="1698083"/>
                  <a:pt x="2617428" y="1807860"/>
                  <a:pt x="2584149" y="1915044"/>
                </a:cubicBezTo>
                <a:cubicBezTo>
                  <a:pt x="2503762" y="2181274"/>
                  <a:pt x="2416891" y="2458309"/>
                  <a:pt x="2390096" y="2734912"/>
                </a:cubicBezTo>
                <a:cubicBezTo>
                  <a:pt x="2356383" y="3050844"/>
                  <a:pt x="2393120" y="3393572"/>
                  <a:pt x="2503762" y="3817122"/>
                </a:cubicBezTo>
                <a:cubicBezTo>
                  <a:pt x="2677936" y="4490477"/>
                  <a:pt x="2945462" y="4998302"/>
                  <a:pt x="3340485" y="5419690"/>
                </a:cubicBezTo>
                <a:cubicBezTo>
                  <a:pt x="3440755" y="5526873"/>
                  <a:pt x="3554421" y="5634489"/>
                  <a:pt x="3675002" y="5733461"/>
                </a:cubicBezTo>
                <a:cubicBezTo>
                  <a:pt x="4046255" y="6037292"/>
                  <a:pt x="4535064" y="6324267"/>
                  <a:pt x="5170819" y="6613403"/>
                </a:cubicBezTo>
                <a:cubicBezTo>
                  <a:pt x="5317764" y="6681690"/>
                  <a:pt x="5472057" y="6745655"/>
                  <a:pt x="5622459" y="6807459"/>
                </a:cubicBezTo>
                <a:cubicBezTo>
                  <a:pt x="5663518" y="6824314"/>
                  <a:pt x="5705440" y="6841169"/>
                  <a:pt x="5747363" y="6858024"/>
                </a:cubicBezTo>
                <a:lnTo>
                  <a:pt x="5722728" y="6858024"/>
                </a:lnTo>
                <a:cubicBezTo>
                  <a:pt x="5685992" y="6843330"/>
                  <a:pt x="5649256" y="6828635"/>
                  <a:pt x="5612519" y="6813941"/>
                </a:cubicBezTo>
                <a:cubicBezTo>
                  <a:pt x="5462117" y="6754299"/>
                  <a:pt x="5311281" y="6688173"/>
                  <a:pt x="5160879" y="6619886"/>
                </a:cubicBezTo>
                <a:cubicBezTo>
                  <a:pt x="4525124" y="6330750"/>
                  <a:pt x="4036314" y="6043343"/>
                  <a:pt x="3665063" y="5739943"/>
                </a:cubicBezTo>
                <a:cubicBezTo>
                  <a:pt x="3541456" y="5638810"/>
                  <a:pt x="3427357" y="5533356"/>
                  <a:pt x="3327087" y="5424011"/>
                </a:cubicBezTo>
                <a:cubicBezTo>
                  <a:pt x="2932064" y="5002624"/>
                  <a:pt x="2664538" y="4492638"/>
                  <a:pt x="2490364" y="3819282"/>
                </a:cubicBezTo>
                <a:cubicBezTo>
                  <a:pt x="2376698" y="3393572"/>
                  <a:pt x="2342986" y="3050844"/>
                  <a:pt x="2373240" y="2734912"/>
                </a:cubicBezTo>
                <a:cubicBezTo>
                  <a:pt x="2403493" y="2457877"/>
                  <a:pt x="2490364" y="2181274"/>
                  <a:pt x="2570751" y="1912883"/>
                </a:cubicBezTo>
                <a:cubicBezTo>
                  <a:pt x="2604462" y="1807428"/>
                  <a:pt x="2637742" y="1695923"/>
                  <a:pt x="2667995" y="1588739"/>
                </a:cubicBezTo>
                <a:cubicBezTo>
                  <a:pt x="2815373" y="1056278"/>
                  <a:pt x="2871989" y="523385"/>
                  <a:pt x="2838710" y="865"/>
                </a:cubicBezTo>
                <a:close/>
                <a:moveTo>
                  <a:pt x="2693495" y="865"/>
                </a:moveTo>
                <a:lnTo>
                  <a:pt x="2706893" y="865"/>
                </a:lnTo>
                <a:cubicBezTo>
                  <a:pt x="2740603" y="535486"/>
                  <a:pt x="2687012" y="1083075"/>
                  <a:pt x="2539633" y="1628068"/>
                </a:cubicBezTo>
                <a:cubicBezTo>
                  <a:pt x="2509381" y="1735252"/>
                  <a:pt x="2476102" y="1844596"/>
                  <a:pt x="2445847" y="1950052"/>
                </a:cubicBezTo>
                <a:cubicBezTo>
                  <a:pt x="2365893" y="2218443"/>
                  <a:pt x="2282048" y="2499368"/>
                  <a:pt x="2255252" y="2778131"/>
                </a:cubicBezTo>
                <a:cubicBezTo>
                  <a:pt x="2225430" y="3094064"/>
                  <a:pt x="2262167" y="3438954"/>
                  <a:pt x="2375833" y="3862501"/>
                </a:cubicBezTo>
                <a:cubicBezTo>
                  <a:pt x="2556490" y="4533696"/>
                  <a:pt x="2827906" y="5043682"/>
                  <a:pt x="3225955" y="5465070"/>
                </a:cubicBezTo>
                <a:cubicBezTo>
                  <a:pt x="3326224" y="5572253"/>
                  <a:pt x="3443780" y="5679869"/>
                  <a:pt x="3567387" y="5778841"/>
                </a:cubicBezTo>
                <a:cubicBezTo>
                  <a:pt x="3935614" y="6080510"/>
                  <a:pt x="4427449" y="6367487"/>
                  <a:pt x="5066660" y="6656623"/>
                </a:cubicBezTo>
                <a:cubicBezTo>
                  <a:pt x="5217064" y="6724910"/>
                  <a:pt x="5371356" y="6791034"/>
                  <a:pt x="5521759" y="6852838"/>
                </a:cubicBezTo>
                <a:cubicBezTo>
                  <a:pt x="5526081" y="6854568"/>
                  <a:pt x="5529970" y="6856296"/>
                  <a:pt x="5533428" y="6857592"/>
                </a:cubicBezTo>
                <a:lnTo>
                  <a:pt x="5507928" y="6857592"/>
                </a:lnTo>
                <a:cubicBezTo>
                  <a:pt x="5358390" y="6795789"/>
                  <a:pt x="5209284" y="6732257"/>
                  <a:pt x="5059745" y="6664835"/>
                </a:cubicBezTo>
                <a:cubicBezTo>
                  <a:pt x="4417508" y="6373537"/>
                  <a:pt x="3925241" y="6086561"/>
                  <a:pt x="3553989" y="5784892"/>
                </a:cubicBezTo>
                <a:cubicBezTo>
                  <a:pt x="3429949" y="5683759"/>
                  <a:pt x="3316284" y="5578303"/>
                  <a:pt x="3212557" y="5468959"/>
                </a:cubicBezTo>
                <a:cubicBezTo>
                  <a:pt x="2814076" y="5048005"/>
                  <a:pt x="2543090" y="4537585"/>
                  <a:pt x="2362435" y="3862501"/>
                </a:cubicBezTo>
                <a:cubicBezTo>
                  <a:pt x="2248336" y="3438954"/>
                  <a:pt x="2208575" y="3094064"/>
                  <a:pt x="2241852" y="2778131"/>
                </a:cubicBezTo>
                <a:cubicBezTo>
                  <a:pt x="2268650" y="2497207"/>
                  <a:pt x="2352062" y="2218443"/>
                  <a:pt x="2432449" y="1947890"/>
                </a:cubicBezTo>
                <a:cubicBezTo>
                  <a:pt x="2462704" y="1842868"/>
                  <a:pt x="2495983" y="1733091"/>
                  <a:pt x="2526235" y="1625908"/>
                </a:cubicBezTo>
                <a:cubicBezTo>
                  <a:pt x="2670155" y="1080913"/>
                  <a:pt x="2726772" y="535919"/>
                  <a:pt x="2693495" y="865"/>
                </a:cubicBezTo>
                <a:close/>
                <a:moveTo>
                  <a:pt x="2546980" y="865"/>
                </a:moveTo>
                <a:lnTo>
                  <a:pt x="2560380" y="865"/>
                </a:lnTo>
                <a:cubicBezTo>
                  <a:pt x="2600573" y="548020"/>
                  <a:pt x="2543525" y="1107709"/>
                  <a:pt x="2399604" y="1667398"/>
                </a:cubicBezTo>
                <a:cubicBezTo>
                  <a:pt x="2369351" y="1772853"/>
                  <a:pt x="2339529" y="1880037"/>
                  <a:pt x="2309276" y="1983330"/>
                </a:cubicBezTo>
                <a:cubicBezTo>
                  <a:pt x="2228887" y="2256043"/>
                  <a:pt x="2148500" y="2538697"/>
                  <a:pt x="2121704" y="2821783"/>
                </a:cubicBezTo>
                <a:cubicBezTo>
                  <a:pt x="2094908" y="3139444"/>
                  <a:pt x="2135103" y="3484333"/>
                  <a:pt x="2248768" y="3907881"/>
                </a:cubicBezTo>
                <a:cubicBezTo>
                  <a:pt x="2436341" y="4579076"/>
                  <a:pt x="2710782" y="5089063"/>
                  <a:pt x="3112289" y="5510450"/>
                </a:cubicBezTo>
                <a:cubicBezTo>
                  <a:pt x="3216015" y="5617634"/>
                  <a:pt x="3333571" y="5723088"/>
                  <a:pt x="3457178" y="5824221"/>
                </a:cubicBezTo>
                <a:cubicBezTo>
                  <a:pt x="3828431" y="6121569"/>
                  <a:pt x="4320697" y="6408545"/>
                  <a:pt x="4966392" y="6702003"/>
                </a:cubicBezTo>
                <a:cubicBezTo>
                  <a:pt x="5086109" y="6756459"/>
                  <a:pt x="5207555" y="6807891"/>
                  <a:pt x="5328136" y="6857160"/>
                </a:cubicBezTo>
                <a:lnTo>
                  <a:pt x="5299612" y="6857160"/>
                </a:lnTo>
                <a:cubicBezTo>
                  <a:pt x="5186378" y="6809187"/>
                  <a:pt x="5073143" y="6759485"/>
                  <a:pt x="4959910" y="6708054"/>
                </a:cubicBezTo>
                <a:cubicBezTo>
                  <a:pt x="4313782" y="6416756"/>
                  <a:pt x="3818491" y="6127620"/>
                  <a:pt x="3447237" y="5830272"/>
                </a:cubicBezTo>
                <a:cubicBezTo>
                  <a:pt x="3319740" y="5729139"/>
                  <a:pt x="3206074" y="5623684"/>
                  <a:pt x="3102348" y="5514339"/>
                </a:cubicBezTo>
                <a:cubicBezTo>
                  <a:pt x="2697816" y="5093385"/>
                  <a:pt x="2423375" y="4581237"/>
                  <a:pt x="2235803" y="3907881"/>
                </a:cubicBezTo>
                <a:cubicBezTo>
                  <a:pt x="2118679" y="3484765"/>
                  <a:pt x="2078484" y="3139876"/>
                  <a:pt x="2108737" y="2819622"/>
                </a:cubicBezTo>
                <a:cubicBezTo>
                  <a:pt x="2132508" y="2536968"/>
                  <a:pt x="2215922" y="2256043"/>
                  <a:pt x="2296308" y="1983330"/>
                </a:cubicBezTo>
                <a:cubicBezTo>
                  <a:pt x="2326131" y="1877875"/>
                  <a:pt x="2356383" y="1770692"/>
                  <a:pt x="2383181" y="1665237"/>
                </a:cubicBezTo>
                <a:cubicBezTo>
                  <a:pt x="2530125" y="1105548"/>
                  <a:pt x="2583717" y="545859"/>
                  <a:pt x="2546980" y="865"/>
                </a:cubicBezTo>
                <a:close/>
                <a:moveTo>
                  <a:pt x="2400036" y="865"/>
                </a:moveTo>
                <a:lnTo>
                  <a:pt x="2413434" y="865"/>
                </a:lnTo>
                <a:cubicBezTo>
                  <a:pt x="2457084" y="558392"/>
                  <a:pt x="2403493" y="1130616"/>
                  <a:pt x="2256115" y="1706727"/>
                </a:cubicBezTo>
                <a:cubicBezTo>
                  <a:pt x="2229320" y="1810022"/>
                  <a:pt x="2199067" y="1915476"/>
                  <a:pt x="2172271" y="2018770"/>
                </a:cubicBezTo>
                <a:cubicBezTo>
                  <a:pt x="2091882" y="2293212"/>
                  <a:pt x="2011496" y="2578459"/>
                  <a:pt x="1988157" y="2863273"/>
                </a:cubicBezTo>
                <a:cubicBezTo>
                  <a:pt x="1961361" y="3183095"/>
                  <a:pt x="2004581" y="3530145"/>
                  <a:pt x="2125161" y="3951533"/>
                </a:cubicBezTo>
                <a:cubicBezTo>
                  <a:pt x="2316190" y="4624888"/>
                  <a:pt x="2593657" y="5134875"/>
                  <a:pt x="3002080" y="5556263"/>
                </a:cubicBezTo>
                <a:cubicBezTo>
                  <a:pt x="3105805" y="5663445"/>
                  <a:pt x="3223362" y="5768900"/>
                  <a:pt x="3346969" y="5870033"/>
                </a:cubicBezTo>
                <a:cubicBezTo>
                  <a:pt x="3725137" y="6169543"/>
                  <a:pt x="4207030" y="6448307"/>
                  <a:pt x="4866123" y="6745655"/>
                </a:cubicBezTo>
                <a:cubicBezTo>
                  <a:pt x="4950400" y="6783688"/>
                  <a:pt x="5035542" y="6821288"/>
                  <a:pt x="5120684" y="6857592"/>
                </a:cubicBezTo>
                <a:lnTo>
                  <a:pt x="5091296" y="6857592"/>
                </a:lnTo>
                <a:cubicBezTo>
                  <a:pt x="5012636" y="6823881"/>
                  <a:pt x="4933545" y="6789306"/>
                  <a:pt x="4855751" y="6753867"/>
                </a:cubicBezTo>
                <a:cubicBezTo>
                  <a:pt x="4196658" y="6454357"/>
                  <a:pt x="3714765" y="6175593"/>
                  <a:pt x="3336595" y="5876084"/>
                </a:cubicBezTo>
                <a:cubicBezTo>
                  <a:pt x="3209531" y="5774951"/>
                  <a:pt x="3092408" y="5669496"/>
                  <a:pt x="2988682" y="5562313"/>
                </a:cubicBezTo>
                <a:cubicBezTo>
                  <a:pt x="2580259" y="5139197"/>
                  <a:pt x="2302360" y="4627049"/>
                  <a:pt x="2111764" y="3953694"/>
                </a:cubicBezTo>
                <a:cubicBezTo>
                  <a:pt x="1991614" y="3530145"/>
                  <a:pt x="1947963" y="3185257"/>
                  <a:pt x="1974759" y="2863273"/>
                </a:cubicBezTo>
                <a:cubicBezTo>
                  <a:pt x="1998098" y="2578459"/>
                  <a:pt x="2078484" y="2293212"/>
                  <a:pt x="2158874" y="2016609"/>
                </a:cubicBezTo>
                <a:cubicBezTo>
                  <a:pt x="2185669" y="1915044"/>
                  <a:pt x="2215922" y="1810022"/>
                  <a:pt x="2242718" y="1704566"/>
                </a:cubicBezTo>
                <a:cubicBezTo>
                  <a:pt x="2390096" y="1130616"/>
                  <a:pt x="2443687" y="558392"/>
                  <a:pt x="2400036" y="865"/>
                </a:cubicBezTo>
                <a:close/>
                <a:moveTo>
                  <a:pt x="2252226" y="865"/>
                </a:moveTo>
                <a:lnTo>
                  <a:pt x="2265624" y="865"/>
                </a:lnTo>
                <a:cubicBezTo>
                  <a:pt x="2312734" y="568766"/>
                  <a:pt x="2262599" y="1155250"/>
                  <a:pt x="2115221" y="1743896"/>
                </a:cubicBezTo>
                <a:cubicBezTo>
                  <a:pt x="2088426" y="1847189"/>
                  <a:pt x="2061629" y="1952644"/>
                  <a:pt x="2034834" y="2051617"/>
                </a:cubicBezTo>
                <a:cubicBezTo>
                  <a:pt x="1957904" y="2330380"/>
                  <a:pt x="1877515" y="2619518"/>
                  <a:pt x="1854176" y="2906493"/>
                </a:cubicBezTo>
                <a:cubicBezTo>
                  <a:pt x="1830839" y="3228475"/>
                  <a:pt x="1877515" y="3575525"/>
                  <a:pt x="1998098" y="3996913"/>
                </a:cubicBezTo>
                <a:cubicBezTo>
                  <a:pt x="2192151" y="4670269"/>
                  <a:pt x="2476966" y="5180255"/>
                  <a:pt x="2888413" y="5601642"/>
                </a:cubicBezTo>
                <a:cubicBezTo>
                  <a:pt x="2995596" y="5710987"/>
                  <a:pt x="3112721" y="5814281"/>
                  <a:pt x="3239786" y="5915414"/>
                </a:cubicBezTo>
                <a:cubicBezTo>
                  <a:pt x="3614496" y="6212762"/>
                  <a:pt x="4099847" y="6489365"/>
                  <a:pt x="4765854" y="6791034"/>
                </a:cubicBezTo>
                <a:cubicBezTo>
                  <a:pt x="4815125" y="6813509"/>
                  <a:pt x="4865259" y="6835982"/>
                  <a:pt x="4915393" y="6858024"/>
                </a:cubicBezTo>
                <a:lnTo>
                  <a:pt x="4892055" y="6858024"/>
                </a:lnTo>
                <a:cubicBezTo>
                  <a:pt x="4846243" y="6838144"/>
                  <a:pt x="4800862" y="6817831"/>
                  <a:pt x="4755482" y="6797517"/>
                </a:cubicBezTo>
                <a:cubicBezTo>
                  <a:pt x="4089474" y="6498009"/>
                  <a:pt x="3604123" y="6219244"/>
                  <a:pt x="3225955" y="5919736"/>
                </a:cubicBezTo>
                <a:cubicBezTo>
                  <a:pt x="3098891" y="5820332"/>
                  <a:pt x="2981766" y="5714876"/>
                  <a:pt x="2878041" y="5607693"/>
                </a:cubicBezTo>
                <a:cubicBezTo>
                  <a:pt x="2463136" y="5182416"/>
                  <a:pt x="2178753" y="4672429"/>
                  <a:pt x="1984699" y="3999074"/>
                </a:cubicBezTo>
                <a:cubicBezTo>
                  <a:pt x="1864118" y="3575525"/>
                  <a:pt x="1817441" y="3228475"/>
                  <a:pt x="1840778" y="2906493"/>
                </a:cubicBezTo>
                <a:cubicBezTo>
                  <a:pt x="1864118" y="2617356"/>
                  <a:pt x="1941048" y="2330380"/>
                  <a:pt x="2017978" y="2051617"/>
                </a:cubicBezTo>
                <a:cubicBezTo>
                  <a:pt x="2048231" y="1950484"/>
                  <a:pt x="2075028" y="1847189"/>
                  <a:pt x="2101823" y="1743896"/>
                </a:cubicBezTo>
                <a:cubicBezTo>
                  <a:pt x="2248768" y="1155250"/>
                  <a:pt x="2298903" y="568766"/>
                  <a:pt x="2252226" y="865"/>
                </a:cubicBezTo>
                <a:close/>
                <a:moveTo>
                  <a:pt x="2105282" y="865"/>
                </a:moveTo>
                <a:lnTo>
                  <a:pt x="2122137" y="865"/>
                </a:lnTo>
                <a:cubicBezTo>
                  <a:pt x="2168812" y="581299"/>
                  <a:pt x="2122137" y="1180317"/>
                  <a:pt x="1974759" y="1783225"/>
                </a:cubicBezTo>
                <a:cubicBezTo>
                  <a:pt x="1947963" y="1884358"/>
                  <a:pt x="1921168" y="1987652"/>
                  <a:pt x="1894371" y="2086624"/>
                </a:cubicBezTo>
                <a:cubicBezTo>
                  <a:pt x="1820899" y="2367549"/>
                  <a:pt x="1743537" y="2658415"/>
                  <a:pt x="1723655" y="2949711"/>
                </a:cubicBezTo>
                <a:cubicBezTo>
                  <a:pt x="1699884" y="3273856"/>
                  <a:pt x="1746993" y="3620906"/>
                  <a:pt x="1874058" y="4042292"/>
                </a:cubicBezTo>
                <a:cubicBezTo>
                  <a:pt x="2071570" y="4713055"/>
                  <a:pt x="2359410" y="5223475"/>
                  <a:pt x="2777772" y="5648752"/>
                </a:cubicBezTo>
                <a:cubicBezTo>
                  <a:pt x="2881497" y="5756367"/>
                  <a:pt x="3002080" y="5859661"/>
                  <a:pt x="3129144" y="5960794"/>
                </a:cubicBezTo>
                <a:cubicBezTo>
                  <a:pt x="3507312" y="6253820"/>
                  <a:pt x="3992231" y="6532584"/>
                  <a:pt x="4661697" y="6834254"/>
                </a:cubicBezTo>
                <a:cubicBezTo>
                  <a:pt x="4678984" y="6842033"/>
                  <a:pt x="4695840" y="6849813"/>
                  <a:pt x="4712694" y="6858024"/>
                </a:cubicBezTo>
                <a:lnTo>
                  <a:pt x="4691518" y="6858024"/>
                </a:lnTo>
                <a:cubicBezTo>
                  <a:pt x="4678984" y="6852406"/>
                  <a:pt x="4666883" y="6846356"/>
                  <a:pt x="4654782" y="6840737"/>
                </a:cubicBezTo>
                <a:cubicBezTo>
                  <a:pt x="3982290" y="6539067"/>
                  <a:pt x="3493482" y="6260303"/>
                  <a:pt x="3118771" y="5965116"/>
                </a:cubicBezTo>
                <a:cubicBezTo>
                  <a:pt x="2988249" y="5865712"/>
                  <a:pt x="2871126" y="5760257"/>
                  <a:pt x="2763942" y="5653073"/>
                </a:cubicBezTo>
                <a:cubicBezTo>
                  <a:pt x="2345580" y="5227796"/>
                  <a:pt x="2058173" y="4717377"/>
                  <a:pt x="1857203" y="4042292"/>
                </a:cubicBezTo>
                <a:cubicBezTo>
                  <a:pt x="1733596" y="3620906"/>
                  <a:pt x="1686919" y="3273856"/>
                  <a:pt x="1706800" y="2949711"/>
                </a:cubicBezTo>
                <a:cubicBezTo>
                  <a:pt x="1727112" y="2658415"/>
                  <a:pt x="1807501" y="2365387"/>
                  <a:pt x="1880974" y="2084463"/>
                </a:cubicBezTo>
                <a:cubicBezTo>
                  <a:pt x="1907769" y="1985491"/>
                  <a:pt x="1934566" y="1882197"/>
                  <a:pt x="1961361" y="1781064"/>
                </a:cubicBezTo>
                <a:cubicBezTo>
                  <a:pt x="2105282" y="1178156"/>
                  <a:pt x="2155414" y="579138"/>
                  <a:pt x="2105282" y="865"/>
                </a:cubicBezTo>
                <a:close/>
                <a:moveTo>
                  <a:pt x="1957472" y="865"/>
                </a:moveTo>
                <a:lnTo>
                  <a:pt x="1974327" y="865"/>
                </a:lnTo>
                <a:cubicBezTo>
                  <a:pt x="2024460" y="591240"/>
                  <a:pt x="1977783" y="1202791"/>
                  <a:pt x="1833865" y="1822122"/>
                </a:cubicBezTo>
                <a:cubicBezTo>
                  <a:pt x="1810526" y="1921094"/>
                  <a:pt x="1783730" y="2022227"/>
                  <a:pt x="1756935" y="2119471"/>
                </a:cubicBezTo>
                <a:cubicBezTo>
                  <a:pt x="1683462" y="2404286"/>
                  <a:pt x="1606530" y="2697743"/>
                  <a:pt x="1589675" y="2992931"/>
                </a:cubicBezTo>
                <a:cubicBezTo>
                  <a:pt x="1569795" y="3313185"/>
                  <a:pt x="1619928" y="3670607"/>
                  <a:pt x="1746993" y="4085512"/>
                </a:cubicBezTo>
                <a:cubicBezTo>
                  <a:pt x="1951420" y="4758435"/>
                  <a:pt x="2242284" y="5268854"/>
                  <a:pt x="2664105" y="5694131"/>
                </a:cubicBezTo>
                <a:cubicBezTo>
                  <a:pt x="2771288" y="5801747"/>
                  <a:pt x="2891871" y="5905041"/>
                  <a:pt x="3018935" y="6006174"/>
                </a:cubicBezTo>
                <a:cubicBezTo>
                  <a:pt x="3388459" y="6290989"/>
                  <a:pt x="3863871" y="6561973"/>
                  <a:pt x="4516912" y="6858024"/>
                </a:cubicBezTo>
                <a:lnTo>
                  <a:pt x="4491845" y="6858024"/>
                </a:lnTo>
                <a:cubicBezTo>
                  <a:pt x="3844854" y="6564998"/>
                  <a:pt x="3375061" y="6294446"/>
                  <a:pt x="3008562" y="6010496"/>
                </a:cubicBezTo>
                <a:cubicBezTo>
                  <a:pt x="2878041" y="5911092"/>
                  <a:pt x="2760917" y="5805637"/>
                  <a:pt x="2653732" y="5698453"/>
                </a:cubicBezTo>
                <a:cubicBezTo>
                  <a:pt x="2228887" y="5273176"/>
                  <a:pt x="1937590" y="4761029"/>
                  <a:pt x="1733596" y="4087673"/>
                </a:cubicBezTo>
                <a:cubicBezTo>
                  <a:pt x="1606530" y="3672769"/>
                  <a:pt x="1556397" y="3313617"/>
                  <a:pt x="1576277" y="2993363"/>
                </a:cubicBezTo>
                <a:cubicBezTo>
                  <a:pt x="1593132" y="2698176"/>
                  <a:pt x="1670063" y="2402556"/>
                  <a:pt x="1743537" y="2117741"/>
                </a:cubicBezTo>
                <a:cubicBezTo>
                  <a:pt x="1770332" y="2020499"/>
                  <a:pt x="1793670" y="1919366"/>
                  <a:pt x="1817009" y="1820394"/>
                </a:cubicBezTo>
                <a:cubicBezTo>
                  <a:pt x="1963953" y="1202791"/>
                  <a:pt x="2011063" y="589510"/>
                  <a:pt x="1957472" y="865"/>
                </a:cubicBezTo>
                <a:close/>
                <a:moveTo>
                  <a:pt x="1813983" y="865"/>
                </a:moveTo>
                <a:lnTo>
                  <a:pt x="1827381" y="865"/>
                </a:lnTo>
                <a:cubicBezTo>
                  <a:pt x="1884431" y="601612"/>
                  <a:pt x="1837754" y="1227426"/>
                  <a:pt x="1690376" y="1861452"/>
                </a:cubicBezTo>
                <a:cubicBezTo>
                  <a:pt x="1670063" y="1958695"/>
                  <a:pt x="1643267" y="2057667"/>
                  <a:pt x="1619928" y="2152749"/>
                </a:cubicBezTo>
                <a:cubicBezTo>
                  <a:pt x="1546455" y="2439725"/>
                  <a:pt x="1472983" y="2739234"/>
                  <a:pt x="1456128" y="3034421"/>
                </a:cubicBezTo>
                <a:cubicBezTo>
                  <a:pt x="1439272" y="3358565"/>
                  <a:pt x="1492863" y="3715988"/>
                  <a:pt x="1619928" y="4130892"/>
                </a:cubicBezTo>
                <a:cubicBezTo>
                  <a:pt x="1827381" y="4803816"/>
                  <a:pt x="2125161" y="5314234"/>
                  <a:pt x="2553464" y="5739511"/>
                </a:cubicBezTo>
                <a:cubicBezTo>
                  <a:pt x="2660648" y="5847127"/>
                  <a:pt x="2781230" y="5950421"/>
                  <a:pt x="2911750" y="6051554"/>
                </a:cubicBezTo>
                <a:cubicBezTo>
                  <a:pt x="3259665" y="6319945"/>
                  <a:pt x="3708281" y="6577532"/>
                  <a:pt x="4316807" y="6857592"/>
                </a:cubicBezTo>
                <a:lnTo>
                  <a:pt x="4293901" y="6857592"/>
                </a:lnTo>
                <a:cubicBezTo>
                  <a:pt x="3694452" y="6580125"/>
                  <a:pt x="3246700" y="6324267"/>
                  <a:pt x="2898352" y="6055876"/>
                </a:cubicBezTo>
                <a:cubicBezTo>
                  <a:pt x="2770856" y="5956471"/>
                  <a:pt x="2647250" y="5851017"/>
                  <a:pt x="2540066" y="5743834"/>
                </a:cubicBezTo>
                <a:cubicBezTo>
                  <a:pt x="2111764" y="5318557"/>
                  <a:pt x="1813983" y="4806409"/>
                  <a:pt x="1606530" y="4133053"/>
                </a:cubicBezTo>
                <a:cubicBezTo>
                  <a:pt x="1479466" y="3718149"/>
                  <a:pt x="1425874" y="3358565"/>
                  <a:pt x="1442730" y="3034421"/>
                </a:cubicBezTo>
                <a:cubicBezTo>
                  <a:pt x="1459154" y="2737073"/>
                  <a:pt x="1533058" y="2439725"/>
                  <a:pt x="1606530" y="2150589"/>
                </a:cubicBezTo>
                <a:cubicBezTo>
                  <a:pt x="1630301" y="2055506"/>
                  <a:pt x="1653639" y="1956534"/>
                  <a:pt x="1676978" y="1859291"/>
                </a:cubicBezTo>
                <a:cubicBezTo>
                  <a:pt x="1823923" y="1225697"/>
                  <a:pt x="1867576" y="599883"/>
                  <a:pt x="1813983" y="865"/>
                </a:cubicBezTo>
                <a:close/>
                <a:moveTo>
                  <a:pt x="1519660" y="865"/>
                </a:moveTo>
                <a:lnTo>
                  <a:pt x="1533058" y="865"/>
                </a:lnTo>
                <a:cubicBezTo>
                  <a:pt x="1533058" y="17288"/>
                  <a:pt x="1536516" y="35873"/>
                  <a:pt x="1536516" y="52296"/>
                </a:cubicBezTo>
                <a:cubicBezTo>
                  <a:pt x="1593565" y="657364"/>
                  <a:pt x="1549913" y="1291390"/>
                  <a:pt x="1409451" y="1937950"/>
                </a:cubicBezTo>
                <a:cubicBezTo>
                  <a:pt x="1389138" y="2030871"/>
                  <a:pt x="1365799" y="2125954"/>
                  <a:pt x="1342461" y="2218875"/>
                </a:cubicBezTo>
                <a:cubicBezTo>
                  <a:pt x="1275471" y="2511901"/>
                  <a:pt x="1201999" y="2817893"/>
                  <a:pt x="1188601" y="3121292"/>
                </a:cubicBezTo>
                <a:cubicBezTo>
                  <a:pt x="1178660" y="3447597"/>
                  <a:pt x="1235277" y="3807181"/>
                  <a:pt x="1369256" y="4222085"/>
                </a:cubicBezTo>
                <a:cubicBezTo>
                  <a:pt x="1586651" y="4893280"/>
                  <a:pt x="1891345" y="5405427"/>
                  <a:pt x="2329588" y="5830704"/>
                </a:cubicBezTo>
                <a:cubicBezTo>
                  <a:pt x="2436773" y="5938320"/>
                  <a:pt x="2560380" y="6041613"/>
                  <a:pt x="2690902" y="6140585"/>
                </a:cubicBezTo>
                <a:cubicBezTo>
                  <a:pt x="3009859" y="6381316"/>
                  <a:pt x="3397102" y="6607353"/>
                  <a:pt x="3923512" y="6858024"/>
                </a:cubicBezTo>
                <a:lnTo>
                  <a:pt x="3900606" y="6858024"/>
                </a:lnTo>
                <a:cubicBezTo>
                  <a:pt x="3380248" y="6609946"/>
                  <a:pt x="2996461" y="6385639"/>
                  <a:pt x="2680528" y="6147068"/>
                </a:cubicBezTo>
                <a:cubicBezTo>
                  <a:pt x="2550006" y="6047664"/>
                  <a:pt x="2426399" y="5942210"/>
                  <a:pt x="2315758" y="5835026"/>
                </a:cubicBezTo>
                <a:cubicBezTo>
                  <a:pt x="1877515" y="5409749"/>
                  <a:pt x="1572820" y="4895440"/>
                  <a:pt x="1355426" y="4222085"/>
                </a:cubicBezTo>
                <a:cubicBezTo>
                  <a:pt x="1221447" y="3808910"/>
                  <a:pt x="1161372" y="3447597"/>
                  <a:pt x="1174770" y="3121292"/>
                </a:cubicBezTo>
                <a:cubicBezTo>
                  <a:pt x="1188168" y="2817893"/>
                  <a:pt x="1258617" y="2511901"/>
                  <a:pt x="1329063" y="2216714"/>
                </a:cubicBezTo>
                <a:cubicBezTo>
                  <a:pt x="1352401" y="2125954"/>
                  <a:pt x="1372715" y="2030871"/>
                  <a:pt x="1396053" y="1937950"/>
                </a:cubicBezTo>
                <a:cubicBezTo>
                  <a:pt x="1536516" y="1291390"/>
                  <a:pt x="1580167" y="657364"/>
                  <a:pt x="1523118" y="52296"/>
                </a:cubicBezTo>
                <a:cubicBezTo>
                  <a:pt x="1523118" y="35873"/>
                  <a:pt x="1519660" y="17288"/>
                  <a:pt x="1519660" y="865"/>
                </a:cubicBezTo>
                <a:close/>
                <a:moveTo>
                  <a:pt x="927556" y="865"/>
                </a:moveTo>
                <a:lnTo>
                  <a:pt x="940955" y="865"/>
                </a:lnTo>
                <a:cubicBezTo>
                  <a:pt x="950895" y="58347"/>
                  <a:pt x="957379" y="118421"/>
                  <a:pt x="960836" y="182386"/>
                </a:cubicBezTo>
                <a:cubicBezTo>
                  <a:pt x="1010970" y="785294"/>
                  <a:pt x="970777" y="1429692"/>
                  <a:pt x="843711" y="2092675"/>
                </a:cubicBezTo>
                <a:cubicBezTo>
                  <a:pt x="826856" y="2177384"/>
                  <a:pt x="810000" y="2264255"/>
                  <a:pt x="790119" y="2346804"/>
                </a:cubicBezTo>
                <a:cubicBezTo>
                  <a:pt x="726587" y="2656253"/>
                  <a:pt x="659598" y="2974346"/>
                  <a:pt x="656141" y="3292440"/>
                </a:cubicBezTo>
                <a:cubicBezTo>
                  <a:pt x="652683" y="3624796"/>
                  <a:pt x="723130" y="3988269"/>
                  <a:pt x="863592" y="4401445"/>
                </a:cubicBezTo>
                <a:cubicBezTo>
                  <a:pt x="1097840" y="5072639"/>
                  <a:pt x="1422417" y="5584786"/>
                  <a:pt x="1877515" y="6012225"/>
                </a:cubicBezTo>
                <a:cubicBezTo>
                  <a:pt x="1991181" y="6119841"/>
                  <a:pt x="2118679" y="6223134"/>
                  <a:pt x="2255684" y="6322107"/>
                </a:cubicBezTo>
                <a:cubicBezTo>
                  <a:pt x="2527965" y="6522644"/>
                  <a:pt x="2838710" y="6698979"/>
                  <a:pt x="3150753" y="6858024"/>
                </a:cubicBezTo>
                <a:lnTo>
                  <a:pt x="3127414" y="6858024"/>
                </a:lnTo>
                <a:cubicBezTo>
                  <a:pt x="2819694" y="6700707"/>
                  <a:pt x="2514135" y="6525237"/>
                  <a:pt x="2242284" y="6328590"/>
                </a:cubicBezTo>
                <a:cubicBezTo>
                  <a:pt x="2108737" y="6229185"/>
                  <a:pt x="1981241" y="6123730"/>
                  <a:pt x="1867576" y="6016547"/>
                </a:cubicBezTo>
                <a:cubicBezTo>
                  <a:pt x="1409019" y="5589109"/>
                  <a:pt x="1084443" y="5074800"/>
                  <a:pt x="850194" y="4401445"/>
                </a:cubicBezTo>
                <a:cubicBezTo>
                  <a:pt x="706275" y="3990430"/>
                  <a:pt x="639285" y="3626957"/>
                  <a:pt x="642743" y="3292440"/>
                </a:cubicBezTo>
                <a:cubicBezTo>
                  <a:pt x="646200" y="2974346"/>
                  <a:pt x="713190" y="2654525"/>
                  <a:pt x="776722" y="2344643"/>
                </a:cubicBezTo>
                <a:cubicBezTo>
                  <a:pt x="793577" y="2262094"/>
                  <a:pt x="813457" y="2177384"/>
                  <a:pt x="830313" y="2092675"/>
                </a:cubicBezTo>
                <a:cubicBezTo>
                  <a:pt x="957379" y="1429692"/>
                  <a:pt x="997572" y="785294"/>
                  <a:pt x="947438" y="182386"/>
                </a:cubicBezTo>
                <a:cubicBezTo>
                  <a:pt x="944413" y="118421"/>
                  <a:pt x="937497" y="58779"/>
                  <a:pt x="927556" y="865"/>
                </a:cubicBezTo>
                <a:close/>
                <a:moveTo>
                  <a:pt x="482400" y="865"/>
                </a:moveTo>
                <a:lnTo>
                  <a:pt x="495797" y="865"/>
                </a:lnTo>
                <a:cubicBezTo>
                  <a:pt x="515678" y="98108"/>
                  <a:pt x="522593" y="192758"/>
                  <a:pt x="529076" y="279629"/>
                </a:cubicBezTo>
                <a:cubicBezTo>
                  <a:pt x="575753" y="882536"/>
                  <a:pt x="539016" y="1531258"/>
                  <a:pt x="418434" y="2208502"/>
                </a:cubicBezTo>
                <a:cubicBezTo>
                  <a:pt x="405036" y="2286729"/>
                  <a:pt x="391639" y="2365387"/>
                  <a:pt x="374782" y="2439725"/>
                </a:cubicBezTo>
                <a:cubicBezTo>
                  <a:pt x="314708" y="2762141"/>
                  <a:pt x="254202" y="3092335"/>
                  <a:pt x="257659" y="3420801"/>
                </a:cubicBezTo>
                <a:cubicBezTo>
                  <a:pt x="261117" y="3759207"/>
                  <a:pt x="335022" y="4124842"/>
                  <a:pt x="485424" y="4535856"/>
                </a:cubicBezTo>
                <a:cubicBezTo>
                  <a:pt x="729612" y="5198839"/>
                  <a:pt x="1074502" y="5725249"/>
                  <a:pt x="1542998" y="6148797"/>
                </a:cubicBezTo>
                <a:cubicBezTo>
                  <a:pt x="1660122" y="6256413"/>
                  <a:pt x="1787188" y="6359708"/>
                  <a:pt x="1927651" y="6458678"/>
                </a:cubicBezTo>
                <a:cubicBezTo>
                  <a:pt x="2129916" y="6601302"/>
                  <a:pt x="2350767" y="6733553"/>
                  <a:pt x="2581556" y="6857592"/>
                </a:cubicBezTo>
                <a:lnTo>
                  <a:pt x="2559515" y="6857592"/>
                </a:lnTo>
                <a:cubicBezTo>
                  <a:pt x="2333477" y="6735282"/>
                  <a:pt x="2115653" y="6604760"/>
                  <a:pt x="1914251" y="6462569"/>
                </a:cubicBezTo>
                <a:cubicBezTo>
                  <a:pt x="1777246" y="6365325"/>
                  <a:pt x="1646724" y="6262032"/>
                  <a:pt x="1529600" y="6154848"/>
                </a:cubicBezTo>
                <a:cubicBezTo>
                  <a:pt x="1064561" y="5729571"/>
                  <a:pt x="716215" y="5201000"/>
                  <a:pt x="472026" y="4538018"/>
                </a:cubicBezTo>
                <a:cubicBezTo>
                  <a:pt x="321191" y="4124842"/>
                  <a:pt x="247718" y="3761368"/>
                  <a:pt x="244261" y="3420801"/>
                </a:cubicBezTo>
                <a:cubicBezTo>
                  <a:pt x="240804" y="3092335"/>
                  <a:pt x="301310" y="2759980"/>
                  <a:pt x="361385" y="2439725"/>
                </a:cubicBezTo>
                <a:cubicBezTo>
                  <a:pt x="374782" y="2363227"/>
                  <a:pt x="391639" y="2285000"/>
                  <a:pt x="405036" y="2208502"/>
                </a:cubicBezTo>
                <a:cubicBezTo>
                  <a:pt x="525618" y="1531258"/>
                  <a:pt x="562354" y="882536"/>
                  <a:pt x="515678" y="279629"/>
                </a:cubicBezTo>
                <a:cubicBezTo>
                  <a:pt x="509195" y="192758"/>
                  <a:pt x="499254" y="98108"/>
                  <a:pt x="482400" y="865"/>
                </a:cubicBezTo>
                <a:close/>
                <a:moveTo>
                  <a:pt x="331564" y="865"/>
                </a:moveTo>
                <a:lnTo>
                  <a:pt x="344962" y="865"/>
                </a:lnTo>
                <a:cubicBezTo>
                  <a:pt x="368301" y="108481"/>
                  <a:pt x="378674" y="215664"/>
                  <a:pt x="385156" y="312908"/>
                </a:cubicBezTo>
                <a:cubicBezTo>
                  <a:pt x="431833" y="913655"/>
                  <a:pt x="395096" y="1564104"/>
                  <a:pt x="277973" y="2247832"/>
                </a:cubicBezTo>
                <a:cubicBezTo>
                  <a:pt x="264575" y="2322169"/>
                  <a:pt x="251175" y="2398667"/>
                  <a:pt x="237778" y="2470843"/>
                </a:cubicBezTo>
                <a:cubicBezTo>
                  <a:pt x="177703" y="2794987"/>
                  <a:pt x="117628" y="3131665"/>
                  <a:pt x="124111" y="3464020"/>
                </a:cubicBezTo>
                <a:cubicBezTo>
                  <a:pt x="131026" y="3804588"/>
                  <a:pt x="207957" y="4170222"/>
                  <a:pt x="361817" y="4579076"/>
                </a:cubicBezTo>
                <a:cubicBezTo>
                  <a:pt x="609463" y="5244219"/>
                  <a:pt x="957379" y="5770629"/>
                  <a:pt x="1429331" y="6194177"/>
                </a:cubicBezTo>
                <a:cubicBezTo>
                  <a:pt x="1546455" y="6301793"/>
                  <a:pt x="1676978" y="6405087"/>
                  <a:pt x="1817441" y="6504059"/>
                </a:cubicBezTo>
                <a:cubicBezTo>
                  <a:pt x="1996801" y="6628962"/>
                  <a:pt x="2191720" y="6746520"/>
                  <a:pt x="2394850" y="6857592"/>
                </a:cubicBezTo>
                <a:lnTo>
                  <a:pt x="2373240" y="6857592"/>
                </a:lnTo>
                <a:cubicBezTo>
                  <a:pt x="2173136" y="6748248"/>
                  <a:pt x="1983402" y="6632420"/>
                  <a:pt x="1807501" y="6507949"/>
                </a:cubicBezTo>
                <a:cubicBezTo>
                  <a:pt x="1667037" y="6410705"/>
                  <a:pt x="1536516" y="6307412"/>
                  <a:pt x="1415933" y="6200228"/>
                </a:cubicBezTo>
                <a:cubicBezTo>
                  <a:pt x="947438" y="5774951"/>
                  <a:pt x="596065" y="5246380"/>
                  <a:pt x="348419" y="4581237"/>
                </a:cubicBezTo>
                <a:cubicBezTo>
                  <a:pt x="194559" y="4170222"/>
                  <a:pt x="117197" y="3804588"/>
                  <a:pt x="110713" y="3464020"/>
                </a:cubicBezTo>
                <a:cubicBezTo>
                  <a:pt x="103798" y="3131665"/>
                  <a:pt x="164305" y="2794987"/>
                  <a:pt x="224380" y="2470843"/>
                </a:cubicBezTo>
                <a:cubicBezTo>
                  <a:pt x="237778" y="2396505"/>
                  <a:pt x="251175" y="2322169"/>
                  <a:pt x="264575" y="2247832"/>
                </a:cubicBezTo>
                <a:cubicBezTo>
                  <a:pt x="378240" y="1564536"/>
                  <a:pt x="415409" y="913655"/>
                  <a:pt x="371757" y="312908"/>
                </a:cubicBezTo>
                <a:cubicBezTo>
                  <a:pt x="364842" y="215664"/>
                  <a:pt x="354903" y="108048"/>
                  <a:pt x="331564" y="865"/>
                </a:cubicBezTo>
                <a:close/>
                <a:moveTo>
                  <a:pt x="177272" y="865"/>
                </a:moveTo>
                <a:lnTo>
                  <a:pt x="194126" y="865"/>
                </a:lnTo>
                <a:cubicBezTo>
                  <a:pt x="224380" y="118421"/>
                  <a:pt x="234320" y="238571"/>
                  <a:pt x="241235" y="343594"/>
                </a:cubicBezTo>
                <a:cubicBezTo>
                  <a:pt x="284887" y="944340"/>
                  <a:pt x="251175" y="1599111"/>
                  <a:pt x="137509" y="2286729"/>
                </a:cubicBezTo>
                <a:cubicBezTo>
                  <a:pt x="124111" y="2358905"/>
                  <a:pt x="110713" y="2431513"/>
                  <a:pt x="100773" y="2501528"/>
                </a:cubicBezTo>
                <a:cubicBezTo>
                  <a:pt x="72248" y="2665761"/>
                  <a:pt x="42967" y="2833020"/>
                  <a:pt x="21628" y="3001305"/>
                </a:cubicBezTo>
                <a:lnTo>
                  <a:pt x="0" y="3220433"/>
                </a:lnTo>
                <a:lnTo>
                  <a:pt x="0" y="3069197"/>
                </a:lnTo>
                <a:lnTo>
                  <a:pt x="6448" y="3000440"/>
                </a:lnTo>
                <a:cubicBezTo>
                  <a:pt x="26869" y="2832156"/>
                  <a:pt x="55177" y="2664897"/>
                  <a:pt x="83485" y="2499800"/>
                </a:cubicBezTo>
                <a:cubicBezTo>
                  <a:pt x="96883" y="2429353"/>
                  <a:pt x="110281" y="2357177"/>
                  <a:pt x="120222" y="2285000"/>
                </a:cubicBezTo>
                <a:cubicBezTo>
                  <a:pt x="233888" y="1599111"/>
                  <a:pt x="271057" y="944340"/>
                  <a:pt x="227406" y="343594"/>
                </a:cubicBezTo>
                <a:cubicBezTo>
                  <a:pt x="220923" y="238571"/>
                  <a:pt x="210550" y="118421"/>
                  <a:pt x="177272" y="865"/>
                </a:cubicBezTo>
                <a:close/>
                <a:moveTo>
                  <a:pt x="26870" y="865"/>
                </a:moveTo>
                <a:lnTo>
                  <a:pt x="39834" y="865"/>
                </a:lnTo>
                <a:cubicBezTo>
                  <a:pt x="77002" y="129226"/>
                  <a:pt x="90401" y="261045"/>
                  <a:pt x="96883" y="376872"/>
                </a:cubicBezTo>
                <a:cubicBezTo>
                  <a:pt x="129621" y="826136"/>
                  <a:pt x="117142" y="1307976"/>
                  <a:pt x="62180" y="1813458"/>
                </a:cubicBezTo>
                <a:lnTo>
                  <a:pt x="0" y="2275627"/>
                </a:lnTo>
                <a:lnTo>
                  <a:pt x="0" y="2177011"/>
                </a:lnTo>
                <a:lnTo>
                  <a:pt x="49031" y="1812364"/>
                </a:lnTo>
                <a:cubicBezTo>
                  <a:pt x="103933" y="1307733"/>
                  <a:pt x="116656" y="826136"/>
                  <a:pt x="83918" y="376872"/>
                </a:cubicBezTo>
                <a:cubicBezTo>
                  <a:pt x="77002" y="261045"/>
                  <a:pt x="63604" y="128794"/>
                  <a:pt x="26870" y="865"/>
                </a:cubicBezTo>
                <a:close/>
                <a:moveTo>
                  <a:pt x="4005629" y="433"/>
                </a:moveTo>
                <a:lnTo>
                  <a:pt x="4019027" y="433"/>
                </a:lnTo>
                <a:cubicBezTo>
                  <a:pt x="4019027" y="427871"/>
                  <a:pt x="3952037" y="857469"/>
                  <a:pt x="3811575" y="1278857"/>
                </a:cubicBezTo>
                <a:cubicBezTo>
                  <a:pt x="3771381" y="1398574"/>
                  <a:pt x="3728163" y="1518292"/>
                  <a:pt x="3684510" y="1634119"/>
                </a:cubicBezTo>
                <a:cubicBezTo>
                  <a:pt x="3590725" y="1880037"/>
                  <a:pt x="3497371" y="2135894"/>
                  <a:pt x="3453720" y="2392184"/>
                </a:cubicBezTo>
                <a:cubicBezTo>
                  <a:pt x="3403587" y="2696014"/>
                  <a:pt x="3420441" y="3026210"/>
                  <a:pt x="3510769" y="3457970"/>
                </a:cubicBezTo>
                <a:cubicBezTo>
                  <a:pt x="3651231" y="4141265"/>
                  <a:pt x="3875539" y="4632667"/>
                  <a:pt x="4236852" y="5056216"/>
                </a:cubicBezTo>
                <a:cubicBezTo>
                  <a:pt x="4330638" y="5163400"/>
                  <a:pt x="4434363" y="5271016"/>
                  <a:pt x="4551488" y="5372149"/>
                </a:cubicBezTo>
                <a:cubicBezTo>
                  <a:pt x="4905886" y="5688081"/>
                  <a:pt x="5387779" y="5987589"/>
                  <a:pt x="5980314" y="6258142"/>
                </a:cubicBezTo>
                <a:cubicBezTo>
                  <a:pt x="6124234" y="6326428"/>
                  <a:pt x="6271611" y="6390393"/>
                  <a:pt x="6422015" y="6447010"/>
                </a:cubicBezTo>
                <a:cubicBezTo>
                  <a:pt x="6815309" y="6605192"/>
                  <a:pt x="7230213" y="6742197"/>
                  <a:pt x="7663269" y="6856728"/>
                </a:cubicBezTo>
                <a:lnTo>
                  <a:pt x="7626102" y="6856728"/>
                </a:lnTo>
                <a:cubicBezTo>
                  <a:pt x="7206443" y="6743925"/>
                  <a:pt x="6799319" y="6607785"/>
                  <a:pt x="6415531" y="6455654"/>
                </a:cubicBezTo>
                <a:cubicBezTo>
                  <a:pt x="6264696" y="6395579"/>
                  <a:pt x="6114294" y="6331615"/>
                  <a:pt x="5970373" y="6265489"/>
                </a:cubicBezTo>
                <a:cubicBezTo>
                  <a:pt x="5378271" y="5993208"/>
                  <a:pt x="4896376" y="5693699"/>
                  <a:pt x="4538090" y="5375605"/>
                </a:cubicBezTo>
                <a:cubicBezTo>
                  <a:pt x="4424423" y="5274473"/>
                  <a:pt x="4317239" y="5166857"/>
                  <a:pt x="4223454" y="5059673"/>
                </a:cubicBezTo>
                <a:cubicBezTo>
                  <a:pt x="3862141" y="4636558"/>
                  <a:pt x="3637833" y="4142994"/>
                  <a:pt x="3497371" y="3459266"/>
                </a:cubicBezTo>
                <a:cubicBezTo>
                  <a:pt x="3407043" y="3025778"/>
                  <a:pt x="3390188" y="2695150"/>
                  <a:pt x="3440323" y="2391752"/>
                </a:cubicBezTo>
                <a:cubicBezTo>
                  <a:pt x="3483541" y="2133734"/>
                  <a:pt x="3577327" y="1877875"/>
                  <a:pt x="3671113" y="1631957"/>
                </a:cubicBezTo>
                <a:cubicBezTo>
                  <a:pt x="3714332" y="1516131"/>
                  <a:pt x="3757983" y="1396413"/>
                  <a:pt x="3798177" y="1276696"/>
                </a:cubicBezTo>
                <a:cubicBezTo>
                  <a:pt x="3935182" y="855309"/>
                  <a:pt x="4005629" y="427871"/>
                  <a:pt x="4005629" y="433"/>
                </a:cubicBezTo>
                <a:close/>
                <a:moveTo>
                  <a:pt x="1372282" y="433"/>
                </a:moveTo>
                <a:lnTo>
                  <a:pt x="1385681" y="433"/>
                </a:lnTo>
                <a:cubicBezTo>
                  <a:pt x="1388705" y="29390"/>
                  <a:pt x="1392163" y="56185"/>
                  <a:pt x="1392163" y="85142"/>
                </a:cubicBezTo>
                <a:cubicBezTo>
                  <a:pt x="1449213" y="690212"/>
                  <a:pt x="1405561" y="1326398"/>
                  <a:pt x="1268556" y="1976847"/>
                </a:cubicBezTo>
                <a:cubicBezTo>
                  <a:pt x="1248676" y="2068040"/>
                  <a:pt x="1224905" y="2160961"/>
                  <a:pt x="1205024" y="2251722"/>
                </a:cubicBezTo>
                <a:cubicBezTo>
                  <a:pt x="1138035" y="2549069"/>
                  <a:pt x="1067586" y="2856790"/>
                  <a:pt x="1057646" y="3164511"/>
                </a:cubicBezTo>
                <a:cubicBezTo>
                  <a:pt x="1047707" y="3492977"/>
                  <a:pt x="1107781" y="3852129"/>
                  <a:pt x="1241760" y="4265304"/>
                </a:cubicBezTo>
                <a:cubicBezTo>
                  <a:pt x="1462611" y="4938660"/>
                  <a:pt x="1773790" y="5450807"/>
                  <a:pt x="2215489" y="5876084"/>
                </a:cubicBezTo>
                <a:cubicBezTo>
                  <a:pt x="2326131" y="5983700"/>
                  <a:pt x="2449738" y="6086993"/>
                  <a:pt x="2583717" y="6185966"/>
                </a:cubicBezTo>
                <a:cubicBezTo>
                  <a:pt x="2932929" y="6448307"/>
                  <a:pt x="3348266" y="6672614"/>
                  <a:pt x="3730323" y="6858024"/>
                </a:cubicBezTo>
                <a:lnTo>
                  <a:pt x="3705687" y="6858024"/>
                </a:lnTo>
                <a:cubicBezTo>
                  <a:pt x="3326224" y="6674774"/>
                  <a:pt x="2918666" y="6452629"/>
                  <a:pt x="2570320" y="6192449"/>
                </a:cubicBezTo>
                <a:cubicBezTo>
                  <a:pt x="2439797" y="6093044"/>
                  <a:pt x="2315758" y="5987589"/>
                  <a:pt x="2202091" y="5880407"/>
                </a:cubicBezTo>
                <a:cubicBezTo>
                  <a:pt x="1760392" y="5452968"/>
                  <a:pt x="1449213" y="4940821"/>
                  <a:pt x="1228362" y="4267466"/>
                </a:cubicBezTo>
                <a:cubicBezTo>
                  <a:pt x="1094384" y="3854289"/>
                  <a:pt x="1030850" y="3492977"/>
                  <a:pt x="1040791" y="3164511"/>
                </a:cubicBezTo>
                <a:cubicBezTo>
                  <a:pt x="1051163" y="2856790"/>
                  <a:pt x="1124636" y="2547341"/>
                  <a:pt x="1191627" y="2249561"/>
                </a:cubicBezTo>
                <a:cubicBezTo>
                  <a:pt x="1211507" y="2160529"/>
                  <a:pt x="1234846" y="2067608"/>
                  <a:pt x="1251701" y="1974686"/>
                </a:cubicBezTo>
                <a:cubicBezTo>
                  <a:pt x="1392163" y="1326398"/>
                  <a:pt x="1432357" y="690212"/>
                  <a:pt x="1378765" y="85142"/>
                </a:cubicBezTo>
                <a:cubicBezTo>
                  <a:pt x="1375740" y="56185"/>
                  <a:pt x="1375740" y="29390"/>
                  <a:pt x="1372282" y="433"/>
                </a:cubicBezTo>
                <a:close/>
                <a:moveTo>
                  <a:pt x="1225337" y="433"/>
                </a:moveTo>
                <a:lnTo>
                  <a:pt x="1238734" y="433"/>
                </a:lnTo>
                <a:cubicBezTo>
                  <a:pt x="1242193" y="39762"/>
                  <a:pt x="1245218" y="79091"/>
                  <a:pt x="1248676" y="116260"/>
                </a:cubicBezTo>
                <a:cubicBezTo>
                  <a:pt x="1302267" y="721330"/>
                  <a:pt x="1262074" y="1361405"/>
                  <a:pt x="1125069" y="2016176"/>
                </a:cubicBezTo>
                <a:cubicBezTo>
                  <a:pt x="1108213" y="2104776"/>
                  <a:pt x="1087900" y="2195536"/>
                  <a:pt x="1068020" y="2282407"/>
                </a:cubicBezTo>
                <a:cubicBezTo>
                  <a:pt x="1001030" y="2584077"/>
                  <a:pt x="930581" y="2895687"/>
                  <a:pt x="924099" y="3207730"/>
                </a:cubicBezTo>
                <a:cubicBezTo>
                  <a:pt x="914159" y="3536196"/>
                  <a:pt x="977691" y="3897509"/>
                  <a:pt x="1118153" y="4310684"/>
                </a:cubicBezTo>
                <a:cubicBezTo>
                  <a:pt x="1342029" y="4984040"/>
                  <a:pt x="1656665" y="5494027"/>
                  <a:pt x="2101823" y="5921465"/>
                </a:cubicBezTo>
                <a:cubicBezTo>
                  <a:pt x="2215489" y="6029081"/>
                  <a:pt x="2339096" y="6132374"/>
                  <a:pt x="2473076" y="6231346"/>
                </a:cubicBezTo>
                <a:cubicBezTo>
                  <a:pt x="2797651" y="6471212"/>
                  <a:pt x="3177981" y="6680826"/>
                  <a:pt x="3536701" y="6857592"/>
                </a:cubicBezTo>
                <a:lnTo>
                  <a:pt x="3511634" y="6857592"/>
                </a:lnTo>
                <a:cubicBezTo>
                  <a:pt x="3155507" y="6682554"/>
                  <a:pt x="2781230" y="6475103"/>
                  <a:pt x="2463136" y="6237397"/>
                </a:cubicBezTo>
                <a:cubicBezTo>
                  <a:pt x="2329588" y="6137993"/>
                  <a:pt x="2202524" y="6032537"/>
                  <a:pt x="2091882" y="5925354"/>
                </a:cubicBezTo>
                <a:cubicBezTo>
                  <a:pt x="1643267" y="5497916"/>
                  <a:pt x="1329063" y="4985769"/>
                  <a:pt x="1101298" y="4312414"/>
                </a:cubicBezTo>
                <a:cubicBezTo>
                  <a:pt x="964293" y="3899238"/>
                  <a:pt x="900761" y="3536196"/>
                  <a:pt x="910701" y="3205569"/>
                </a:cubicBezTo>
                <a:cubicBezTo>
                  <a:pt x="917616" y="2895687"/>
                  <a:pt x="987631" y="2584077"/>
                  <a:pt x="1054621" y="2282407"/>
                </a:cubicBezTo>
                <a:cubicBezTo>
                  <a:pt x="1074934" y="2193807"/>
                  <a:pt x="1094815" y="2102616"/>
                  <a:pt x="1111671" y="2014016"/>
                </a:cubicBezTo>
                <a:cubicBezTo>
                  <a:pt x="1245218" y="1359677"/>
                  <a:pt x="1288869" y="721330"/>
                  <a:pt x="1235277" y="116260"/>
                </a:cubicBezTo>
                <a:cubicBezTo>
                  <a:pt x="1231819" y="79091"/>
                  <a:pt x="1228794" y="39762"/>
                  <a:pt x="1225337" y="433"/>
                </a:cubicBezTo>
                <a:close/>
                <a:moveTo>
                  <a:pt x="1074069" y="433"/>
                </a:moveTo>
                <a:lnTo>
                  <a:pt x="1090925" y="433"/>
                </a:lnTo>
                <a:cubicBezTo>
                  <a:pt x="1097840" y="47974"/>
                  <a:pt x="1100866" y="97676"/>
                  <a:pt x="1104323" y="149107"/>
                </a:cubicBezTo>
                <a:cubicBezTo>
                  <a:pt x="1157916" y="754176"/>
                  <a:pt x="1117721" y="1394685"/>
                  <a:pt x="983741" y="2053345"/>
                </a:cubicBezTo>
                <a:cubicBezTo>
                  <a:pt x="966887" y="2142376"/>
                  <a:pt x="947006" y="2228815"/>
                  <a:pt x="930150" y="2315686"/>
                </a:cubicBezTo>
                <a:cubicBezTo>
                  <a:pt x="863160" y="2619518"/>
                  <a:pt x="796170" y="2935449"/>
                  <a:pt x="789687" y="3249221"/>
                </a:cubicBezTo>
                <a:cubicBezTo>
                  <a:pt x="783204" y="3581576"/>
                  <a:pt x="850194" y="3942889"/>
                  <a:pt x="990657" y="4356065"/>
                </a:cubicBezTo>
                <a:cubicBezTo>
                  <a:pt x="1221880" y="5027259"/>
                  <a:pt x="1539540" y="5539406"/>
                  <a:pt x="1991614" y="5966845"/>
                </a:cubicBezTo>
                <a:cubicBezTo>
                  <a:pt x="2105282" y="6074461"/>
                  <a:pt x="2228887" y="6177754"/>
                  <a:pt x="2362867" y="6276726"/>
                </a:cubicBezTo>
                <a:cubicBezTo>
                  <a:pt x="2662808" y="6496280"/>
                  <a:pt x="3004672" y="6688605"/>
                  <a:pt x="3342214" y="6858024"/>
                </a:cubicBezTo>
                <a:lnTo>
                  <a:pt x="3320605" y="6858024"/>
                </a:lnTo>
                <a:cubicBezTo>
                  <a:pt x="2985657" y="6690766"/>
                  <a:pt x="2649843" y="6500602"/>
                  <a:pt x="2352927" y="6283209"/>
                </a:cubicBezTo>
                <a:cubicBezTo>
                  <a:pt x="2219381" y="6183805"/>
                  <a:pt x="2091882" y="6078350"/>
                  <a:pt x="1978216" y="5971166"/>
                </a:cubicBezTo>
                <a:cubicBezTo>
                  <a:pt x="1526575" y="5543729"/>
                  <a:pt x="1208483" y="5031581"/>
                  <a:pt x="977691" y="4358225"/>
                </a:cubicBezTo>
                <a:cubicBezTo>
                  <a:pt x="836797" y="3945050"/>
                  <a:pt x="770240" y="3581576"/>
                  <a:pt x="776722" y="3249221"/>
                </a:cubicBezTo>
                <a:cubicBezTo>
                  <a:pt x="783204" y="2935449"/>
                  <a:pt x="850194" y="2619518"/>
                  <a:pt x="913294" y="2313525"/>
                </a:cubicBezTo>
                <a:cubicBezTo>
                  <a:pt x="933608" y="2228815"/>
                  <a:pt x="953489" y="2140216"/>
                  <a:pt x="970344" y="2053345"/>
                </a:cubicBezTo>
                <a:cubicBezTo>
                  <a:pt x="1100866" y="1394253"/>
                  <a:pt x="1141060" y="754176"/>
                  <a:pt x="1090925" y="149107"/>
                </a:cubicBezTo>
                <a:cubicBezTo>
                  <a:pt x="1087468" y="97676"/>
                  <a:pt x="1080552" y="47974"/>
                  <a:pt x="1074069" y="433"/>
                </a:cubicBezTo>
                <a:close/>
                <a:moveTo>
                  <a:pt x="780179" y="433"/>
                </a:moveTo>
                <a:lnTo>
                  <a:pt x="793577" y="433"/>
                </a:lnTo>
                <a:cubicBezTo>
                  <a:pt x="806974" y="74770"/>
                  <a:pt x="813457" y="146946"/>
                  <a:pt x="816915" y="213072"/>
                </a:cubicBezTo>
                <a:cubicBezTo>
                  <a:pt x="867049" y="818140"/>
                  <a:pt x="826856" y="1462539"/>
                  <a:pt x="703249" y="2131572"/>
                </a:cubicBezTo>
                <a:cubicBezTo>
                  <a:pt x="686393" y="2214553"/>
                  <a:pt x="669970" y="2297102"/>
                  <a:pt x="653115" y="2377489"/>
                </a:cubicBezTo>
                <a:cubicBezTo>
                  <a:pt x="589583" y="2691261"/>
                  <a:pt x="526050" y="3013676"/>
                  <a:pt x="522593" y="3335659"/>
                </a:cubicBezTo>
                <a:cubicBezTo>
                  <a:pt x="522593" y="3670175"/>
                  <a:pt x="592609" y="4033650"/>
                  <a:pt x="739985" y="4444664"/>
                </a:cubicBezTo>
                <a:cubicBezTo>
                  <a:pt x="977691" y="5118019"/>
                  <a:pt x="1305292" y="5630167"/>
                  <a:pt x="1767306" y="6057605"/>
                </a:cubicBezTo>
                <a:cubicBezTo>
                  <a:pt x="1880974" y="6165220"/>
                  <a:pt x="2008470" y="6268515"/>
                  <a:pt x="2145475" y="6367487"/>
                </a:cubicBezTo>
                <a:cubicBezTo>
                  <a:pt x="2395282" y="6546846"/>
                  <a:pt x="2675774" y="6709783"/>
                  <a:pt x="2960590" y="6857160"/>
                </a:cubicBezTo>
                <a:lnTo>
                  <a:pt x="2936818" y="6857160"/>
                </a:lnTo>
                <a:cubicBezTo>
                  <a:pt x="2655894" y="6711079"/>
                  <a:pt x="2379290" y="6550304"/>
                  <a:pt x="2135535" y="6373105"/>
                </a:cubicBezTo>
                <a:cubicBezTo>
                  <a:pt x="1998098" y="6273700"/>
                  <a:pt x="1871033" y="6168678"/>
                  <a:pt x="1753909" y="6063223"/>
                </a:cubicBezTo>
                <a:cubicBezTo>
                  <a:pt x="1292327" y="5634057"/>
                  <a:pt x="964293" y="5119748"/>
                  <a:pt x="726587" y="4446393"/>
                </a:cubicBezTo>
                <a:cubicBezTo>
                  <a:pt x="579642" y="4033218"/>
                  <a:pt x="509195" y="3669743"/>
                  <a:pt x="509195" y="3335227"/>
                </a:cubicBezTo>
                <a:cubicBezTo>
                  <a:pt x="512652" y="3013243"/>
                  <a:pt x="576185" y="2689099"/>
                  <a:pt x="639717" y="2377057"/>
                </a:cubicBezTo>
                <a:cubicBezTo>
                  <a:pt x="656141" y="2296670"/>
                  <a:pt x="672995" y="2211960"/>
                  <a:pt x="686393" y="2129411"/>
                </a:cubicBezTo>
                <a:cubicBezTo>
                  <a:pt x="813457" y="1462539"/>
                  <a:pt x="853652" y="818140"/>
                  <a:pt x="803517" y="215232"/>
                </a:cubicBezTo>
                <a:cubicBezTo>
                  <a:pt x="797035" y="146946"/>
                  <a:pt x="790119" y="74770"/>
                  <a:pt x="780179" y="433"/>
                </a:cubicBezTo>
                <a:close/>
                <a:moveTo>
                  <a:pt x="628912" y="433"/>
                </a:moveTo>
                <a:lnTo>
                  <a:pt x="645768" y="433"/>
                </a:lnTo>
                <a:cubicBezTo>
                  <a:pt x="659165" y="85142"/>
                  <a:pt x="669106" y="169852"/>
                  <a:pt x="672563" y="246350"/>
                </a:cubicBezTo>
                <a:cubicBezTo>
                  <a:pt x="719672" y="849258"/>
                  <a:pt x="682504" y="1497546"/>
                  <a:pt x="558897" y="2170901"/>
                </a:cubicBezTo>
                <a:cubicBezTo>
                  <a:pt x="545499" y="2249128"/>
                  <a:pt x="528644" y="2329516"/>
                  <a:pt x="515245" y="2408175"/>
                </a:cubicBezTo>
                <a:cubicBezTo>
                  <a:pt x="451713" y="2726268"/>
                  <a:pt x="388180" y="3052574"/>
                  <a:pt x="391639" y="3378879"/>
                </a:cubicBezTo>
                <a:cubicBezTo>
                  <a:pt x="391639" y="3715556"/>
                  <a:pt x="465112" y="4079029"/>
                  <a:pt x="612488" y="4490044"/>
                </a:cubicBezTo>
                <a:cubicBezTo>
                  <a:pt x="856678" y="5163400"/>
                  <a:pt x="1188168" y="5675547"/>
                  <a:pt x="1653207" y="6102985"/>
                </a:cubicBezTo>
                <a:cubicBezTo>
                  <a:pt x="1770332" y="6210601"/>
                  <a:pt x="1897829" y="6313895"/>
                  <a:pt x="2034834" y="6412867"/>
                </a:cubicBezTo>
                <a:cubicBezTo>
                  <a:pt x="2262167" y="6574938"/>
                  <a:pt x="2510676" y="6721884"/>
                  <a:pt x="2768696" y="6857592"/>
                </a:cubicBezTo>
                <a:lnTo>
                  <a:pt x="2748382" y="6857592"/>
                </a:lnTo>
                <a:cubicBezTo>
                  <a:pt x="2493821" y="6724045"/>
                  <a:pt x="2248768" y="6578828"/>
                  <a:pt x="2024893" y="6419349"/>
                </a:cubicBezTo>
                <a:cubicBezTo>
                  <a:pt x="1887456" y="6319945"/>
                  <a:pt x="1756935" y="6214923"/>
                  <a:pt x="1643267" y="6109468"/>
                </a:cubicBezTo>
                <a:cubicBezTo>
                  <a:pt x="1174770" y="5679869"/>
                  <a:pt x="843711" y="5165560"/>
                  <a:pt x="599091" y="4492205"/>
                </a:cubicBezTo>
                <a:cubicBezTo>
                  <a:pt x="451713" y="4079461"/>
                  <a:pt x="378240" y="3715988"/>
                  <a:pt x="374782" y="3379311"/>
                </a:cubicBezTo>
                <a:cubicBezTo>
                  <a:pt x="374782" y="3053006"/>
                  <a:pt x="438315" y="2724540"/>
                  <a:pt x="501847" y="2408607"/>
                </a:cubicBezTo>
                <a:cubicBezTo>
                  <a:pt x="515245" y="2330380"/>
                  <a:pt x="532101" y="2249561"/>
                  <a:pt x="545499" y="2169173"/>
                </a:cubicBezTo>
                <a:cubicBezTo>
                  <a:pt x="669106" y="1497978"/>
                  <a:pt x="705841" y="849258"/>
                  <a:pt x="659165" y="246350"/>
                </a:cubicBezTo>
                <a:cubicBezTo>
                  <a:pt x="652251" y="169852"/>
                  <a:pt x="645768" y="85142"/>
                  <a:pt x="628912" y="433"/>
                </a:cubicBezTo>
                <a:close/>
                <a:moveTo>
                  <a:pt x="4150413" y="0"/>
                </a:moveTo>
                <a:lnTo>
                  <a:pt x="4163811" y="0"/>
                </a:lnTo>
                <a:cubicBezTo>
                  <a:pt x="4160354" y="414905"/>
                  <a:pt x="4089906" y="830242"/>
                  <a:pt x="3952901" y="1239096"/>
                </a:cubicBezTo>
                <a:cubicBezTo>
                  <a:pt x="3912708" y="1359244"/>
                  <a:pt x="3866031" y="1480691"/>
                  <a:pt x="3822380" y="1596518"/>
                </a:cubicBezTo>
                <a:cubicBezTo>
                  <a:pt x="3728595" y="1842004"/>
                  <a:pt x="3631783" y="2093971"/>
                  <a:pt x="3588131" y="2348100"/>
                </a:cubicBezTo>
                <a:cubicBezTo>
                  <a:pt x="3534540" y="2651932"/>
                  <a:pt x="3551395" y="2980397"/>
                  <a:pt x="3638265" y="3413886"/>
                </a:cubicBezTo>
                <a:cubicBezTo>
                  <a:pt x="3771814" y="4095452"/>
                  <a:pt x="3992663" y="4589016"/>
                  <a:pt x="4350951" y="5010403"/>
                </a:cubicBezTo>
                <a:cubicBezTo>
                  <a:pt x="4441278" y="5117587"/>
                  <a:pt x="4545005" y="5225203"/>
                  <a:pt x="4658670" y="5326336"/>
                </a:cubicBezTo>
                <a:cubicBezTo>
                  <a:pt x="5016958" y="5644429"/>
                  <a:pt x="5495395" y="5943938"/>
                  <a:pt x="6081015" y="6214491"/>
                </a:cubicBezTo>
                <a:cubicBezTo>
                  <a:pt x="6224935" y="6280616"/>
                  <a:pt x="6372312" y="6344581"/>
                  <a:pt x="6522715" y="6404654"/>
                </a:cubicBezTo>
                <a:cubicBezTo>
                  <a:pt x="6931137" y="6568024"/>
                  <a:pt x="7369379" y="6708486"/>
                  <a:pt x="7824477" y="6826042"/>
                </a:cubicBezTo>
                <a:cubicBezTo>
                  <a:pt x="7865969" y="6836847"/>
                  <a:pt x="7908323" y="6847220"/>
                  <a:pt x="7951543" y="6857160"/>
                </a:cubicBezTo>
                <a:lnTo>
                  <a:pt x="7910051" y="6857160"/>
                </a:lnTo>
                <a:cubicBezTo>
                  <a:pt x="7878934" y="6849381"/>
                  <a:pt x="7848248" y="6841601"/>
                  <a:pt x="7817994" y="6833822"/>
                </a:cubicBezTo>
                <a:cubicBezTo>
                  <a:pt x="7362897" y="6715833"/>
                  <a:pt x="6924654" y="6573210"/>
                  <a:pt x="6516232" y="6410273"/>
                </a:cubicBezTo>
                <a:cubicBezTo>
                  <a:pt x="6365397" y="6350198"/>
                  <a:pt x="6218452" y="6288395"/>
                  <a:pt x="6071074" y="6220110"/>
                </a:cubicBezTo>
                <a:cubicBezTo>
                  <a:pt x="5485455" y="5949557"/>
                  <a:pt x="5007019" y="5650480"/>
                  <a:pt x="4648731" y="5330225"/>
                </a:cubicBezTo>
                <a:cubicBezTo>
                  <a:pt x="4535064" y="5229092"/>
                  <a:pt x="4427881" y="5121477"/>
                  <a:pt x="4337553" y="5014293"/>
                </a:cubicBezTo>
                <a:cubicBezTo>
                  <a:pt x="3979698" y="4591177"/>
                  <a:pt x="3758416" y="4097614"/>
                  <a:pt x="3621411" y="3413886"/>
                </a:cubicBezTo>
                <a:cubicBezTo>
                  <a:pt x="3534540" y="2979965"/>
                  <a:pt x="3521142" y="2651500"/>
                  <a:pt x="3574733" y="2348100"/>
                </a:cubicBezTo>
                <a:cubicBezTo>
                  <a:pt x="3618386" y="2092242"/>
                  <a:pt x="3715197" y="1840274"/>
                  <a:pt x="3808982" y="1594358"/>
                </a:cubicBezTo>
                <a:cubicBezTo>
                  <a:pt x="3852633" y="1478530"/>
                  <a:pt x="3899309" y="1356652"/>
                  <a:pt x="3939503" y="1239096"/>
                </a:cubicBezTo>
                <a:cubicBezTo>
                  <a:pt x="4076940" y="830242"/>
                  <a:pt x="4146956" y="414905"/>
                  <a:pt x="4150413" y="0"/>
                </a:cubicBezTo>
                <a:close/>
              </a:path>
            </a:pathLst>
          </a:custGeom>
          <a:gradFill>
            <a:gsLst>
              <a:gs pos="100000">
                <a:srgbClr val="28246F">
                  <a:alpha val="0"/>
                </a:srgbClr>
              </a:gs>
              <a:gs pos="44000">
                <a:srgbClr val="52BE6F">
                  <a:alpha val="25000"/>
                </a:srgbClr>
              </a:gs>
              <a:gs pos="0">
                <a:srgbClr val="3BCCFF">
                  <a:alpha val="0"/>
                </a:srgbClr>
              </a:gs>
              <a:gs pos="73000">
                <a:srgbClr val="F69F0C"/>
              </a:gs>
            </a:gsLst>
            <a:lin ang="3000000" scaled="0"/>
          </a:gra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B2E4CC6-7EEA-437A-A31E-412B3CF78E06}"/>
              </a:ext>
            </a:extLst>
          </p:cNvPr>
          <p:cNvSpPr/>
          <p:nvPr userDrawn="1"/>
        </p:nvSpPr>
        <p:spPr>
          <a:xfrm>
            <a:off x="0" y="-445"/>
            <a:ext cx="10694504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7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5F8D570-CED1-4E56-B5C1-8BA17EBFFC5B}"/>
              </a:ext>
            </a:extLst>
          </p:cNvPr>
          <p:cNvSpPr/>
          <p:nvPr userDrawn="1"/>
        </p:nvSpPr>
        <p:spPr>
          <a:xfrm>
            <a:off x="0" y="0"/>
            <a:ext cx="10694504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7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B35BDF-1297-984E-B173-15E722BAFBA5}"/>
              </a:ext>
            </a:extLst>
          </p:cNvPr>
          <p:cNvCxnSpPr>
            <a:cxnSpLocks/>
          </p:cNvCxnSpPr>
          <p:nvPr userDrawn="1"/>
        </p:nvCxnSpPr>
        <p:spPr>
          <a:xfrm>
            <a:off x="468557" y="5064093"/>
            <a:ext cx="5453272" cy="0"/>
          </a:xfrm>
          <a:prstGeom prst="line">
            <a:avLst/>
          </a:prstGeom>
          <a:ln>
            <a:gradFill flip="none" rotWithShape="1">
              <a:gsLst>
                <a:gs pos="1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468557" y="2872222"/>
            <a:ext cx="5453272" cy="197248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557" y="5283483"/>
            <a:ext cx="54532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cap="all" spc="300" baseline="0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6068C5C2-54DA-45E5-97D4-A185791B0F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549" y="880346"/>
            <a:ext cx="2541915" cy="107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0323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1752" y="5768975"/>
            <a:ext cx="1158240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E9BD2B-04CC-4362-A75E-8B88A793C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48594"/>
            <a:ext cx="11582401" cy="4009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D4950A0-7607-4B90-B4BE-901792B45D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1752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219200"/>
            <a:ext cx="11582400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D618287-440B-40DC-99EF-0A7C0C3EBB38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rgbClr val="F79F0A"/>
              </a:gs>
              <a:gs pos="66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70558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bg>
      <p:bgPr>
        <a:solidFill>
          <a:srgbClr val="001E54"/>
        </a:solidFill>
        <a:effectLst/>
      </p:bgPr>
    </p:bg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403BEBD-DDD5-2F1C-025A-C734B4931E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751" y="1233610"/>
            <a:ext cx="7311194" cy="3096019"/>
          </a:xfrm>
          <a:prstGeom prst="rect">
            <a:avLst/>
          </a:prstGeom>
        </p:spPr>
        <p:txBody>
          <a:bodyPr/>
          <a:lstStyle>
            <a:lvl1pPr algn="l">
              <a:defRPr sz="5400" b="1" spc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algn="ctr">
              <a:defRPr>
                <a:latin typeface="Century Gothic" panose="020B0502020202020204" pitchFamily="34" charset="0"/>
              </a:defRPr>
            </a:lvl2pPr>
            <a:lvl3pPr algn="ctr">
              <a:defRPr>
                <a:latin typeface="Century Gothic" panose="020B0502020202020204" pitchFamily="34" charset="0"/>
              </a:defRPr>
            </a:lvl3pPr>
            <a:lvl4pPr algn="ctr">
              <a:defRPr>
                <a:latin typeface="Century Gothic" panose="020B0502020202020204" pitchFamily="34" charset="0"/>
              </a:defRPr>
            </a:lvl4pPr>
            <a:lvl5pPr algn="ctr"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4AAAA159-FF0B-232C-5FF8-3DB1F5463E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751" y="5624391"/>
            <a:ext cx="1173515" cy="495697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4C8ACF8-E72F-15E4-276C-F7F72FA232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395873" y="5349605"/>
            <a:ext cx="1823753" cy="770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Insert Client Logo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E5B520-CCA6-0B71-AD70-D3DD65379671}"/>
              </a:ext>
            </a:extLst>
          </p:cNvPr>
          <p:cNvCxnSpPr>
            <a:cxnSpLocks/>
          </p:cNvCxnSpPr>
          <p:nvPr userDrawn="1"/>
        </p:nvCxnSpPr>
        <p:spPr>
          <a:xfrm>
            <a:off x="2047121" y="5349668"/>
            <a:ext cx="0" cy="7704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3364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Content 1">
    <p:bg>
      <p:bgPr>
        <a:solidFill>
          <a:schemeClr val="bg1"/>
        </a:solidFill>
        <a:effectLst/>
      </p:bgPr>
    </p:bg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403BEBD-DDD5-2F1C-025A-C734B4931E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751" y="1233610"/>
            <a:ext cx="7311194" cy="3096019"/>
          </a:xfrm>
          <a:prstGeom prst="rect">
            <a:avLst/>
          </a:prstGeom>
        </p:spPr>
        <p:txBody>
          <a:bodyPr/>
          <a:lstStyle>
            <a:lvl1pPr algn="l">
              <a:defRPr sz="5400" b="1" spc="0" baseline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algn="ctr">
              <a:defRPr>
                <a:latin typeface="Century Gothic" panose="020B0502020202020204" pitchFamily="34" charset="0"/>
              </a:defRPr>
            </a:lvl2pPr>
            <a:lvl3pPr algn="ctr">
              <a:defRPr>
                <a:latin typeface="Century Gothic" panose="020B0502020202020204" pitchFamily="34" charset="0"/>
              </a:defRPr>
            </a:lvl3pPr>
            <a:lvl4pPr algn="ctr">
              <a:defRPr>
                <a:latin typeface="Century Gothic" panose="020B0502020202020204" pitchFamily="34" charset="0"/>
              </a:defRPr>
            </a:lvl4pPr>
            <a:lvl5pPr algn="ctr"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4AAAA159-FF0B-232C-5FF8-3DB1F5463E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751" y="5349728"/>
            <a:ext cx="1823753" cy="7703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4C8ACF8-E72F-15E4-276C-F7F72FA232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113907" y="5349668"/>
            <a:ext cx="1823753" cy="770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Insert Client Logo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E5B520-CCA6-0B71-AD70-D3DD65379671}"/>
              </a:ext>
            </a:extLst>
          </p:cNvPr>
          <p:cNvCxnSpPr>
            <a:cxnSpLocks/>
          </p:cNvCxnSpPr>
          <p:nvPr userDrawn="1"/>
        </p:nvCxnSpPr>
        <p:spPr>
          <a:xfrm>
            <a:off x="2773705" y="5349668"/>
            <a:ext cx="0" cy="770483"/>
          </a:xfrm>
          <a:prstGeom prst="line">
            <a:avLst/>
          </a:prstGeom>
          <a:ln>
            <a:solidFill>
              <a:srgbClr val="0047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79509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Century Gothic" panose="020B0502020202020204" pitchFamily="34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9/1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Century Gothic" panose="020B0502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3674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B1C629F-0973-602C-B1FE-38E562AA7CD5}"/>
              </a:ext>
            </a:extLst>
          </p:cNvPr>
          <p:cNvGrpSpPr/>
          <p:nvPr userDrawn="1"/>
        </p:nvGrpSpPr>
        <p:grpSpPr>
          <a:xfrm>
            <a:off x="0" y="-887"/>
            <a:ext cx="12195176" cy="6858889"/>
            <a:chOff x="0" y="-889"/>
            <a:chExt cx="12192000" cy="6858889"/>
          </a:xfrm>
        </p:grpSpPr>
        <p:sp>
          <p:nvSpPr>
            <p:cNvPr id="3" name="Freeform 15">
              <a:extLst>
                <a:ext uri="{FF2B5EF4-FFF2-40B4-BE49-F238E27FC236}">
                  <a16:creationId xmlns:a16="http://schemas.microsoft.com/office/drawing/2014/main" id="{2AD37FF6-0131-6CB6-9EEC-B998EC8572E0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799">
                <a:latin typeface="Arial" panose="020B0604020202020204" pitchFamily="34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A74B52A-F6F1-2B7D-7E22-74B2FE44AB62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799">
                <a:latin typeface="Arial" panose="020B0604020202020204" pitchFamily="34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CDE69D4-6467-5571-E2B8-871ABBB06DB8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B259BD-9D69-C891-7462-B149B66B263C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©2025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757CCD7-A737-6DB6-7C11-BCFB6D3BA214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E47C2A7F-80A4-0147-58BB-359B04207C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42025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E47C2A7F-80A4-0147-58BB-359B04207C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28972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gradFill flip="none" rotWithShape="1">
            <a:gsLst>
              <a:gs pos="81000">
                <a:schemeClr val="accent3"/>
              </a:gs>
              <a:gs pos="41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EA9CA8-4796-209C-5BCA-E0DF9973CFE0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pPr algn="r"/>
              <a:t>‹#›</a:t>
            </a:fld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C48E51-5614-F41E-5FFA-45EBB46E59B4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t>©2024 Acquis Consulting Group, L.L.C.</a:t>
            </a:r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C618CC-DE1B-0404-40DF-E8BF747E1918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2D34477F-8CAC-8110-3DD0-7B1C800E8779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133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EC7457C-2383-C995-688D-3A3E617414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65127"/>
            <a:ext cx="10515600" cy="536575"/>
          </a:xfrm>
          <a:prstGeom prst="rect">
            <a:avLst/>
          </a:prstGeom>
        </p:spPr>
        <p:txBody>
          <a:bodyPr/>
          <a:lstStyle>
            <a:lvl1pPr algn="ctr" defTabSz="91385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98" b="1" kern="1200" cap="none" spc="300" baseline="0" dirty="0">
                <a:solidFill>
                  <a:schemeClr val="accent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D3533D-9C6B-B68F-F1DE-42B972FC424B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E841C2-A3DC-BAAC-989A-E36B93BDDDEE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©2025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DE41EB-9D1E-8255-4A90-01058F8A7BD6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D8BE3DCA-D966-1FE1-29D0-93C8EB3281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50440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250606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703"/>
            <a:ext cx="11585448" cy="79284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752" y="5768979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F56BB7-CB05-4C93-B90E-4B868380772B}"/>
              </a:ext>
            </a:extLst>
          </p:cNvPr>
          <p:cNvSpPr/>
          <p:nvPr/>
        </p:nvSpPr>
        <p:spPr>
          <a:xfrm>
            <a:off x="2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rgbClr val="F79F0A"/>
              </a:gs>
              <a:gs pos="66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2638700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FF3EF0C9-7054-4616-8F06-3EFAC24F1EDC}"/>
              </a:ext>
            </a:extLst>
          </p:cNvPr>
          <p:cNvSpPr/>
          <p:nvPr userDrawn="1"/>
        </p:nvSpPr>
        <p:spPr>
          <a:xfrm>
            <a:off x="3942557" y="-2381"/>
            <a:ext cx="8242300" cy="6858000"/>
          </a:xfrm>
          <a:prstGeom prst="rect">
            <a:avLst/>
          </a:prstGeom>
          <a:gradFill flip="none" rotWithShape="1">
            <a:gsLst>
              <a:gs pos="64000">
                <a:schemeClr val="bg1">
                  <a:alpha val="92000"/>
                </a:schemeClr>
              </a:gs>
              <a:gs pos="81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7">
              <a:latin typeface="Arial" panose="020B060402020202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540B623-2E62-4065-9A02-3CBC6C616690}"/>
              </a:ext>
            </a:extLst>
          </p:cNvPr>
          <p:cNvSpPr/>
          <p:nvPr userDrawn="1"/>
        </p:nvSpPr>
        <p:spPr>
          <a:xfrm>
            <a:off x="323090" y="-7630"/>
            <a:ext cx="5877461" cy="6860868"/>
          </a:xfrm>
          <a:custGeom>
            <a:avLst/>
            <a:gdLst>
              <a:gd name="connsiteX0" fmla="*/ 0 w 6710000"/>
              <a:gd name="connsiteY0" fmla="*/ 6767133 h 6858000"/>
              <a:gd name="connsiteX1" fmla="*/ 61409 w 6710000"/>
              <a:gd name="connsiteY1" fmla="*/ 6858000 h 6858000"/>
              <a:gd name="connsiteX2" fmla="*/ 42656 w 6710000"/>
              <a:gd name="connsiteY2" fmla="*/ 6858000 h 6858000"/>
              <a:gd name="connsiteX3" fmla="*/ 0 w 6710000"/>
              <a:gd name="connsiteY3" fmla="*/ 6794901 h 6858000"/>
              <a:gd name="connsiteX4" fmla="*/ 0 w 6710000"/>
              <a:gd name="connsiteY4" fmla="*/ 6468280 h 6858000"/>
              <a:gd name="connsiteX5" fmla="*/ 72167 w 6710000"/>
              <a:gd name="connsiteY5" fmla="*/ 6593013 h 6858000"/>
              <a:gd name="connsiteX6" fmla="*/ 233941 w 6710000"/>
              <a:gd name="connsiteY6" fmla="*/ 6835826 h 6858000"/>
              <a:gd name="connsiteX7" fmla="*/ 250890 w 6710000"/>
              <a:gd name="connsiteY7" fmla="*/ 6858000 h 6858000"/>
              <a:gd name="connsiteX8" fmla="*/ 230297 w 6710000"/>
              <a:gd name="connsiteY8" fmla="*/ 6858000 h 6858000"/>
              <a:gd name="connsiteX9" fmla="*/ 217393 w 6710000"/>
              <a:gd name="connsiteY9" fmla="*/ 6841108 h 6858000"/>
              <a:gd name="connsiteX10" fmla="*/ 55623 w 6710000"/>
              <a:gd name="connsiteY10" fmla="*/ 6598099 h 6858000"/>
              <a:gd name="connsiteX11" fmla="*/ 0 w 6710000"/>
              <a:gd name="connsiteY11" fmla="*/ 6501837 h 6858000"/>
              <a:gd name="connsiteX12" fmla="*/ 0 w 6710000"/>
              <a:gd name="connsiteY12" fmla="*/ 6127856 h 6858000"/>
              <a:gd name="connsiteX13" fmla="*/ 74782 w 6710000"/>
              <a:gd name="connsiteY13" fmla="*/ 6280093 h 6858000"/>
              <a:gd name="connsiteX14" fmla="*/ 259740 w 6710000"/>
              <a:gd name="connsiteY14" fmla="*/ 6599011 h 6858000"/>
              <a:gd name="connsiteX15" fmla="*/ 439100 w 6710000"/>
              <a:gd name="connsiteY15" fmla="*/ 6858000 h 6858000"/>
              <a:gd name="connsiteX16" fmla="*/ 420644 w 6710000"/>
              <a:gd name="connsiteY16" fmla="*/ 6858000 h 6858000"/>
              <a:gd name="connsiteX17" fmla="*/ 243317 w 6710000"/>
              <a:gd name="connsiteY17" fmla="*/ 6602664 h 6858000"/>
              <a:gd name="connsiteX18" fmla="*/ 57373 w 6710000"/>
              <a:gd name="connsiteY18" fmla="*/ 6283122 h 6858000"/>
              <a:gd name="connsiteX19" fmla="*/ 0 w 6710000"/>
              <a:gd name="connsiteY19" fmla="*/ 6166955 h 6858000"/>
              <a:gd name="connsiteX20" fmla="*/ 0 w 6710000"/>
              <a:gd name="connsiteY20" fmla="*/ 5727262 h 6858000"/>
              <a:gd name="connsiteX21" fmla="*/ 93060 w 6710000"/>
              <a:gd name="connsiteY21" fmla="*/ 5950881 h 6858000"/>
              <a:gd name="connsiteX22" fmla="*/ 528035 w 6710000"/>
              <a:gd name="connsiteY22" fmla="*/ 6723817 h 6858000"/>
              <a:gd name="connsiteX23" fmla="*/ 626660 w 6710000"/>
              <a:gd name="connsiteY23" fmla="*/ 6858000 h 6858000"/>
              <a:gd name="connsiteX24" fmla="*/ 607172 w 6710000"/>
              <a:gd name="connsiteY24" fmla="*/ 6858000 h 6858000"/>
              <a:gd name="connsiteX25" fmla="*/ 511220 w 6710000"/>
              <a:gd name="connsiteY25" fmla="*/ 6727192 h 6858000"/>
              <a:gd name="connsiteX26" fmla="*/ 76244 w 6710000"/>
              <a:gd name="connsiteY26" fmla="*/ 5953636 h 6858000"/>
              <a:gd name="connsiteX27" fmla="*/ 0 w 6710000"/>
              <a:gd name="connsiteY27" fmla="*/ 5770403 h 6858000"/>
              <a:gd name="connsiteX28" fmla="*/ 0 w 6710000"/>
              <a:gd name="connsiteY28" fmla="*/ 5218362 h 6858000"/>
              <a:gd name="connsiteX29" fmla="*/ 23141 w 6710000"/>
              <a:gd name="connsiteY29" fmla="*/ 5299255 h 6858000"/>
              <a:gd name="connsiteX30" fmla="*/ 677327 w 6710000"/>
              <a:gd name="connsiteY30" fmla="*/ 6667002 h 6858000"/>
              <a:gd name="connsiteX31" fmla="*/ 818345 w 6710000"/>
              <a:gd name="connsiteY31" fmla="*/ 6858000 h 6858000"/>
              <a:gd name="connsiteX32" fmla="*/ 797399 w 6710000"/>
              <a:gd name="connsiteY32" fmla="*/ 6858000 h 6858000"/>
              <a:gd name="connsiteX33" fmla="*/ 659968 w 6710000"/>
              <a:gd name="connsiteY33" fmla="*/ 6671426 h 6858000"/>
              <a:gd name="connsiteX34" fmla="*/ 5783 w 6710000"/>
              <a:gd name="connsiteY34" fmla="*/ 5299255 h 6858000"/>
              <a:gd name="connsiteX35" fmla="*/ 0 w 6710000"/>
              <a:gd name="connsiteY35" fmla="*/ 5279204 h 6858000"/>
              <a:gd name="connsiteX36" fmla="*/ 0 w 6710000"/>
              <a:gd name="connsiteY36" fmla="*/ 4465450 h 6858000"/>
              <a:gd name="connsiteX37" fmla="*/ 5037 w 6710000"/>
              <a:gd name="connsiteY37" fmla="*/ 4510117 h 6858000"/>
              <a:gd name="connsiteX38" fmla="*/ 182081 w 6710000"/>
              <a:gd name="connsiteY38" fmla="*/ 5242297 h 6858000"/>
              <a:gd name="connsiteX39" fmla="*/ 990300 w 6710000"/>
              <a:gd name="connsiteY39" fmla="*/ 6839127 h 6858000"/>
              <a:gd name="connsiteX40" fmla="*/ 1006050 w 6710000"/>
              <a:gd name="connsiteY40" fmla="*/ 6858000 h 6858000"/>
              <a:gd name="connsiteX41" fmla="*/ 984214 w 6710000"/>
              <a:gd name="connsiteY41" fmla="*/ 6858000 h 6858000"/>
              <a:gd name="connsiteX42" fmla="*/ 972958 w 6710000"/>
              <a:gd name="connsiteY42" fmla="*/ 6844510 h 6858000"/>
              <a:gd name="connsiteX43" fmla="*/ 160926 w 6710000"/>
              <a:gd name="connsiteY43" fmla="*/ 5245010 h 6858000"/>
              <a:gd name="connsiteX44" fmla="*/ 55970 w 6710000"/>
              <a:gd name="connsiteY44" fmla="*/ 4866800 h 6858000"/>
              <a:gd name="connsiteX45" fmla="*/ 0 w 6710000"/>
              <a:gd name="connsiteY45" fmla="*/ 4583010 h 6858000"/>
              <a:gd name="connsiteX46" fmla="*/ 5126028 w 6710000"/>
              <a:gd name="connsiteY46" fmla="*/ 2170 h 6858000"/>
              <a:gd name="connsiteX47" fmla="*/ 5142843 w 6710000"/>
              <a:gd name="connsiteY47" fmla="*/ 2170 h 6858000"/>
              <a:gd name="connsiteX48" fmla="*/ 4865649 w 6710000"/>
              <a:gd name="connsiteY48" fmla="*/ 1121800 h 6858000"/>
              <a:gd name="connsiteX49" fmla="*/ 4655718 w 6710000"/>
              <a:gd name="connsiteY49" fmla="*/ 1593737 h 6858000"/>
              <a:gd name="connsiteX50" fmla="*/ 4311259 w 6710000"/>
              <a:gd name="connsiteY50" fmla="*/ 2464379 h 6858000"/>
              <a:gd name="connsiteX51" fmla="*/ 4290102 w 6710000"/>
              <a:gd name="connsiteY51" fmla="*/ 3778751 h 6858000"/>
              <a:gd name="connsiteX52" fmla="*/ 5033811 w 6710000"/>
              <a:gd name="connsiteY52" fmla="*/ 5774448 h 6858000"/>
              <a:gd name="connsiteX53" fmla="*/ 5386407 w 6710000"/>
              <a:gd name="connsiteY53" fmla="*/ 6176406 h 6858000"/>
              <a:gd name="connsiteX54" fmla="*/ 6134792 w 6710000"/>
              <a:gd name="connsiteY54" fmla="*/ 6775957 h 6858000"/>
              <a:gd name="connsiteX55" fmla="*/ 6263750 w 6710000"/>
              <a:gd name="connsiteY55" fmla="*/ 6858000 h 6858000"/>
              <a:gd name="connsiteX56" fmla="*/ 6240757 w 6710000"/>
              <a:gd name="connsiteY56" fmla="*/ 6858000 h 6858000"/>
              <a:gd name="connsiteX57" fmla="*/ 6121638 w 6710000"/>
              <a:gd name="connsiteY57" fmla="*/ 6782466 h 6858000"/>
              <a:gd name="connsiteX58" fmla="*/ 5373930 w 6710000"/>
              <a:gd name="connsiteY58" fmla="*/ 6180746 h 6858000"/>
              <a:gd name="connsiteX59" fmla="*/ 5016994 w 6710000"/>
              <a:gd name="connsiteY59" fmla="*/ 5778787 h 6858000"/>
              <a:gd name="connsiteX60" fmla="*/ 4273287 w 6710000"/>
              <a:gd name="connsiteY60" fmla="*/ 3777665 h 6858000"/>
              <a:gd name="connsiteX61" fmla="*/ 4294441 w 6710000"/>
              <a:gd name="connsiteY61" fmla="*/ 2463294 h 6858000"/>
              <a:gd name="connsiteX62" fmla="*/ 4634562 w 6710000"/>
              <a:gd name="connsiteY62" fmla="*/ 1589939 h 6858000"/>
              <a:gd name="connsiteX63" fmla="*/ 4844493 w 6710000"/>
              <a:gd name="connsiteY63" fmla="*/ 1118004 h 6858000"/>
              <a:gd name="connsiteX64" fmla="*/ 5126028 w 6710000"/>
              <a:gd name="connsiteY64" fmla="*/ 2170 h 6858000"/>
              <a:gd name="connsiteX65" fmla="*/ 5302868 w 6710000"/>
              <a:gd name="connsiteY65" fmla="*/ 1628 h 6858000"/>
              <a:gd name="connsiteX66" fmla="*/ 5319685 w 6710000"/>
              <a:gd name="connsiteY66" fmla="*/ 1628 h 6858000"/>
              <a:gd name="connsiteX67" fmla="*/ 5042488 w 6710000"/>
              <a:gd name="connsiteY67" fmla="*/ 1071894 h 6858000"/>
              <a:gd name="connsiteX68" fmla="*/ 4828219 w 6710000"/>
              <a:gd name="connsiteY68" fmla="*/ 1546001 h 6858000"/>
              <a:gd name="connsiteX69" fmla="*/ 4479419 w 6710000"/>
              <a:gd name="connsiteY69" fmla="*/ 2411762 h 6858000"/>
              <a:gd name="connsiteX70" fmla="*/ 4450126 w 6710000"/>
              <a:gd name="connsiteY70" fmla="*/ 3720708 h 6858000"/>
              <a:gd name="connsiteX71" fmla="*/ 5172679 w 6710000"/>
              <a:gd name="connsiteY71" fmla="*/ 5716404 h 6858000"/>
              <a:gd name="connsiteX72" fmla="*/ 5525274 w 6710000"/>
              <a:gd name="connsiteY72" fmla="*/ 6118364 h 6858000"/>
              <a:gd name="connsiteX73" fmla="*/ 6269795 w 6710000"/>
              <a:gd name="connsiteY73" fmla="*/ 6720287 h 6858000"/>
              <a:gd name="connsiteX74" fmla="*/ 6485166 w 6710000"/>
              <a:gd name="connsiteY74" fmla="*/ 6858000 h 6858000"/>
              <a:gd name="connsiteX75" fmla="*/ 6459959 w 6710000"/>
              <a:gd name="connsiteY75" fmla="*/ 6858000 h 6858000"/>
              <a:gd name="connsiteX76" fmla="*/ 6254606 w 6710000"/>
              <a:gd name="connsiteY76" fmla="*/ 6726797 h 6858000"/>
              <a:gd name="connsiteX77" fmla="*/ 5507917 w 6710000"/>
              <a:gd name="connsiteY77" fmla="*/ 6123789 h 6858000"/>
              <a:gd name="connsiteX78" fmla="*/ 5155319 w 6710000"/>
              <a:gd name="connsiteY78" fmla="*/ 5721828 h 6858000"/>
              <a:gd name="connsiteX79" fmla="*/ 4432767 w 6710000"/>
              <a:gd name="connsiteY79" fmla="*/ 3723420 h 6858000"/>
              <a:gd name="connsiteX80" fmla="*/ 4462062 w 6710000"/>
              <a:gd name="connsiteY80" fmla="*/ 2409049 h 6858000"/>
              <a:gd name="connsiteX81" fmla="*/ 4806521 w 6710000"/>
              <a:gd name="connsiteY81" fmla="*/ 1543289 h 6858000"/>
              <a:gd name="connsiteX82" fmla="*/ 5025132 w 6710000"/>
              <a:gd name="connsiteY82" fmla="*/ 1069182 h 6858000"/>
              <a:gd name="connsiteX83" fmla="*/ 5302868 w 6710000"/>
              <a:gd name="connsiteY83" fmla="*/ 1628 h 6858000"/>
              <a:gd name="connsiteX84" fmla="*/ 4949188 w 6710000"/>
              <a:gd name="connsiteY84" fmla="*/ 1628 h 6858000"/>
              <a:gd name="connsiteX85" fmla="*/ 4966003 w 6710000"/>
              <a:gd name="connsiteY85" fmla="*/ 1628 h 6858000"/>
              <a:gd name="connsiteX86" fmla="*/ 4684468 w 6710000"/>
              <a:gd name="connsiteY86" fmla="*/ 1167910 h 6858000"/>
              <a:gd name="connsiteX87" fmla="*/ 4478877 w 6710000"/>
              <a:gd name="connsiteY87" fmla="*/ 1639846 h 6858000"/>
              <a:gd name="connsiteX88" fmla="*/ 4143096 w 6710000"/>
              <a:gd name="connsiteY88" fmla="*/ 2518625 h 6858000"/>
              <a:gd name="connsiteX89" fmla="*/ 4134959 w 6710000"/>
              <a:gd name="connsiteY89" fmla="*/ 3835167 h 6858000"/>
              <a:gd name="connsiteX90" fmla="*/ 4891144 w 6710000"/>
              <a:gd name="connsiteY90" fmla="*/ 5830862 h 6858000"/>
              <a:gd name="connsiteX91" fmla="*/ 5252419 w 6710000"/>
              <a:gd name="connsiteY91" fmla="*/ 6232823 h 6858000"/>
              <a:gd name="connsiteX92" fmla="*/ 6002296 w 6710000"/>
              <a:gd name="connsiteY92" fmla="*/ 6830338 h 6858000"/>
              <a:gd name="connsiteX93" fmla="*/ 6046090 w 6710000"/>
              <a:gd name="connsiteY93" fmla="*/ 6858000 h 6858000"/>
              <a:gd name="connsiteX94" fmla="*/ 6022791 w 6710000"/>
              <a:gd name="connsiteY94" fmla="*/ 6858000 h 6858000"/>
              <a:gd name="connsiteX95" fmla="*/ 5990091 w 6710000"/>
              <a:gd name="connsiteY95" fmla="*/ 6837390 h 6858000"/>
              <a:gd name="connsiteX96" fmla="*/ 5236146 w 6710000"/>
              <a:gd name="connsiteY96" fmla="*/ 6237705 h 6858000"/>
              <a:gd name="connsiteX97" fmla="*/ 4874871 w 6710000"/>
              <a:gd name="connsiteY97" fmla="*/ 5835744 h 6858000"/>
              <a:gd name="connsiteX98" fmla="*/ 4114346 w 6710000"/>
              <a:gd name="connsiteY98" fmla="*/ 3834624 h 6858000"/>
              <a:gd name="connsiteX99" fmla="*/ 4126822 w 6710000"/>
              <a:gd name="connsiteY99" fmla="*/ 2515371 h 6858000"/>
              <a:gd name="connsiteX100" fmla="*/ 4462604 w 6710000"/>
              <a:gd name="connsiteY100" fmla="*/ 1636591 h 6858000"/>
              <a:gd name="connsiteX101" fmla="*/ 4668195 w 6710000"/>
              <a:gd name="connsiteY101" fmla="*/ 1164654 h 6858000"/>
              <a:gd name="connsiteX102" fmla="*/ 4949188 w 6710000"/>
              <a:gd name="connsiteY102" fmla="*/ 1628 h 6858000"/>
              <a:gd name="connsiteX103" fmla="*/ 4768549 w 6710000"/>
              <a:gd name="connsiteY103" fmla="*/ 1628 h 6858000"/>
              <a:gd name="connsiteX104" fmla="*/ 4785365 w 6710000"/>
              <a:gd name="connsiteY104" fmla="*/ 1628 h 6858000"/>
              <a:gd name="connsiteX105" fmla="*/ 4508170 w 6710000"/>
              <a:gd name="connsiteY105" fmla="*/ 1217273 h 6858000"/>
              <a:gd name="connsiteX106" fmla="*/ 4306375 w 6710000"/>
              <a:gd name="connsiteY106" fmla="*/ 1686497 h 6858000"/>
              <a:gd name="connsiteX107" fmla="*/ 3974392 w 6710000"/>
              <a:gd name="connsiteY107" fmla="*/ 2572871 h 6858000"/>
              <a:gd name="connsiteX108" fmla="*/ 3974392 w 6710000"/>
              <a:gd name="connsiteY108" fmla="*/ 3889412 h 6858000"/>
              <a:gd name="connsiteX109" fmla="*/ 4751189 w 6710000"/>
              <a:gd name="connsiteY109" fmla="*/ 5887821 h 6858000"/>
              <a:gd name="connsiteX110" fmla="*/ 5112467 w 6710000"/>
              <a:gd name="connsiteY110" fmla="*/ 6289780 h 6858000"/>
              <a:gd name="connsiteX111" fmla="*/ 5659720 w 6710000"/>
              <a:gd name="connsiteY111" fmla="*/ 6742109 h 6858000"/>
              <a:gd name="connsiteX112" fmla="*/ 5829044 w 6710000"/>
              <a:gd name="connsiteY112" fmla="*/ 6858000 h 6858000"/>
              <a:gd name="connsiteX113" fmla="*/ 5805955 w 6710000"/>
              <a:gd name="connsiteY113" fmla="*/ 6858000 h 6858000"/>
              <a:gd name="connsiteX114" fmla="*/ 5646726 w 6710000"/>
              <a:gd name="connsiteY114" fmla="*/ 6749042 h 6858000"/>
              <a:gd name="connsiteX115" fmla="*/ 5096192 w 6710000"/>
              <a:gd name="connsiteY115" fmla="*/ 6294663 h 6858000"/>
              <a:gd name="connsiteX116" fmla="*/ 4734917 w 6710000"/>
              <a:gd name="connsiteY116" fmla="*/ 5892702 h 6858000"/>
              <a:gd name="connsiteX117" fmla="*/ 3958119 w 6710000"/>
              <a:gd name="connsiteY117" fmla="*/ 3891582 h 6858000"/>
              <a:gd name="connsiteX118" fmla="*/ 3958119 w 6710000"/>
              <a:gd name="connsiteY118" fmla="*/ 2569615 h 6858000"/>
              <a:gd name="connsiteX119" fmla="*/ 4290102 w 6710000"/>
              <a:gd name="connsiteY119" fmla="*/ 1683243 h 6858000"/>
              <a:gd name="connsiteX120" fmla="*/ 4491897 w 6710000"/>
              <a:gd name="connsiteY120" fmla="*/ 1214017 h 6858000"/>
              <a:gd name="connsiteX121" fmla="*/ 4768549 w 6710000"/>
              <a:gd name="connsiteY121" fmla="*/ 1628 h 6858000"/>
              <a:gd name="connsiteX122" fmla="*/ 4591166 w 6710000"/>
              <a:gd name="connsiteY122" fmla="*/ 1628 h 6858000"/>
              <a:gd name="connsiteX123" fmla="*/ 4607983 w 6710000"/>
              <a:gd name="connsiteY123" fmla="*/ 1628 h 6858000"/>
              <a:gd name="connsiteX124" fmla="*/ 4330786 w 6710000"/>
              <a:gd name="connsiteY124" fmla="*/ 1266636 h 6858000"/>
              <a:gd name="connsiteX125" fmla="*/ 4133333 w 6710000"/>
              <a:gd name="connsiteY125" fmla="*/ 1730437 h 6858000"/>
              <a:gd name="connsiteX126" fmla="*/ 3810028 w 6710000"/>
              <a:gd name="connsiteY126" fmla="*/ 2627116 h 6858000"/>
              <a:gd name="connsiteX127" fmla="*/ 3814368 w 6710000"/>
              <a:gd name="connsiteY127" fmla="*/ 3946370 h 6858000"/>
              <a:gd name="connsiteX128" fmla="*/ 4607983 w 6710000"/>
              <a:gd name="connsiteY128" fmla="*/ 5944777 h 6858000"/>
              <a:gd name="connsiteX129" fmla="*/ 4973597 w 6710000"/>
              <a:gd name="connsiteY129" fmla="*/ 6346738 h 6858000"/>
              <a:gd name="connsiteX130" fmla="*/ 5524416 w 6710000"/>
              <a:gd name="connsiteY130" fmla="*/ 6796302 h 6858000"/>
              <a:gd name="connsiteX131" fmla="*/ 5615411 w 6710000"/>
              <a:gd name="connsiteY131" fmla="*/ 6858000 h 6858000"/>
              <a:gd name="connsiteX132" fmla="*/ 5592917 w 6710000"/>
              <a:gd name="connsiteY132" fmla="*/ 6858000 h 6858000"/>
              <a:gd name="connsiteX133" fmla="*/ 5512626 w 6710000"/>
              <a:gd name="connsiteY133" fmla="*/ 6803376 h 6858000"/>
              <a:gd name="connsiteX134" fmla="*/ 4961663 w 6710000"/>
              <a:gd name="connsiteY134" fmla="*/ 6351619 h 6858000"/>
              <a:gd name="connsiteX135" fmla="*/ 4592250 w 6710000"/>
              <a:gd name="connsiteY135" fmla="*/ 5949660 h 6858000"/>
              <a:gd name="connsiteX136" fmla="*/ 3798637 w 6710000"/>
              <a:gd name="connsiteY136" fmla="*/ 3948538 h 6858000"/>
              <a:gd name="connsiteX137" fmla="*/ 3790500 w 6710000"/>
              <a:gd name="connsiteY137" fmla="*/ 2623862 h 6858000"/>
              <a:gd name="connsiteX138" fmla="*/ 4118143 w 6710000"/>
              <a:gd name="connsiteY138" fmla="*/ 1727181 h 6858000"/>
              <a:gd name="connsiteX139" fmla="*/ 4315597 w 6710000"/>
              <a:gd name="connsiteY139" fmla="*/ 1263380 h 6858000"/>
              <a:gd name="connsiteX140" fmla="*/ 4591166 w 6710000"/>
              <a:gd name="connsiteY140" fmla="*/ 1628 h 6858000"/>
              <a:gd name="connsiteX141" fmla="*/ 4411613 w 6710000"/>
              <a:gd name="connsiteY141" fmla="*/ 1628 h 6858000"/>
              <a:gd name="connsiteX142" fmla="*/ 4428428 w 6710000"/>
              <a:gd name="connsiteY142" fmla="*/ 1628 h 6858000"/>
              <a:gd name="connsiteX143" fmla="*/ 4155574 w 6710000"/>
              <a:gd name="connsiteY143" fmla="*/ 1316000 h 6858000"/>
              <a:gd name="connsiteX144" fmla="*/ 3962458 w 6710000"/>
              <a:gd name="connsiteY144" fmla="*/ 1777631 h 6858000"/>
              <a:gd name="connsiteX145" fmla="*/ 3643494 w 6710000"/>
              <a:gd name="connsiteY145" fmla="*/ 2679735 h 6858000"/>
              <a:gd name="connsiteX146" fmla="*/ 3660310 w 6710000"/>
              <a:gd name="connsiteY146" fmla="*/ 4004412 h 6858000"/>
              <a:gd name="connsiteX147" fmla="*/ 4466944 w 6710000"/>
              <a:gd name="connsiteY147" fmla="*/ 6002821 h 6858000"/>
              <a:gd name="connsiteX148" fmla="*/ 4840696 w 6710000"/>
              <a:gd name="connsiteY148" fmla="*/ 6404781 h 6858000"/>
              <a:gd name="connsiteX149" fmla="*/ 5392889 w 6710000"/>
              <a:gd name="connsiteY149" fmla="*/ 6852676 h 6858000"/>
              <a:gd name="connsiteX150" fmla="*/ 5400780 w 6710000"/>
              <a:gd name="connsiteY150" fmla="*/ 6858000 h 6858000"/>
              <a:gd name="connsiteX151" fmla="*/ 5377398 w 6710000"/>
              <a:gd name="connsiteY151" fmla="*/ 6858000 h 6858000"/>
              <a:gd name="connsiteX152" fmla="*/ 5181205 w 6710000"/>
              <a:gd name="connsiteY152" fmla="*/ 6713413 h 6858000"/>
              <a:gd name="connsiteX153" fmla="*/ 4823879 w 6710000"/>
              <a:gd name="connsiteY153" fmla="*/ 6409663 h 6858000"/>
              <a:gd name="connsiteX154" fmla="*/ 4454468 w 6710000"/>
              <a:gd name="connsiteY154" fmla="*/ 6007703 h 6858000"/>
              <a:gd name="connsiteX155" fmla="*/ 3644036 w 6710000"/>
              <a:gd name="connsiteY155" fmla="*/ 4003870 h 6858000"/>
              <a:gd name="connsiteX156" fmla="*/ 3627220 w 6710000"/>
              <a:gd name="connsiteY156" fmla="*/ 2679193 h 6858000"/>
              <a:gd name="connsiteX157" fmla="*/ 3946184 w 6710000"/>
              <a:gd name="connsiteY157" fmla="*/ 1774375 h 6858000"/>
              <a:gd name="connsiteX158" fmla="*/ 4134959 w 6710000"/>
              <a:gd name="connsiteY158" fmla="*/ 1312746 h 6858000"/>
              <a:gd name="connsiteX159" fmla="*/ 4411613 w 6710000"/>
              <a:gd name="connsiteY159" fmla="*/ 1628 h 6858000"/>
              <a:gd name="connsiteX160" fmla="*/ 3875123 w 6710000"/>
              <a:gd name="connsiteY160" fmla="*/ 1628 h 6858000"/>
              <a:gd name="connsiteX161" fmla="*/ 3891940 w 6710000"/>
              <a:gd name="connsiteY161" fmla="*/ 1628 h 6858000"/>
              <a:gd name="connsiteX162" fmla="*/ 3622881 w 6710000"/>
              <a:gd name="connsiteY162" fmla="*/ 1460836 h 6858000"/>
              <a:gd name="connsiteX163" fmla="*/ 3446582 w 6710000"/>
              <a:gd name="connsiteY163" fmla="*/ 1914329 h 6858000"/>
              <a:gd name="connsiteX164" fmla="*/ 3140095 w 6710000"/>
              <a:gd name="connsiteY164" fmla="*/ 2842471 h 6858000"/>
              <a:gd name="connsiteX165" fmla="*/ 3186204 w 6710000"/>
              <a:gd name="connsiteY165" fmla="*/ 4172031 h 6858000"/>
              <a:gd name="connsiteX166" fmla="*/ 4047082 w 6710000"/>
              <a:gd name="connsiteY166" fmla="*/ 6173153 h 6858000"/>
              <a:gd name="connsiteX167" fmla="*/ 4429513 w 6710000"/>
              <a:gd name="connsiteY167" fmla="*/ 6572400 h 6858000"/>
              <a:gd name="connsiteX168" fmla="*/ 4602120 w 6710000"/>
              <a:gd name="connsiteY168" fmla="*/ 6723496 h 6858000"/>
              <a:gd name="connsiteX169" fmla="*/ 4771866 w 6710000"/>
              <a:gd name="connsiteY169" fmla="*/ 6858000 h 6858000"/>
              <a:gd name="connsiteX170" fmla="*/ 4748471 w 6710000"/>
              <a:gd name="connsiteY170" fmla="*/ 6858000 h 6858000"/>
              <a:gd name="connsiteX171" fmla="*/ 4586735 w 6710000"/>
              <a:gd name="connsiteY171" fmla="*/ 6730859 h 6858000"/>
              <a:gd name="connsiteX172" fmla="*/ 4412697 w 6710000"/>
              <a:gd name="connsiteY172" fmla="*/ 6580537 h 6858000"/>
              <a:gd name="connsiteX173" fmla="*/ 4030265 w 6710000"/>
              <a:gd name="connsiteY173" fmla="*/ 6178577 h 6858000"/>
              <a:gd name="connsiteX174" fmla="*/ 3169387 w 6710000"/>
              <a:gd name="connsiteY174" fmla="*/ 4174744 h 6858000"/>
              <a:gd name="connsiteX175" fmla="*/ 3123279 w 6710000"/>
              <a:gd name="connsiteY175" fmla="*/ 2839759 h 6858000"/>
              <a:gd name="connsiteX176" fmla="*/ 3429766 w 6710000"/>
              <a:gd name="connsiteY176" fmla="*/ 1911616 h 6858000"/>
              <a:gd name="connsiteX177" fmla="*/ 3606065 w 6710000"/>
              <a:gd name="connsiteY177" fmla="*/ 1458123 h 6858000"/>
              <a:gd name="connsiteX178" fmla="*/ 3875123 w 6710000"/>
              <a:gd name="connsiteY178" fmla="*/ 1628 h 6858000"/>
              <a:gd name="connsiteX179" fmla="*/ 2967596 w 6710000"/>
              <a:gd name="connsiteY179" fmla="*/ 1628 h 6858000"/>
              <a:gd name="connsiteX180" fmla="*/ 2984412 w 6710000"/>
              <a:gd name="connsiteY180" fmla="*/ 1628 h 6858000"/>
              <a:gd name="connsiteX181" fmla="*/ 2736509 w 6710000"/>
              <a:gd name="connsiteY181" fmla="*/ 1704398 h 6858000"/>
              <a:gd name="connsiteX182" fmla="*/ 2585163 w 6710000"/>
              <a:gd name="connsiteY182" fmla="*/ 2139990 h 6858000"/>
              <a:gd name="connsiteX183" fmla="*/ 2303629 w 6710000"/>
              <a:gd name="connsiteY183" fmla="*/ 3112071 h 6858000"/>
              <a:gd name="connsiteX184" fmla="*/ 2395845 w 6710000"/>
              <a:gd name="connsiteY184" fmla="*/ 4454651 h 6858000"/>
              <a:gd name="connsiteX185" fmla="*/ 3340804 w 6710000"/>
              <a:gd name="connsiteY185" fmla="*/ 6460655 h 6858000"/>
              <a:gd name="connsiteX186" fmla="*/ 3740052 w 6710000"/>
              <a:gd name="connsiteY186" fmla="*/ 6857190 h 6858000"/>
              <a:gd name="connsiteX187" fmla="*/ 3741038 w 6710000"/>
              <a:gd name="connsiteY187" fmla="*/ 6858000 h 6858000"/>
              <a:gd name="connsiteX188" fmla="*/ 3722011 w 6710000"/>
              <a:gd name="connsiteY188" fmla="*/ 6858000 h 6858000"/>
              <a:gd name="connsiteX189" fmla="*/ 3516695 w 6710000"/>
              <a:gd name="connsiteY189" fmla="*/ 6667737 h 6858000"/>
              <a:gd name="connsiteX190" fmla="*/ 3324530 w 6710000"/>
              <a:gd name="connsiteY190" fmla="*/ 6466620 h 6858000"/>
              <a:gd name="connsiteX191" fmla="*/ 2375233 w 6710000"/>
              <a:gd name="connsiteY191" fmla="*/ 4455193 h 6858000"/>
              <a:gd name="connsiteX192" fmla="*/ 2286813 w 6710000"/>
              <a:gd name="connsiteY192" fmla="*/ 3109903 h 6858000"/>
              <a:gd name="connsiteX193" fmla="*/ 2568346 w 6710000"/>
              <a:gd name="connsiteY193" fmla="*/ 2137821 h 6858000"/>
              <a:gd name="connsiteX194" fmla="*/ 2715351 w 6710000"/>
              <a:gd name="connsiteY194" fmla="*/ 1702229 h 6858000"/>
              <a:gd name="connsiteX195" fmla="*/ 2967596 w 6710000"/>
              <a:gd name="connsiteY195" fmla="*/ 1628 h 6858000"/>
              <a:gd name="connsiteX196" fmla="*/ 2781533 w 6710000"/>
              <a:gd name="connsiteY196" fmla="*/ 1628 h 6858000"/>
              <a:gd name="connsiteX197" fmla="*/ 2802687 w 6710000"/>
              <a:gd name="connsiteY197" fmla="*/ 1628 h 6858000"/>
              <a:gd name="connsiteX198" fmla="*/ 2554787 w 6710000"/>
              <a:gd name="connsiteY198" fmla="*/ 1751050 h 6858000"/>
              <a:gd name="connsiteX199" fmla="*/ 2412119 w 6710000"/>
              <a:gd name="connsiteY199" fmla="*/ 2183930 h 6858000"/>
              <a:gd name="connsiteX200" fmla="*/ 2139264 w 6710000"/>
              <a:gd name="connsiteY200" fmla="*/ 3163606 h 6858000"/>
              <a:gd name="connsiteX201" fmla="*/ 2235821 w 6710000"/>
              <a:gd name="connsiteY201" fmla="*/ 4508896 h 6858000"/>
              <a:gd name="connsiteX202" fmla="*/ 3197595 w 6710000"/>
              <a:gd name="connsiteY202" fmla="*/ 6517612 h 6858000"/>
              <a:gd name="connsiteX203" fmla="*/ 3390100 w 6710000"/>
              <a:gd name="connsiteY203" fmla="*/ 6718728 h 6858000"/>
              <a:gd name="connsiteX204" fmla="*/ 3543243 w 6710000"/>
              <a:gd name="connsiteY204" fmla="*/ 6858000 h 6858000"/>
              <a:gd name="connsiteX205" fmla="*/ 3521208 w 6710000"/>
              <a:gd name="connsiteY205" fmla="*/ 6858000 h 6858000"/>
              <a:gd name="connsiteX206" fmla="*/ 3375656 w 6710000"/>
              <a:gd name="connsiteY206" fmla="*/ 6724152 h 6858000"/>
              <a:gd name="connsiteX207" fmla="*/ 3185119 w 6710000"/>
              <a:gd name="connsiteY207" fmla="*/ 6523037 h 6858000"/>
              <a:gd name="connsiteX208" fmla="*/ 2219005 w 6710000"/>
              <a:gd name="connsiteY208" fmla="*/ 4511610 h 6858000"/>
              <a:gd name="connsiteX209" fmla="*/ 2118109 w 6710000"/>
              <a:gd name="connsiteY209" fmla="*/ 3163606 h 6858000"/>
              <a:gd name="connsiteX210" fmla="*/ 2395304 w 6710000"/>
              <a:gd name="connsiteY210" fmla="*/ 2181217 h 6858000"/>
              <a:gd name="connsiteX211" fmla="*/ 2537968 w 6710000"/>
              <a:gd name="connsiteY211" fmla="*/ 1751050 h 6858000"/>
              <a:gd name="connsiteX212" fmla="*/ 2781533 w 6710000"/>
              <a:gd name="connsiteY212" fmla="*/ 1628 h 6858000"/>
              <a:gd name="connsiteX213" fmla="*/ 2601437 w 6710000"/>
              <a:gd name="connsiteY213" fmla="*/ 1628 h 6858000"/>
              <a:gd name="connsiteX214" fmla="*/ 2618253 w 6710000"/>
              <a:gd name="connsiteY214" fmla="*/ 1628 h 6858000"/>
              <a:gd name="connsiteX215" fmla="*/ 2379030 w 6710000"/>
              <a:gd name="connsiteY215" fmla="*/ 1800413 h 6858000"/>
              <a:gd name="connsiteX216" fmla="*/ 2240161 w 6710000"/>
              <a:gd name="connsiteY216" fmla="*/ 2227868 h 6858000"/>
              <a:gd name="connsiteX217" fmla="*/ 1971101 w 6710000"/>
              <a:gd name="connsiteY217" fmla="*/ 3217851 h 6858000"/>
              <a:gd name="connsiteX218" fmla="*/ 2076338 w 6710000"/>
              <a:gd name="connsiteY218" fmla="*/ 4565854 h 6858000"/>
              <a:gd name="connsiteX219" fmla="*/ 3059271 w 6710000"/>
              <a:gd name="connsiteY219" fmla="*/ 6574569 h 6858000"/>
              <a:gd name="connsiteX220" fmla="*/ 3251774 w 6710000"/>
              <a:gd name="connsiteY220" fmla="*/ 6775685 h 6858000"/>
              <a:gd name="connsiteX221" fmla="*/ 3342286 w 6710000"/>
              <a:gd name="connsiteY221" fmla="*/ 6858000 h 6858000"/>
              <a:gd name="connsiteX222" fmla="*/ 3323253 w 6710000"/>
              <a:gd name="connsiteY222" fmla="*/ 6858000 h 6858000"/>
              <a:gd name="connsiteX223" fmla="*/ 3237330 w 6710000"/>
              <a:gd name="connsiteY223" fmla="*/ 6780568 h 6858000"/>
              <a:gd name="connsiteX224" fmla="*/ 3042453 w 6710000"/>
              <a:gd name="connsiteY224" fmla="*/ 6579451 h 6858000"/>
              <a:gd name="connsiteX225" fmla="*/ 2059523 w 6710000"/>
              <a:gd name="connsiteY225" fmla="*/ 4568025 h 6858000"/>
              <a:gd name="connsiteX226" fmla="*/ 1954286 w 6710000"/>
              <a:gd name="connsiteY226" fmla="*/ 3217851 h 6858000"/>
              <a:gd name="connsiteX227" fmla="*/ 2223343 w 6710000"/>
              <a:gd name="connsiteY227" fmla="*/ 2227868 h 6858000"/>
              <a:gd name="connsiteX228" fmla="*/ 2362214 w 6710000"/>
              <a:gd name="connsiteY228" fmla="*/ 1797702 h 6858000"/>
              <a:gd name="connsiteX229" fmla="*/ 2601437 w 6710000"/>
              <a:gd name="connsiteY229" fmla="*/ 1628 h 6858000"/>
              <a:gd name="connsiteX230" fmla="*/ 2417001 w 6710000"/>
              <a:gd name="connsiteY230" fmla="*/ 1628 h 6858000"/>
              <a:gd name="connsiteX231" fmla="*/ 2438158 w 6710000"/>
              <a:gd name="connsiteY231" fmla="*/ 1628 h 6858000"/>
              <a:gd name="connsiteX232" fmla="*/ 2202731 w 6710000"/>
              <a:gd name="connsiteY232" fmla="*/ 1849777 h 6858000"/>
              <a:gd name="connsiteX233" fmla="*/ 2068202 w 6710000"/>
              <a:gd name="connsiteY233" fmla="*/ 2275062 h 6858000"/>
              <a:gd name="connsiteX234" fmla="*/ 1803485 w 6710000"/>
              <a:gd name="connsiteY234" fmla="*/ 3273182 h 6858000"/>
              <a:gd name="connsiteX235" fmla="*/ 1921196 w 6710000"/>
              <a:gd name="connsiteY235" fmla="*/ 4623354 h 6858000"/>
              <a:gd name="connsiteX236" fmla="*/ 2916605 w 6710000"/>
              <a:gd name="connsiteY236" fmla="*/ 6632070 h 6858000"/>
              <a:gd name="connsiteX237" fmla="*/ 3111482 w 6710000"/>
              <a:gd name="connsiteY237" fmla="*/ 6833185 h 6858000"/>
              <a:gd name="connsiteX238" fmla="*/ 3139018 w 6710000"/>
              <a:gd name="connsiteY238" fmla="*/ 6858000 h 6858000"/>
              <a:gd name="connsiteX239" fmla="*/ 3120520 w 6710000"/>
              <a:gd name="connsiteY239" fmla="*/ 6858000 h 6858000"/>
              <a:gd name="connsiteX240" fmla="*/ 3099004 w 6710000"/>
              <a:gd name="connsiteY240" fmla="*/ 6838611 h 6858000"/>
              <a:gd name="connsiteX241" fmla="*/ 2904126 w 6710000"/>
              <a:gd name="connsiteY241" fmla="*/ 6637495 h 6858000"/>
              <a:gd name="connsiteX242" fmla="*/ 1900040 w 6710000"/>
              <a:gd name="connsiteY242" fmla="*/ 4626066 h 6858000"/>
              <a:gd name="connsiteX243" fmla="*/ 1786667 w 6710000"/>
              <a:gd name="connsiteY243" fmla="*/ 3270470 h 6858000"/>
              <a:gd name="connsiteX244" fmla="*/ 2047046 w 6710000"/>
              <a:gd name="connsiteY244" fmla="*/ 2272351 h 6858000"/>
              <a:gd name="connsiteX245" fmla="*/ 2185916 w 6710000"/>
              <a:gd name="connsiteY245" fmla="*/ 1847065 h 6858000"/>
              <a:gd name="connsiteX246" fmla="*/ 2417001 w 6710000"/>
              <a:gd name="connsiteY246" fmla="*/ 1628 h 6858000"/>
              <a:gd name="connsiteX247" fmla="*/ 2235821 w 6710000"/>
              <a:gd name="connsiteY247" fmla="*/ 1628 h 6858000"/>
              <a:gd name="connsiteX248" fmla="*/ 2252636 w 6710000"/>
              <a:gd name="connsiteY248" fmla="*/ 1628 h 6858000"/>
              <a:gd name="connsiteX249" fmla="*/ 2025891 w 6710000"/>
              <a:gd name="connsiteY249" fmla="*/ 1899140 h 6858000"/>
              <a:gd name="connsiteX250" fmla="*/ 1891360 w 6710000"/>
              <a:gd name="connsiteY250" fmla="*/ 2316289 h 6858000"/>
              <a:gd name="connsiteX251" fmla="*/ 1635322 w 6710000"/>
              <a:gd name="connsiteY251" fmla="*/ 3327426 h 6858000"/>
              <a:gd name="connsiteX252" fmla="*/ 1761172 w 6710000"/>
              <a:gd name="connsiteY252" fmla="*/ 4680313 h 6858000"/>
              <a:gd name="connsiteX253" fmla="*/ 2777736 w 6710000"/>
              <a:gd name="connsiteY253" fmla="*/ 6689028 h 6858000"/>
              <a:gd name="connsiteX254" fmla="*/ 2943569 w 6710000"/>
              <a:gd name="connsiteY254" fmla="*/ 6858000 h 6858000"/>
              <a:gd name="connsiteX255" fmla="*/ 2921504 w 6710000"/>
              <a:gd name="connsiteY255" fmla="*/ 6858000 h 6858000"/>
              <a:gd name="connsiteX256" fmla="*/ 2760920 w 6710000"/>
              <a:gd name="connsiteY256" fmla="*/ 6694452 h 6858000"/>
              <a:gd name="connsiteX257" fmla="*/ 1744356 w 6710000"/>
              <a:gd name="connsiteY257" fmla="*/ 4680313 h 6858000"/>
              <a:gd name="connsiteX258" fmla="*/ 1618506 w 6710000"/>
              <a:gd name="connsiteY258" fmla="*/ 3324715 h 6858000"/>
              <a:gd name="connsiteX259" fmla="*/ 1874544 w 6710000"/>
              <a:gd name="connsiteY259" fmla="*/ 2316289 h 6858000"/>
              <a:gd name="connsiteX260" fmla="*/ 2004736 w 6710000"/>
              <a:gd name="connsiteY260" fmla="*/ 1896428 h 6858000"/>
              <a:gd name="connsiteX261" fmla="*/ 2235821 w 6710000"/>
              <a:gd name="connsiteY261" fmla="*/ 1628 h 6858000"/>
              <a:gd name="connsiteX262" fmla="*/ 396352 w 6710000"/>
              <a:gd name="connsiteY262" fmla="*/ 1628 h 6858000"/>
              <a:gd name="connsiteX263" fmla="*/ 413168 w 6710000"/>
              <a:gd name="connsiteY263" fmla="*/ 1628 h 6858000"/>
              <a:gd name="connsiteX264" fmla="*/ 413168 w 6710000"/>
              <a:gd name="connsiteY264" fmla="*/ 24955 h 6858000"/>
              <a:gd name="connsiteX265" fmla="*/ 249348 w 6710000"/>
              <a:gd name="connsiteY265" fmla="*/ 2383554 h 6858000"/>
              <a:gd name="connsiteX266" fmla="*/ 165265 w 6710000"/>
              <a:gd name="connsiteY266" fmla="*/ 2743744 h 6858000"/>
              <a:gd name="connsiteX267" fmla="*/ 35890 w 6710000"/>
              <a:gd name="connsiteY267" fmla="*/ 3299695 h 6858000"/>
              <a:gd name="connsiteX268" fmla="*/ 0 w 6710000"/>
              <a:gd name="connsiteY268" fmla="*/ 3515440 h 6858000"/>
              <a:gd name="connsiteX269" fmla="*/ 0 w 6710000"/>
              <a:gd name="connsiteY269" fmla="*/ 3413219 h 6858000"/>
              <a:gd name="connsiteX270" fmla="*/ 19277 w 6710000"/>
              <a:gd name="connsiteY270" fmla="*/ 3297321 h 6858000"/>
              <a:gd name="connsiteX271" fmla="*/ 148449 w 6710000"/>
              <a:gd name="connsiteY271" fmla="*/ 2741032 h 6858000"/>
              <a:gd name="connsiteX272" fmla="*/ 232530 w 6710000"/>
              <a:gd name="connsiteY272" fmla="*/ 2383554 h 6858000"/>
              <a:gd name="connsiteX273" fmla="*/ 396352 w 6710000"/>
              <a:gd name="connsiteY273" fmla="*/ 24955 h 6858000"/>
              <a:gd name="connsiteX274" fmla="*/ 396352 w 6710000"/>
              <a:gd name="connsiteY274" fmla="*/ 1628 h 6858000"/>
              <a:gd name="connsiteX275" fmla="*/ 5479167 w 6710000"/>
              <a:gd name="connsiteY275" fmla="*/ 1086 h 6858000"/>
              <a:gd name="connsiteX276" fmla="*/ 5495983 w 6710000"/>
              <a:gd name="connsiteY276" fmla="*/ 1086 h 6858000"/>
              <a:gd name="connsiteX277" fmla="*/ 5218787 w 6710000"/>
              <a:gd name="connsiteY277" fmla="*/ 1022531 h 6858000"/>
              <a:gd name="connsiteX278" fmla="*/ 5000176 w 6710000"/>
              <a:gd name="connsiteY278" fmla="*/ 1499350 h 6858000"/>
              <a:gd name="connsiteX279" fmla="*/ 4647581 w 6710000"/>
              <a:gd name="connsiteY279" fmla="*/ 2358057 h 6858000"/>
              <a:gd name="connsiteX280" fmla="*/ 4609609 w 6710000"/>
              <a:gd name="connsiteY280" fmla="*/ 3664292 h 6858000"/>
              <a:gd name="connsiteX281" fmla="*/ 5315344 w 6710000"/>
              <a:gd name="connsiteY281" fmla="*/ 5659989 h 6858000"/>
              <a:gd name="connsiteX282" fmla="*/ 6698707 w 6710000"/>
              <a:gd name="connsiteY282" fmla="*/ 6851723 h 6858000"/>
              <a:gd name="connsiteX283" fmla="*/ 6710000 w 6710000"/>
              <a:gd name="connsiteY283" fmla="*/ 6858000 h 6858000"/>
              <a:gd name="connsiteX284" fmla="*/ 6682458 w 6710000"/>
              <a:gd name="connsiteY284" fmla="*/ 6858000 h 6858000"/>
              <a:gd name="connsiteX285" fmla="*/ 6369337 w 6710000"/>
              <a:gd name="connsiteY285" fmla="*/ 6660278 h 6858000"/>
              <a:gd name="connsiteX286" fmla="*/ 5298529 w 6710000"/>
              <a:gd name="connsiteY286" fmla="*/ 5664871 h 6858000"/>
              <a:gd name="connsiteX287" fmla="*/ 4588453 w 6710000"/>
              <a:gd name="connsiteY287" fmla="*/ 3666464 h 6858000"/>
              <a:gd name="connsiteX288" fmla="*/ 4626425 w 6710000"/>
              <a:gd name="connsiteY288" fmla="*/ 2354803 h 6858000"/>
              <a:gd name="connsiteX289" fmla="*/ 4983360 w 6710000"/>
              <a:gd name="connsiteY289" fmla="*/ 1496638 h 6858000"/>
              <a:gd name="connsiteX290" fmla="*/ 5201971 w 6710000"/>
              <a:gd name="connsiteY290" fmla="*/ 1019818 h 6858000"/>
              <a:gd name="connsiteX291" fmla="*/ 5479167 w 6710000"/>
              <a:gd name="connsiteY291" fmla="*/ 1086 h 6858000"/>
              <a:gd name="connsiteX292" fmla="*/ 4236941 w 6710000"/>
              <a:gd name="connsiteY292" fmla="*/ 1086 h 6858000"/>
              <a:gd name="connsiteX293" fmla="*/ 4253757 w 6710000"/>
              <a:gd name="connsiteY293" fmla="*/ 1086 h 6858000"/>
              <a:gd name="connsiteX294" fmla="*/ 3976562 w 6710000"/>
              <a:gd name="connsiteY294" fmla="*/ 1362108 h 6858000"/>
              <a:gd name="connsiteX295" fmla="*/ 3791584 w 6710000"/>
              <a:gd name="connsiteY295" fmla="*/ 1823738 h 6858000"/>
              <a:gd name="connsiteX296" fmla="*/ 3476418 w 6710000"/>
              <a:gd name="connsiteY296" fmla="*/ 2733437 h 6858000"/>
              <a:gd name="connsiteX297" fmla="*/ 3501371 w 6710000"/>
              <a:gd name="connsiteY297" fmla="*/ 4060285 h 6858000"/>
              <a:gd name="connsiteX298" fmla="*/ 4328618 w 6710000"/>
              <a:gd name="connsiteY298" fmla="*/ 6058694 h 6858000"/>
              <a:gd name="connsiteX299" fmla="*/ 4702370 w 6710000"/>
              <a:gd name="connsiteY299" fmla="*/ 6457941 h 6858000"/>
              <a:gd name="connsiteX300" fmla="*/ 5059754 w 6710000"/>
              <a:gd name="connsiteY300" fmla="*/ 6760124 h 6858000"/>
              <a:gd name="connsiteX301" fmla="*/ 5193099 w 6710000"/>
              <a:gd name="connsiteY301" fmla="*/ 6858000 h 6858000"/>
              <a:gd name="connsiteX302" fmla="*/ 5167772 w 6710000"/>
              <a:gd name="connsiteY302" fmla="*/ 6858000 h 6858000"/>
              <a:gd name="connsiteX303" fmla="*/ 5043684 w 6710000"/>
              <a:gd name="connsiteY303" fmla="*/ 6767235 h 6858000"/>
              <a:gd name="connsiteX304" fmla="*/ 4685552 w 6710000"/>
              <a:gd name="connsiteY304" fmla="*/ 6466078 h 6858000"/>
              <a:gd name="connsiteX305" fmla="*/ 4311801 w 6710000"/>
              <a:gd name="connsiteY305" fmla="*/ 6064118 h 6858000"/>
              <a:gd name="connsiteX306" fmla="*/ 3484555 w 6710000"/>
              <a:gd name="connsiteY306" fmla="*/ 4060285 h 6858000"/>
              <a:gd name="connsiteX307" fmla="*/ 3459602 w 6710000"/>
              <a:gd name="connsiteY307" fmla="*/ 2733437 h 6858000"/>
              <a:gd name="connsiteX308" fmla="*/ 3774769 w 6710000"/>
              <a:gd name="connsiteY308" fmla="*/ 1821026 h 6858000"/>
              <a:gd name="connsiteX309" fmla="*/ 3959747 w 6710000"/>
              <a:gd name="connsiteY309" fmla="*/ 1359397 h 6858000"/>
              <a:gd name="connsiteX310" fmla="*/ 4236941 w 6710000"/>
              <a:gd name="connsiteY310" fmla="*/ 1086 h 6858000"/>
              <a:gd name="connsiteX311" fmla="*/ 4055219 w 6710000"/>
              <a:gd name="connsiteY311" fmla="*/ 1086 h 6858000"/>
              <a:gd name="connsiteX312" fmla="*/ 4072035 w 6710000"/>
              <a:gd name="connsiteY312" fmla="*/ 1086 h 6858000"/>
              <a:gd name="connsiteX313" fmla="*/ 3799179 w 6710000"/>
              <a:gd name="connsiteY313" fmla="*/ 1410929 h 6858000"/>
              <a:gd name="connsiteX314" fmla="*/ 3618541 w 6710000"/>
              <a:gd name="connsiteY314" fmla="*/ 1869848 h 6858000"/>
              <a:gd name="connsiteX315" fmla="*/ 3307714 w 6710000"/>
              <a:gd name="connsiteY315" fmla="*/ 2787684 h 6858000"/>
              <a:gd name="connsiteX316" fmla="*/ 3341346 w 6710000"/>
              <a:gd name="connsiteY316" fmla="*/ 4114531 h 6858000"/>
              <a:gd name="connsiteX317" fmla="*/ 4185408 w 6710000"/>
              <a:gd name="connsiteY317" fmla="*/ 6115652 h 6858000"/>
              <a:gd name="connsiteX318" fmla="*/ 4563500 w 6710000"/>
              <a:gd name="connsiteY318" fmla="*/ 6514900 h 6858000"/>
              <a:gd name="connsiteX319" fmla="*/ 4924140 w 6710000"/>
              <a:gd name="connsiteY319" fmla="*/ 6815633 h 6858000"/>
              <a:gd name="connsiteX320" fmla="*/ 4982461 w 6710000"/>
              <a:gd name="connsiteY320" fmla="*/ 6858000 h 6858000"/>
              <a:gd name="connsiteX321" fmla="*/ 4957779 w 6710000"/>
              <a:gd name="connsiteY321" fmla="*/ 6858000 h 6858000"/>
              <a:gd name="connsiteX322" fmla="*/ 4909833 w 6710000"/>
              <a:gd name="connsiteY322" fmla="*/ 6823167 h 6858000"/>
              <a:gd name="connsiteX323" fmla="*/ 4551024 w 6710000"/>
              <a:gd name="connsiteY323" fmla="*/ 6523579 h 6858000"/>
              <a:gd name="connsiteX324" fmla="*/ 4172932 w 6710000"/>
              <a:gd name="connsiteY324" fmla="*/ 6121620 h 6858000"/>
              <a:gd name="connsiteX325" fmla="*/ 3324530 w 6710000"/>
              <a:gd name="connsiteY325" fmla="*/ 4117786 h 6858000"/>
              <a:gd name="connsiteX326" fmla="*/ 3290899 w 6710000"/>
              <a:gd name="connsiteY326" fmla="*/ 2785514 h 6858000"/>
              <a:gd name="connsiteX327" fmla="*/ 3601726 w 6710000"/>
              <a:gd name="connsiteY327" fmla="*/ 1867678 h 6858000"/>
              <a:gd name="connsiteX328" fmla="*/ 3782363 w 6710000"/>
              <a:gd name="connsiteY328" fmla="*/ 1408760 h 6858000"/>
              <a:gd name="connsiteX329" fmla="*/ 4055219 w 6710000"/>
              <a:gd name="connsiteY329" fmla="*/ 1086 h 6858000"/>
              <a:gd name="connsiteX330" fmla="*/ 3693943 w 6710000"/>
              <a:gd name="connsiteY330" fmla="*/ 1086 h 6858000"/>
              <a:gd name="connsiteX331" fmla="*/ 3710759 w 6710000"/>
              <a:gd name="connsiteY331" fmla="*/ 1086 h 6858000"/>
              <a:gd name="connsiteX332" fmla="*/ 3446040 w 6710000"/>
              <a:gd name="connsiteY332" fmla="*/ 1509656 h 6858000"/>
              <a:gd name="connsiteX333" fmla="*/ 3274081 w 6710000"/>
              <a:gd name="connsiteY333" fmla="*/ 1960436 h 6858000"/>
              <a:gd name="connsiteX334" fmla="*/ 2975731 w 6710000"/>
              <a:gd name="connsiteY334" fmla="*/ 2893463 h 6858000"/>
              <a:gd name="connsiteX335" fmla="*/ 3026179 w 6710000"/>
              <a:gd name="connsiteY335" fmla="*/ 4228446 h 6858000"/>
              <a:gd name="connsiteX336" fmla="*/ 3903873 w 6710000"/>
              <a:gd name="connsiteY336" fmla="*/ 6232279 h 6858000"/>
              <a:gd name="connsiteX337" fmla="*/ 4290102 w 6710000"/>
              <a:gd name="connsiteY337" fmla="*/ 6628815 h 6858000"/>
              <a:gd name="connsiteX338" fmla="*/ 4464172 w 6710000"/>
              <a:gd name="connsiteY338" fmla="*/ 6778910 h 6858000"/>
              <a:gd name="connsiteX339" fmla="*/ 4565238 w 6710000"/>
              <a:gd name="connsiteY339" fmla="*/ 6858000 h 6858000"/>
              <a:gd name="connsiteX340" fmla="*/ 4541100 w 6710000"/>
              <a:gd name="connsiteY340" fmla="*/ 6858000 h 6858000"/>
              <a:gd name="connsiteX341" fmla="*/ 4448231 w 6710000"/>
              <a:gd name="connsiteY341" fmla="*/ 6785881 h 6858000"/>
              <a:gd name="connsiteX342" fmla="*/ 4272745 w 6710000"/>
              <a:gd name="connsiteY342" fmla="*/ 6636410 h 6858000"/>
              <a:gd name="connsiteX343" fmla="*/ 3886514 w 6710000"/>
              <a:gd name="connsiteY343" fmla="*/ 6234449 h 6858000"/>
              <a:gd name="connsiteX344" fmla="*/ 3008821 w 6710000"/>
              <a:gd name="connsiteY344" fmla="*/ 4228446 h 6858000"/>
              <a:gd name="connsiteX345" fmla="*/ 2954034 w 6710000"/>
              <a:gd name="connsiteY345" fmla="*/ 2893463 h 6858000"/>
              <a:gd name="connsiteX346" fmla="*/ 3256723 w 6710000"/>
              <a:gd name="connsiteY346" fmla="*/ 1957725 h 6858000"/>
              <a:gd name="connsiteX347" fmla="*/ 3424884 w 6710000"/>
              <a:gd name="connsiteY347" fmla="*/ 1506945 h 6858000"/>
              <a:gd name="connsiteX348" fmla="*/ 3693943 w 6710000"/>
              <a:gd name="connsiteY348" fmla="*/ 1086 h 6858000"/>
              <a:gd name="connsiteX349" fmla="*/ 3147690 w 6710000"/>
              <a:gd name="connsiteY349" fmla="*/ 1086 h 6858000"/>
              <a:gd name="connsiteX350" fmla="*/ 3164506 w 6710000"/>
              <a:gd name="connsiteY350" fmla="*/ 1086 h 6858000"/>
              <a:gd name="connsiteX351" fmla="*/ 2912265 w 6710000"/>
              <a:gd name="connsiteY351" fmla="*/ 1655035 h 6858000"/>
              <a:gd name="connsiteX352" fmla="*/ 2757122 w 6710000"/>
              <a:gd name="connsiteY352" fmla="*/ 2095508 h 6858000"/>
              <a:gd name="connsiteX353" fmla="*/ 2471247 w 6710000"/>
              <a:gd name="connsiteY353" fmla="*/ 3057284 h 6858000"/>
              <a:gd name="connsiteX354" fmla="*/ 2550987 w 6710000"/>
              <a:gd name="connsiteY354" fmla="*/ 4397151 h 6858000"/>
              <a:gd name="connsiteX355" fmla="*/ 3483470 w 6710000"/>
              <a:gd name="connsiteY355" fmla="*/ 6403154 h 6858000"/>
              <a:gd name="connsiteX356" fmla="*/ 3878377 w 6710000"/>
              <a:gd name="connsiteY356" fmla="*/ 6799690 h 6858000"/>
              <a:gd name="connsiteX357" fmla="*/ 3948295 w 6710000"/>
              <a:gd name="connsiteY357" fmla="*/ 6858000 h 6858000"/>
              <a:gd name="connsiteX358" fmla="*/ 3925054 w 6710000"/>
              <a:gd name="connsiteY358" fmla="*/ 6858000 h 6858000"/>
              <a:gd name="connsiteX359" fmla="*/ 3861563 w 6710000"/>
              <a:gd name="connsiteY359" fmla="*/ 6805113 h 6858000"/>
              <a:gd name="connsiteX360" fmla="*/ 3466654 w 6710000"/>
              <a:gd name="connsiteY360" fmla="*/ 6408577 h 6858000"/>
              <a:gd name="connsiteX361" fmla="*/ 2534172 w 6710000"/>
              <a:gd name="connsiteY361" fmla="*/ 4399863 h 6858000"/>
              <a:gd name="connsiteX362" fmla="*/ 2454430 w 6710000"/>
              <a:gd name="connsiteY362" fmla="*/ 3054571 h 6858000"/>
              <a:gd name="connsiteX363" fmla="*/ 2740306 w 6710000"/>
              <a:gd name="connsiteY363" fmla="*/ 2092797 h 6858000"/>
              <a:gd name="connsiteX364" fmla="*/ 2895448 w 6710000"/>
              <a:gd name="connsiteY364" fmla="*/ 1652323 h 6858000"/>
              <a:gd name="connsiteX365" fmla="*/ 3147690 w 6710000"/>
              <a:gd name="connsiteY365" fmla="*/ 1086 h 6858000"/>
              <a:gd name="connsiteX366" fmla="*/ 2051388 w 6710000"/>
              <a:gd name="connsiteY366" fmla="*/ 1086 h 6858000"/>
              <a:gd name="connsiteX367" fmla="*/ 2068202 w 6710000"/>
              <a:gd name="connsiteY367" fmla="*/ 1086 h 6858000"/>
              <a:gd name="connsiteX368" fmla="*/ 1845795 w 6710000"/>
              <a:gd name="connsiteY368" fmla="*/ 1947418 h 6858000"/>
              <a:gd name="connsiteX369" fmla="*/ 1719945 w 6710000"/>
              <a:gd name="connsiteY369" fmla="*/ 2359686 h 6858000"/>
              <a:gd name="connsiteX370" fmla="*/ 1467702 w 6710000"/>
              <a:gd name="connsiteY370" fmla="*/ 3378418 h 6858000"/>
              <a:gd name="connsiteX371" fmla="*/ 1602233 w 6710000"/>
              <a:gd name="connsiteY371" fmla="*/ 4734016 h 6858000"/>
              <a:gd name="connsiteX372" fmla="*/ 2635610 w 6710000"/>
              <a:gd name="connsiteY372" fmla="*/ 6745443 h 6858000"/>
              <a:gd name="connsiteX373" fmla="*/ 2747940 w 6710000"/>
              <a:gd name="connsiteY373" fmla="*/ 6858000 h 6858000"/>
              <a:gd name="connsiteX374" fmla="*/ 2724848 w 6710000"/>
              <a:gd name="connsiteY374" fmla="*/ 6858000 h 6858000"/>
              <a:gd name="connsiteX375" fmla="*/ 2618794 w 6710000"/>
              <a:gd name="connsiteY375" fmla="*/ 6751411 h 6858000"/>
              <a:gd name="connsiteX376" fmla="*/ 1585418 w 6710000"/>
              <a:gd name="connsiteY376" fmla="*/ 4737271 h 6858000"/>
              <a:gd name="connsiteX377" fmla="*/ 1450887 w 6710000"/>
              <a:gd name="connsiteY377" fmla="*/ 3378960 h 6858000"/>
              <a:gd name="connsiteX378" fmla="*/ 1703129 w 6710000"/>
              <a:gd name="connsiteY378" fmla="*/ 2357515 h 6858000"/>
              <a:gd name="connsiteX379" fmla="*/ 1828979 w 6710000"/>
              <a:gd name="connsiteY379" fmla="*/ 1945249 h 6858000"/>
              <a:gd name="connsiteX380" fmla="*/ 2051388 w 6710000"/>
              <a:gd name="connsiteY380" fmla="*/ 1086 h 6858000"/>
              <a:gd name="connsiteX381" fmla="*/ 1867492 w 6710000"/>
              <a:gd name="connsiteY381" fmla="*/ 1086 h 6858000"/>
              <a:gd name="connsiteX382" fmla="*/ 1888650 w 6710000"/>
              <a:gd name="connsiteY382" fmla="*/ 1086 h 6858000"/>
              <a:gd name="connsiteX383" fmla="*/ 1670038 w 6710000"/>
              <a:gd name="connsiteY383" fmla="*/ 1994070 h 6858000"/>
              <a:gd name="connsiteX384" fmla="*/ 1547986 w 6710000"/>
              <a:gd name="connsiteY384" fmla="*/ 2403625 h 6858000"/>
              <a:gd name="connsiteX385" fmla="*/ 1304425 w 6710000"/>
              <a:gd name="connsiteY385" fmla="*/ 3432664 h 6858000"/>
              <a:gd name="connsiteX386" fmla="*/ 1447090 w 6710000"/>
              <a:gd name="connsiteY386" fmla="*/ 4790975 h 6858000"/>
              <a:gd name="connsiteX387" fmla="*/ 2497284 w 6710000"/>
              <a:gd name="connsiteY387" fmla="*/ 6802402 h 6858000"/>
              <a:gd name="connsiteX388" fmla="*/ 2552770 w 6710000"/>
              <a:gd name="connsiteY388" fmla="*/ 6858000 h 6858000"/>
              <a:gd name="connsiteX389" fmla="*/ 2530391 w 6710000"/>
              <a:gd name="connsiteY389" fmla="*/ 6858000 h 6858000"/>
              <a:gd name="connsiteX390" fmla="*/ 2480468 w 6710000"/>
              <a:gd name="connsiteY390" fmla="*/ 6807825 h 6858000"/>
              <a:gd name="connsiteX391" fmla="*/ 1430274 w 6710000"/>
              <a:gd name="connsiteY391" fmla="*/ 4793686 h 6858000"/>
              <a:gd name="connsiteX392" fmla="*/ 1283269 w 6710000"/>
              <a:gd name="connsiteY392" fmla="*/ 3432664 h 6858000"/>
              <a:gd name="connsiteX393" fmla="*/ 1531170 w 6710000"/>
              <a:gd name="connsiteY393" fmla="*/ 2400912 h 6858000"/>
              <a:gd name="connsiteX394" fmla="*/ 1653223 w 6710000"/>
              <a:gd name="connsiteY394" fmla="*/ 1994070 h 6858000"/>
              <a:gd name="connsiteX395" fmla="*/ 1867492 w 6710000"/>
              <a:gd name="connsiteY395" fmla="*/ 1086 h 6858000"/>
              <a:gd name="connsiteX396" fmla="*/ 1685229 w 6710000"/>
              <a:gd name="connsiteY396" fmla="*/ 1086 h 6858000"/>
              <a:gd name="connsiteX397" fmla="*/ 1702045 w 6710000"/>
              <a:gd name="connsiteY397" fmla="*/ 1086 h 6858000"/>
              <a:gd name="connsiteX398" fmla="*/ 1492113 w 6710000"/>
              <a:gd name="connsiteY398" fmla="*/ 2043433 h 6858000"/>
              <a:gd name="connsiteX399" fmla="*/ 1374400 w 6710000"/>
              <a:gd name="connsiteY399" fmla="*/ 2447564 h 6858000"/>
              <a:gd name="connsiteX400" fmla="*/ 1135179 w 6710000"/>
              <a:gd name="connsiteY400" fmla="*/ 3486909 h 6858000"/>
              <a:gd name="connsiteX401" fmla="*/ 1286523 w 6710000"/>
              <a:gd name="connsiteY401" fmla="*/ 4847931 h 6858000"/>
              <a:gd name="connsiteX402" fmla="*/ 2173546 w 6710000"/>
              <a:gd name="connsiteY402" fmla="*/ 6655634 h 6858000"/>
              <a:gd name="connsiteX403" fmla="*/ 2352333 w 6710000"/>
              <a:gd name="connsiteY403" fmla="*/ 6858000 h 6858000"/>
              <a:gd name="connsiteX404" fmla="*/ 2331196 w 6710000"/>
              <a:gd name="connsiteY404" fmla="*/ 6858000 h 6858000"/>
              <a:gd name="connsiteX405" fmla="*/ 2156574 w 6710000"/>
              <a:gd name="connsiteY405" fmla="*/ 6660662 h 6858000"/>
              <a:gd name="connsiteX406" fmla="*/ 1269707 w 6710000"/>
              <a:gd name="connsiteY406" fmla="*/ 4847931 h 6858000"/>
              <a:gd name="connsiteX407" fmla="*/ 1118360 w 6710000"/>
              <a:gd name="connsiteY407" fmla="*/ 3486909 h 6858000"/>
              <a:gd name="connsiteX408" fmla="*/ 1357583 w 6710000"/>
              <a:gd name="connsiteY408" fmla="*/ 2444851 h 6858000"/>
              <a:gd name="connsiteX409" fmla="*/ 1475296 w 6710000"/>
              <a:gd name="connsiteY409" fmla="*/ 2040722 h 6858000"/>
              <a:gd name="connsiteX410" fmla="*/ 1685229 w 6710000"/>
              <a:gd name="connsiteY410" fmla="*/ 1086 h 6858000"/>
              <a:gd name="connsiteX411" fmla="*/ 1501334 w 6710000"/>
              <a:gd name="connsiteY411" fmla="*/ 1086 h 6858000"/>
              <a:gd name="connsiteX412" fmla="*/ 1518153 w 6710000"/>
              <a:gd name="connsiteY412" fmla="*/ 1086 h 6858000"/>
              <a:gd name="connsiteX413" fmla="*/ 1316358 w 6710000"/>
              <a:gd name="connsiteY413" fmla="*/ 2092797 h 6858000"/>
              <a:gd name="connsiteX414" fmla="*/ 1202986 w 6710000"/>
              <a:gd name="connsiteY414" fmla="*/ 2489332 h 6858000"/>
              <a:gd name="connsiteX415" fmla="*/ 967559 w 6710000"/>
              <a:gd name="connsiteY415" fmla="*/ 3541698 h 6858000"/>
              <a:gd name="connsiteX416" fmla="*/ 1127040 w 6710000"/>
              <a:gd name="connsiteY416" fmla="*/ 4904889 h 6858000"/>
              <a:gd name="connsiteX417" fmla="*/ 2029268 w 6710000"/>
              <a:gd name="connsiteY417" fmla="*/ 6712591 h 6858000"/>
              <a:gd name="connsiteX418" fmla="*/ 2158886 w 6710000"/>
              <a:gd name="connsiteY418" fmla="*/ 6858000 h 6858000"/>
              <a:gd name="connsiteX419" fmla="*/ 2141652 w 6710000"/>
              <a:gd name="connsiteY419" fmla="*/ 6858000 h 6858000"/>
              <a:gd name="connsiteX420" fmla="*/ 2015538 w 6710000"/>
              <a:gd name="connsiteY420" fmla="*/ 6717531 h 6858000"/>
              <a:gd name="connsiteX421" fmla="*/ 1110768 w 6710000"/>
              <a:gd name="connsiteY421" fmla="*/ 4904889 h 6858000"/>
              <a:gd name="connsiteX422" fmla="*/ 951284 w 6710000"/>
              <a:gd name="connsiteY422" fmla="*/ 3538985 h 6858000"/>
              <a:gd name="connsiteX423" fmla="*/ 1186709 w 6710000"/>
              <a:gd name="connsiteY423" fmla="*/ 2489332 h 6858000"/>
              <a:gd name="connsiteX424" fmla="*/ 1295746 w 6710000"/>
              <a:gd name="connsiteY424" fmla="*/ 2090085 h 6858000"/>
              <a:gd name="connsiteX425" fmla="*/ 1501334 w 6710000"/>
              <a:gd name="connsiteY425" fmla="*/ 1086 h 6858000"/>
              <a:gd name="connsiteX426" fmla="*/ 1316901 w 6710000"/>
              <a:gd name="connsiteY426" fmla="*/ 1086 h 6858000"/>
              <a:gd name="connsiteX427" fmla="*/ 1333717 w 6710000"/>
              <a:gd name="connsiteY427" fmla="*/ 1086 h 6858000"/>
              <a:gd name="connsiteX428" fmla="*/ 1136262 w 6710000"/>
              <a:gd name="connsiteY428" fmla="*/ 2142160 h 6858000"/>
              <a:gd name="connsiteX429" fmla="*/ 1031027 w 6710000"/>
              <a:gd name="connsiteY429" fmla="*/ 2533814 h 6858000"/>
              <a:gd name="connsiteX430" fmla="*/ 799941 w 6710000"/>
              <a:gd name="connsiteY430" fmla="*/ 3593773 h 6858000"/>
              <a:gd name="connsiteX431" fmla="*/ 971898 w 6710000"/>
              <a:gd name="connsiteY431" fmla="*/ 4959678 h 6858000"/>
              <a:gd name="connsiteX432" fmla="*/ 1887905 w 6710000"/>
              <a:gd name="connsiteY432" fmla="*/ 6770087 h 6858000"/>
              <a:gd name="connsiteX433" fmla="*/ 1967579 w 6710000"/>
              <a:gd name="connsiteY433" fmla="*/ 6858000 h 6858000"/>
              <a:gd name="connsiteX434" fmla="*/ 1944323 w 6710000"/>
              <a:gd name="connsiteY434" fmla="*/ 6858000 h 6858000"/>
              <a:gd name="connsiteX435" fmla="*/ 1871067 w 6710000"/>
              <a:gd name="connsiteY435" fmla="*/ 6776848 h 6858000"/>
              <a:gd name="connsiteX436" fmla="*/ 955083 w 6710000"/>
              <a:gd name="connsiteY436" fmla="*/ 4962390 h 6858000"/>
              <a:gd name="connsiteX437" fmla="*/ 783124 w 6710000"/>
              <a:gd name="connsiteY437" fmla="*/ 3593773 h 6858000"/>
              <a:gd name="connsiteX438" fmla="*/ 1014212 w 6710000"/>
              <a:gd name="connsiteY438" fmla="*/ 2531102 h 6858000"/>
              <a:gd name="connsiteX439" fmla="*/ 1119447 w 6710000"/>
              <a:gd name="connsiteY439" fmla="*/ 2139448 h 6858000"/>
              <a:gd name="connsiteX440" fmla="*/ 1316901 w 6710000"/>
              <a:gd name="connsiteY440" fmla="*/ 1086 h 6858000"/>
              <a:gd name="connsiteX441" fmla="*/ 1131381 w 6710000"/>
              <a:gd name="connsiteY441" fmla="*/ 1086 h 6858000"/>
              <a:gd name="connsiteX442" fmla="*/ 1148196 w 6710000"/>
              <a:gd name="connsiteY442" fmla="*/ 1086 h 6858000"/>
              <a:gd name="connsiteX443" fmla="*/ 959422 w 6710000"/>
              <a:gd name="connsiteY443" fmla="*/ 2188812 h 6858000"/>
              <a:gd name="connsiteX444" fmla="*/ 858526 w 6710000"/>
              <a:gd name="connsiteY444" fmla="*/ 2575041 h 6858000"/>
              <a:gd name="connsiteX445" fmla="*/ 631777 w 6710000"/>
              <a:gd name="connsiteY445" fmla="*/ 3648020 h 6858000"/>
              <a:gd name="connsiteX446" fmla="*/ 812418 w 6710000"/>
              <a:gd name="connsiteY446" fmla="*/ 5016636 h 6858000"/>
              <a:gd name="connsiteX447" fmla="*/ 1743582 w 6710000"/>
              <a:gd name="connsiteY447" fmla="*/ 6827044 h 6858000"/>
              <a:gd name="connsiteX448" fmla="*/ 1771889 w 6710000"/>
              <a:gd name="connsiteY448" fmla="*/ 6858000 h 6858000"/>
              <a:gd name="connsiteX449" fmla="*/ 1751982 w 6710000"/>
              <a:gd name="connsiteY449" fmla="*/ 6858000 h 6858000"/>
              <a:gd name="connsiteX450" fmla="*/ 1729154 w 6710000"/>
              <a:gd name="connsiteY450" fmla="*/ 6833027 h 6858000"/>
              <a:gd name="connsiteX451" fmla="*/ 795600 w 6710000"/>
              <a:gd name="connsiteY451" fmla="*/ 5019348 h 6858000"/>
              <a:gd name="connsiteX452" fmla="*/ 614961 w 6710000"/>
              <a:gd name="connsiteY452" fmla="*/ 3648020 h 6858000"/>
              <a:gd name="connsiteX453" fmla="*/ 837370 w 6710000"/>
              <a:gd name="connsiteY453" fmla="*/ 2575041 h 6858000"/>
              <a:gd name="connsiteX454" fmla="*/ 942606 w 6710000"/>
              <a:gd name="connsiteY454" fmla="*/ 2188812 h 6858000"/>
              <a:gd name="connsiteX455" fmla="*/ 1131381 w 6710000"/>
              <a:gd name="connsiteY455" fmla="*/ 1086 h 6858000"/>
              <a:gd name="connsiteX456" fmla="*/ 946947 w 6710000"/>
              <a:gd name="connsiteY456" fmla="*/ 1086 h 6858000"/>
              <a:gd name="connsiteX457" fmla="*/ 968102 w 6710000"/>
              <a:gd name="connsiteY457" fmla="*/ 1086 h 6858000"/>
              <a:gd name="connsiteX458" fmla="*/ 783124 w 6710000"/>
              <a:gd name="connsiteY458" fmla="*/ 2238175 h 6858000"/>
              <a:gd name="connsiteX459" fmla="*/ 682227 w 6710000"/>
              <a:gd name="connsiteY459" fmla="*/ 2618979 h 6858000"/>
              <a:gd name="connsiteX460" fmla="*/ 467957 w 6710000"/>
              <a:gd name="connsiteY460" fmla="*/ 3702263 h 6858000"/>
              <a:gd name="connsiteX461" fmla="*/ 656732 w 6710000"/>
              <a:gd name="connsiteY461" fmla="*/ 5073592 h 6858000"/>
              <a:gd name="connsiteX462" fmla="*/ 1427113 w 6710000"/>
              <a:gd name="connsiteY462" fmla="*/ 6668060 h 6858000"/>
              <a:gd name="connsiteX463" fmla="*/ 1580273 w 6710000"/>
              <a:gd name="connsiteY463" fmla="*/ 6858000 h 6858000"/>
              <a:gd name="connsiteX464" fmla="*/ 1558574 w 6710000"/>
              <a:gd name="connsiteY464" fmla="*/ 6858000 h 6858000"/>
              <a:gd name="connsiteX465" fmla="*/ 1409772 w 6710000"/>
              <a:gd name="connsiteY465" fmla="*/ 6673398 h 6858000"/>
              <a:gd name="connsiteX466" fmla="*/ 635576 w 6710000"/>
              <a:gd name="connsiteY466" fmla="*/ 5073592 h 6858000"/>
              <a:gd name="connsiteX467" fmla="*/ 446802 w 6710000"/>
              <a:gd name="connsiteY467" fmla="*/ 3702263 h 6858000"/>
              <a:gd name="connsiteX468" fmla="*/ 665412 w 6710000"/>
              <a:gd name="connsiteY468" fmla="*/ 2616267 h 6858000"/>
              <a:gd name="connsiteX469" fmla="*/ 766308 w 6710000"/>
              <a:gd name="connsiteY469" fmla="*/ 2235463 h 6858000"/>
              <a:gd name="connsiteX470" fmla="*/ 946947 w 6710000"/>
              <a:gd name="connsiteY470" fmla="*/ 1086 h 6858000"/>
              <a:gd name="connsiteX471" fmla="*/ 761427 w 6710000"/>
              <a:gd name="connsiteY471" fmla="*/ 1086 h 6858000"/>
              <a:gd name="connsiteX472" fmla="*/ 782582 w 6710000"/>
              <a:gd name="connsiteY472" fmla="*/ 1086 h 6858000"/>
              <a:gd name="connsiteX473" fmla="*/ 606284 w 6710000"/>
              <a:gd name="connsiteY473" fmla="*/ 2286996 h 6858000"/>
              <a:gd name="connsiteX474" fmla="*/ 509728 w 6710000"/>
              <a:gd name="connsiteY474" fmla="*/ 2660207 h 6858000"/>
              <a:gd name="connsiteX475" fmla="*/ 299795 w 6710000"/>
              <a:gd name="connsiteY475" fmla="*/ 3756510 h 6858000"/>
              <a:gd name="connsiteX476" fmla="*/ 497249 w 6710000"/>
              <a:gd name="connsiteY476" fmla="*/ 5127839 h 6858000"/>
              <a:gd name="connsiteX477" fmla="*/ 1281208 w 6710000"/>
              <a:gd name="connsiteY477" fmla="*/ 6724974 h 6858000"/>
              <a:gd name="connsiteX478" fmla="*/ 1389455 w 6710000"/>
              <a:gd name="connsiteY478" fmla="*/ 6858000 h 6858000"/>
              <a:gd name="connsiteX479" fmla="*/ 1370500 w 6710000"/>
              <a:gd name="connsiteY479" fmla="*/ 6858000 h 6858000"/>
              <a:gd name="connsiteX480" fmla="*/ 1265918 w 6710000"/>
              <a:gd name="connsiteY480" fmla="*/ 6730051 h 6858000"/>
              <a:gd name="connsiteX481" fmla="*/ 480434 w 6710000"/>
              <a:gd name="connsiteY481" fmla="*/ 5130551 h 6858000"/>
              <a:gd name="connsiteX482" fmla="*/ 282979 w 6710000"/>
              <a:gd name="connsiteY482" fmla="*/ 3757052 h 6858000"/>
              <a:gd name="connsiteX483" fmla="*/ 492911 w 6710000"/>
              <a:gd name="connsiteY483" fmla="*/ 2658035 h 6858000"/>
              <a:gd name="connsiteX484" fmla="*/ 585128 w 6710000"/>
              <a:gd name="connsiteY484" fmla="*/ 2284827 h 6858000"/>
              <a:gd name="connsiteX485" fmla="*/ 761427 w 6710000"/>
              <a:gd name="connsiteY485" fmla="*/ 1086 h 6858000"/>
              <a:gd name="connsiteX486" fmla="*/ 581330 w 6710000"/>
              <a:gd name="connsiteY486" fmla="*/ 1086 h 6858000"/>
              <a:gd name="connsiteX487" fmla="*/ 598146 w 6710000"/>
              <a:gd name="connsiteY487" fmla="*/ 1086 h 6858000"/>
              <a:gd name="connsiteX488" fmla="*/ 426187 w 6710000"/>
              <a:gd name="connsiteY488" fmla="*/ 2336360 h 6858000"/>
              <a:gd name="connsiteX489" fmla="*/ 337766 w 6710000"/>
              <a:gd name="connsiteY489" fmla="*/ 2701975 h 6858000"/>
              <a:gd name="connsiteX490" fmla="*/ 132176 w 6710000"/>
              <a:gd name="connsiteY490" fmla="*/ 3808585 h 6858000"/>
              <a:gd name="connsiteX491" fmla="*/ 337766 w 6710000"/>
              <a:gd name="connsiteY491" fmla="*/ 5184796 h 6858000"/>
              <a:gd name="connsiteX492" fmla="*/ 1136221 w 6710000"/>
              <a:gd name="connsiteY492" fmla="*/ 6781932 h 6858000"/>
              <a:gd name="connsiteX493" fmla="*/ 1199192 w 6710000"/>
              <a:gd name="connsiteY493" fmla="*/ 6858000 h 6858000"/>
              <a:gd name="connsiteX494" fmla="*/ 1178104 w 6710000"/>
              <a:gd name="connsiteY494" fmla="*/ 6858000 h 6858000"/>
              <a:gd name="connsiteX495" fmla="*/ 1119405 w 6710000"/>
              <a:gd name="connsiteY495" fmla="*/ 6787010 h 6858000"/>
              <a:gd name="connsiteX496" fmla="*/ 320950 w 6710000"/>
              <a:gd name="connsiteY496" fmla="*/ 5187509 h 6858000"/>
              <a:gd name="connsiteX497" fmla="*/ 115360 w 6710000"/>
              <a:gd name="connsiteY497" fmla="*/ 3808585 h 6858000"/>
              <a:gd name="connsiteX498" fmla="*/ 320950 w 6710000"/>
              <a:gd name="connsiteY498" fmla="*/ 2699264 h 6858000"/>
              <a:gd name="connsiteX499" fmla="*/ 409371 w 6710000"/>
              <a:gd name="connsiteY499" fmla="*/ 2333648 h 6858000"/>
              <a:gd name="connsiteX500" fmla="*/ 581330 w 6710000"/>
              <a:gd name="connsiteY500" fmla="*/ 1086 h 6858000"/>
              <a:gd name="connsiteX501" fmla="*/ 211917 w 6710000"/>
              <a:gd name="connsiteY501" fmla="*/ 1086 h 6858000"/>
              <a:gd name="connsiteX502" fmla="*/ 228733 w 6710000"/>
              <a:gd name="connsiteY502" fmla="*/ 1086 h 6858000"/>
              <a:gd name="connsiteX503" fmla="*/ 233074 w 6710000"/>
              <a:gd name="connsiteY503" fmla="*/ 65638 h 6858000"/>
              <a:gd name="connsiteX504" fmla="*/ 73591 w 6710000"/>
              <a:gd name="connsiteY504" fmla="*/ 2432375 h 6858000"/>
              <a:gd name="connsiteX505" fmla="*/ 0 w 6710000"/>
              <a:gd name="connsiteY505" fmla="*/ 2740979 h 6858000"/>
              <a:gd name="connsiteX506" fmla="*/ 0 w 6710000"/>
              <a:gd name="connsiteY506" fmla="*/ 2669289 h 6858000"/>
              <a:gd name="connsiteX507" fmla="*/ 14734 w 6710000"/>
              <a:gd name="connsiteY507" fmla="*/ 2608334 h 6858000"/>
              <a:gd name="connsiteX508" fmla="*/ 56774 w 6710000"/>
              <a:gd name="connsiteY508" fmla="*/ 2432375 h 6858000"/>
              <a:gd name="connsiteX509" fmla="*/ 216257 w 6710000"/>
              <a:gd name="connsiteY509" fmla="*/ 65638 h 6858000"/>
              <a:gd name="connsiteX510" fmla="*/ 211917 w 6710000"/>
              <a:gd name="connsiteY510" fmla="*/ 1086 h 6858000"/>
              <a:gd name="connsiteX511" fmla="*/ 3332125 w 6710000"/>
              <a:gd name="connsiteY511" fmla="*/ 544 h 6858000"/>
              <a:gd name="connsiteX512" fmla="*/ 3348941 w 6710000"/>
              <a:gd name="connsiteY512" fmla="*/ 544 h 6858000"/>
              <a:gd name="connsiteX513" fmla="*/ 3088562 w 6710000"/>
              <a:gd name="connsiteY513" fmla="*/ 1605129 h 6858000"/>
              <a:gd name="connsiteX514" fmla="*/ 2929079 w 6710000"/>
              <a:gd name="connsiteY514" fmla="*/ 2051028 h 6858000"/>
              <a:gd name="connsiteX515" fmla="*/ 2639409 w 6710000"/>
              <a:gd name="connsiteY515" fmla="*/ 3002496 h 6858000"/>
              <a:gd name="connsiteX516" fmla="*/ 2711012 w 6710000"/>
              <a:gd name="connsiteY516" fmla="*/ 4340193 h 6858000"/>
              <a:gd name="connsiteX517" fmla="*/ 3622339 w 6710000"/>
              <a:gd name="connsiteY517" fmla="*/ 6346196 h 6858000"/>
              <a:gd name="connsiteX518" fmla="*/ 4017247 w 6710000"/>
              <a:gd name="connsiteY518" fmla="*/ 6742732 h 6858000"/>
              <a:gd name="connsiteX519" fmla="*/ 4153244 w 6710000"/>
              <a:gd name="connsiteY519" fmla="*/ 6858000 h 6858000"/>
              <a:gd name="connsiteX520" fmla="*/ 4131719 w 6710000"/>
              <a:gd name="connsiteY520" fmla="*/ 6858000 h 6858000"/>
              <a:gd name="connsiteX521" fmla="*/ 4000431 w 6710000"/>
              <a:gd name="connsiteY521" fmla="*/ 6747070 h 6858000"/>
              <a:gd name="connsiteX522" fmla="*/ 3605523 w 6710000"/>
              <a:gd name="connsiteY522" fmla="*/ 6350535 h 6858000"/>
              <a:gd name="connsiteX523" fmla="*/ 2694196 w 6710000"/>
              <a:gd name="connsiteY523" fmla="*/ 4341820 h 6858000"/>
              <a:gd name="connsiteX524" fmla="*/ 2622594 w 6710000"/>
              <a:gd name="connsiteY524" fmla="*/ 3001954 h 6858000"/>
              <a:gd name="connsiteX525" fmla="*/ 2912265 w 6710000"/>
              <a:gd name="connsiteY525" fmla="*/ 2048314 h 6858000"/>
              <a:gd name="connsiteX526" fmla="*/ 3071746 w 6710000"/>
              <a:gd name="connsiteY526" fmla="*/ 1602417 h 6858000"/>
              <a:gd name="connsiteX527" fmla="*/ 3332125 w 6710000"/>
              <a:gd name="connsiteY527" fmla="*/ 544 h 6858000"/>
              <a:gd name="connsiteX528" fmla="*/ 26939 w 6710000"/>
              <a:gd name="connsiteY528" fmla="*/ 544 h 6858000"/>
              <a:gd name="connsiteX529" fmla="*/ 43756 w 6710000"/>
              <a:gd name="connsiteY529" fmla="*/ 544 h 6858000"/>
              <a:gd name="connsiteX530" fmla="*/ 51892 w 6710000"/>
              <a:gd name="connsiteY530" fmla="*/ 106864 h 6858000"/>
              <a:gd name="connsiteX531" fmla="*/ 3605 w 6710000"/>
              <a:gd name="connsiteY531" fmla="*/ 1872585 h 6858000"/>
              <a:gd name="connsiteX532" fmla="*/ 0 w 6710000"/>
              <a:gd name="connsiteY532" fmla="*/ 1893117 h 6858000"/>
              <a:gd name="connsiteX533" fmla="*/ 0 w 6710000"/>
              <a:gd name="connsiteY533" fmla="*/ 1720977 h 6858000"/>
              <a:gd name="connsiteX534" fmla="*/ 46671 w 6710000"/>
              <a:gd name="connsiteY534" fmla="*/ 1272332 h 6858000"/>
              <a:gd name="connsiteX535" fmla="*/ 35076 w 6710000"/>
              <a:gd name="connsiteY535" fmla="*/ 106864 h 6858000"/>
              <a:gd name="connsiteX536" fmla="*/ 26939 w 6710000"/>
              <a:gd name="connsiteY536" fmla="*/ 544 h 6858000"/>
              <a:gd name="connsiteX537" fmla="*/ 3513847 w 6710000"/>
              <a:gd name="connsiteY537" fmla="*/ 0 h 6858000"/>
              <a:gd name="connsiteX538" fmla="*/ 3530663 w 6710000"/>
              <a:gd name="connsiteY538" fmla="*/ 0 h 6858000"/>
              <a:gd name="connsiteX539" fmla="*/ 3265944 w 6710000"/>
              <a:gd name="connsiteY539" fmla="*/ 1555224 h 6858000"/>
              <a:gd name="connsiteX540" fmla="*/ 3102124 w 6710000"/>
              <a:gd name="connsiteY540" fmla="*/ 2003834 h 6858000"/>
              <a:gd name="connsiteX541" fmla="*/ 2808112 w 6710000"/>
              <a:gd name="connsiteY541" fmla="*/ 2947165 h 6858000"/>
              <a:gd name="connsiteX542" fmla="*/ 2871036 w 6710000"/>
              <a:gd name="connsiteY542" fmla="*/ 4284862 h 6858000"/>
              <a:gd name="connsiteX543" fmla="*/ 3765548 w 6710000"/>
              <a:gd name="connsiteY543" fmla="*/ 6288695 h 6858000"/>
              <a:gd name="connsiteX544" fmla="*/ 4151774 w 6710000"/>
              <a:gd name="connsiteY544" fmla="*/ 6685231 h 6858000"/>
              <a:gd name="connsiteX545" fmla="*/ 4327448 w 6710000"/>
              <a:gd name="connsiteY545" fmla="*/ 6833830 h 6858000"/>
              <a:gd name="connsiteX546" fmla="*/ 4358784 w 6710000"/>
              <a:gd name="connsiteY546" fmla="*/ 6858000 h 6858000"/>
              <a:gd name="connsiteX547" fmla="*/ 4338751 w 6710000"/>
              <a:gd name="connsiteY547" fmla="*/ 6858000 h 6858000"/>
              <a:gd name="connsiteX548" fmla="*/ 4314974 w 6710000"/>
              <a:gd name="connsiteY548" fmla="*/ 6839584 h 6858000"/>
              <a:gd name="connsiteX549" fmla="*/ 4139300 w 6710000"/>
              <a:gd name="connsiteY549" fmla="*/ 6690112 h 6858000"/>
              <a:gd name="connsiteX550" fmla="*/ 3748732 w 6710000"/>
              <a:gd name="connsiteY550" fmla="*/ 6293577 h 6858000"/>
              <a:gd name="connsiteX551" fmla="*/ 2849882 w 6710000"/>
              <a:gd name="connsiteY551" fmla="*/ 4284862 h 6858000"/>
              <a:gd name="connsiteX552" fmla="*/ 2791295 w 6710000"/>
              <a:gd name="connsiteY552" fmla="*/ 2947165 h 6858000"/>
              <a:gd name="connsiteX553" fmla="*/ 3085308 w 6710000"/>
              <a:gd name="connsiteY553" fmla="*/ 2001123 h 6858000"/>
              <a:gd name="connsiteX554" fmla="*/ 3249128 w 6710000"/>
              <a:gd name="connsiteY554" fmla="*/ 1555224 h 6858000"/>
              <a:gd name="connsiteX555" fmla="*/ 3513847 w 6710000"/>
              <a:gd name="connsiteY55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</a:cxnLst>
            <a:rect l="l" t="t" r="r" b="b"/>
            <a:pathLst>
              <a:path w="6710000" h="6858000">
                <a:moveTo>
                  <a:pt x="0" y="6767133"/>
                </a:moveTo>
                <a:lnTo>
                  <a:pt x="61409" y="6858000"/>
                </a:lnTo>
                <a:lnTo>
                  <a:pt x="42656" y="6858000"/>
                </a:lnTo>
                <a:lnTo>
                  <a:pt x="0" y="6794901"/>
                </a:lnTo>
                <a:close/>
                <a:moveTo>
                  <a:pt x="0" y="6468280"/>
                </a:moveTo>
                <a:lnTo>
                  <a:pt x="72167" y="6593013"/>
                </a:lnTo>
                <a:cubicBezTo>
                  <a:pt x="123887" y="6676280"/>
                  <a:pt x="177772" y="6757157"/>
                  <a:pt x="233941" y="6835826"/>
                </a:cubicBezTo>
                <a:lnTo>
                  <a:pt x="250890" y="6858000"/>
                </a:lnTo>
                <a:lnTo>
                  <a:pt x="230297" y="6858000"/>
                </a:lnTo>
                <a:lnTo>
                  <a:pt x="217393" y="6841108"/>
                </a:lnTo>
                <a:cubicBezTo>
                  <a:pt x="161228" y="6762391"/>
                  <a:pt x="107343" y="6681451"/>
                  <a:pt x="55623" y="6598099"/>
                </a:cubicBezTo>
                <a:lnTo>
                  <a:pt x="0" y="6501837"/>
                </a:lnTo>
                <a:close/>
                <a:moveTo>
                  <a:pt x="0" y="6127856"/>
                </a:moveTo>
                <a:lnTo>
                  <a:pt x="74782" y="6280093"/>
                </a:lnTo>
                <a:cubicBezTo>
                  <a:pt x="133133" y="6390348"/>
                  <a:pt x="194722" y="6496524"/>
                  <a:pt x="259740" y="6599011"/>
                </a:cubicBezTo>
                <a:lnTo>
                  <a:pt x="439100" y="6858000"/>
                </a:lnTo>
                <a:lnTo>
                  <a:pt x="420644" y="6858000"/>
                </a:lnTo>
                <a:lnTo>
                  <a:pt x="243317" y="6602664"/>
                </a:lnTo>
                <a:cubicBezTo>
                  <a:pt x="177983" y="6499966"/>
                  <a:pt x="116078" y="6393575"/>
                  <a:pt x="57373" y="6283122"/>
                </a:cubicBezTo>
                <a:lnTo>
                  <a:pt x="0" y="6166955"/>
                </a:lnTo>
                <a:close/>
                <a:moveTo>
                  <a:pt x="0" y="5727262"/>
                </a:moveTo>
                <a:lnTo>
                  <a:pt x="93060" y="5950881"/>
                </a:lnTo>
                <a:cubicBezTo>
                  <a:pt x="219449" y="6232060"/>
                  <a:pt x="363554" y="6488065"/>
                  <a:pt x="528035" y="6723817"/>
                </a:cubicBezTo>
                <a:lnTo>
                  <a:pt x="626660" y="6858000"/>
                </a:lnTo>
                <a:lnTo>
                  <a:pt x="607172" y="6858000"/>
                </a:lnTo>
                <a:lnTo>
                  <a:pt x="511220" y="6727192"/>
                </a:lnTo>
                <a:cubicBezTo>
                  <a:pt x="346738" y="6491042"/>
                  <a:pt x="202633" y="6234878"/>
                  <a:pt x="76244" y="5953636"/>
                </a:cubicBezTo>
                <a:lnTo>
                  <a:pt x="0" y="5770403"/>
                </a:lnTo>
                <a:close/>
                <a:moveTo>
                  <a:pt x="0" y="5218362"/>
                </a:moveTo>
                <a:lnTo>
                  <a:pt x="23141" y="5299255"/>
                </a:lnTo>
                <a:cubicBezTo>
                  <a:pt x="193678" y="5825777"/>
                  <a:pt x="407015" y="6274320"/>
                  <a:pt x="677327" y="6667002"/>
                </a:cubicBezTo>
                <a:lnTo>
                  <a:pt x="818345" y="6858000"/>
                </a:lnTo>
                <a:lnTo>
                  <a:pt x="797399" y="6858000"/>
                </a:lnTo>
                <a:lnTo>
                  <a:pt x="659968" y="6671426"/>
                </a:lnTo>
                <a:cubicBezTo>
                  <a:pt x="389657" y="6277710"/>
                  <a:pt x="176319" y="5827472"/>
                  <a:pt x="5783" y="5299255"/>
                </a:cubicBezTo>
                <a:lnTo>
                  <a:pt x="0" y="5279204"/>
                </a:lnTo>
                <a:close/>
                <a:moveTo>
                  <a:pt x="0" y="4465450"/>
                </a:moveTo>
                <a:lnTo>
                  <a:pt x="5037" y="4510117"/>
                </a:lnTo>
                <a:cubicBezTo>
                  <a:pt x="41314" y="4738898"/>
                  <a:pt x="100171" y="4981918"/>
                  <a:pt x="182081" y="5242297"/>
                </a:cubicBezTo>
                <a:cubicBezTo>
                  <a:pt x="380622" y="5874123"/>
                  <a:pt x="642934" y="6393660"/>
                  <a:pt x="990300" y="6839127"/>
                </a:cubicBezTo>
                <a:lnTo>
                  <a:pt x="1006050" y="6858000"/>
                </a:lnTo>
                <a:lnTo>
                  <a:pt x="984214" y="6858000"/>
                </a:lnTo>
                <a:lnTo>
                  <a:pt x="972958" y="6844510"/>
                </a:lnTo>
                <a:cubicBezTo>
                  <a:pt x="625541" y="6398916"/>
                  <a:pt x="362721" y="5878870"/>
                  <a:pt x="160926" y="5245010"/>
                </a:cubicBezTo>
                <a:cubicBezTo>
                  <a:pt x="119971" y="5114685"/>
                  <a:pt x="85050" y="4988767"/>
                  <a:pt x="55970" y="4866800"/>
                </a:cubicBezTo>
                <a:lnTo>
                  <a:pt x="0" y="4583010"/>
                </a:lnTo>
                <a:close/>
                <a:moveTo>
                  <a:pt x="5126028" y="2170"/>
                </a:moveTo>
                <a:lnTo>
                  <a:pt x="5142843" y="2170"/>
                </a:lnTo>
                <a:cubicBezTo>
                  <a:pt x="5104872" y="380262"/>
                  <a:pt x="5012655" y="753473"/>
                  <a:pt x="4865649" y="1121800"/>
                </a:cubicBezTo>
                <a:cubicBezTo>
                  <a:pt x="4798383" y="1280198"/>
                  <a:pt x="4727323" y="1438052"/>
                  <a:pt x="4655718" y="1593737"/>
                </a:cubicBezTo>
                <a:cubicBezTo>
                  <a:pt x="4521190" y="1875815"/>
                  <a:pt x="4382863" y="2168741"/>
                  <a:pt x="4311259" y="2464379"/>
                </a:cubicBezTo>
                <a:cubicBezTo>
                  <a:pt x="4197884" y="2923297"/>
                  <a:pt x="4239655" y="3384927"/>
                  <a:pt x="4290102" y="3778751"/>
                </a:cubicBezTo>
                <a:cubicBezTo>
                  <a:pt x="4370386" y="4356466"/>
                  <a:pt x="4525528" y="5105599"/>
                  <a:pt x="5033811" y="5774448"/>
                </a:cubicBezTo>
                <a:cubicBezTo>
                  <a:pt x="5134164" y="5912231"/>
                  <a:pt x="5256216" y="6046760"/>
                  <a:pt x="5386407" y="6176406"/>
                </a:cubicBezTo>
                <a:cubicBezTo>
                  <a:pt x="5602575" y="6387694"/>
                  <a:pt x="5852376" y="6587996"/>
                  <a:pt x="6134792" y="6775957"/>
                </a:cubicBezTo>
                <a:lnTo>
                  <a:pt x="6263750" y="6858000"/>
                </a:lnTo>
                <a:lnTo>
                  <a:pt x="6240757" y="6858000"/>
                </a:lnTo>
                <a:lnTo>
                  <a:pt x="6121638" y="6782466"/>
                </a:lnTo>
                <a:cubicBezTo>
                  <a:pt x="5838137" y="6594234"/>
                  <a:pt x="5588200" y="6393389"/>
                  <a:pt x="5373930" y="6180746"/>
                </a:cubicBezTo>
                <a:cubicBezTo>
                  <a:pt x="5239400" y="6051099"/>
                  <a:pt x="5122231" y="5916027"/>
                  <a:pt x="5016994" y="5778787"/>
                </a:cubicBezTo>
                <a:cubicBezTo>
                  <a:pt x="4508712" y="5107226"/>
                  <a:pt x="4353027" y="4358094"/>
                  <a:pt x="4273287" y="3777665"/>
                </a:cubicBezTo>
                <a:cubicBezTo>
                  <a:pt x="4219039" y="3386011"/>
                  <a:pt x="4181069" y="2922213"/>
                  <a:pt x="4294441" y="2463294"/>
                </a:cubicBezTo>
                <a:cubicBezTo>
                  <a:pt x="4365504" y="2165487"/>
                  <a:pt x="4504372" y="1872559"/>
                  <a:pt x="4634562" y="1589939"/>
                </a:cubicBezTo>
                <a:cubicBezTo>
                  <a:pt x="4709963" y="1434254"/>
                  <a:pt x="4781568" y="1275859"/>
                  <a:pt x="4844493" y="1118004"/>
                </a:cubicBezTo>
                <a:cubicBezTo>
                  <a:pt x="4991498" y="750219"/>
                  <a:pt x="5088056" y="377008"/>
                  <a:pt x="5126028" y="2170"/>
                </a:cubicBezTo>
                <a:close/>
                <a:moveTo>
                  <a:pt x="5302868" y="1628"/>
                </a:moveTo>
                <a:lnTo>
                  <a:pt x="5319685" y="1628"/>
                </a:lnTo>
                <a:cubicBezTo>
                  <a:pt x="5277915" y="361818"/>
                  <a:pt x="5185156" y="719297"/>
                  <a:pt x="5042488" y="1071894"/>
                </a:cubicBezTo>
                <a:cubicBezTo>
                  <a:pt x="4975223" y="1229749"/>
                  <a:pt x="4899824" y="1390316"/>
                  <a:pt x="4828219" y="1546001"/>
                </a:cubicBezTo>
                <a:cubicBezTo>
                  <a:pt x="4693688" y="1825909"/>
                  <a:pt x="4554822" y="2116123"/>
                  <a:pt x="4479419" y="2411762"/>
                </a:cubicBezTo>
                <a:cubicBezTo>
                  <a:pt x="4361707" y="2865254"/>
                  <a:pt x="4399678" y="3329055"/>
                  <a:pt x="4450126" y="3720708"/>
                </a:cubicBezTo>
                <a:cubicBezTo>
                  <a:pt x="4526070" y="4298424"/>
                  <a:pt x="4676873" y="5047556"/>
                  <a:pt x="5172679" y="5716404"/>
                </a:cubicBezTo>
                <a:cubicBezTo>
                  <a:pt x="5277373" y="5854188"/>
                  <a:pt x="5395086" y="5988718"/>
                  <a:pt x="5525274" y="6118364"/>
                </a:cubicBezTo>
                <a:cubicBezTo>
                  <a:pt x="5739545" y="6331007"/>
                  <a:pt x="5988396" y="6531987"/>
                  <a:pt x="6269795" y="6720287"/>
                </a:cubicBezTo>
                <a:lnTo>
                  <a:pt x="6485166" y="6858000"/>
                </a:lnTo>
                <a:lnTo>
                  <a:pt x="6459959" y="6858000"/>
                </a:lnTo>
                <a:lnTo>
                  <a:pt x="6254606" y="6726797"/>
                </a:lnTo>
                <a:cubicBezTo>
                  <a:pt x="5972123" y="6537955"/>
                  <a:pt x="5722186" y="6336432"/>
                  <a:pt x="5507917" y="6123789"/>
                </a:cubicBezTo>
                <a:cubicBezTo>
                  <a:pt x="5377726" y="5994143"/>
                  <a:pt x="5260557" y="5859071"/>
                  <a:pt x="5155319" y="5721828"/>
                </a:cubicBezTo>
                <a:cubicBezTo>
                  <a:pt x="4655176" y="5050268"/>
                  <a:pt x="4508170" y="4301679"/>
                  <a:pt x="4432767" y="3723420"/>
                </a:cubicBezTo>
                <a:cubicBezTo>
                  <a:pt x="4382319" y="3329055"/>
                  <a:pt x="4344347" y="2865254"/>
                  <a:pt x="4462062" y="2409049"/>
                </a:cubicBezTo>
                <a:cubicBezTo>
                  <a:pt x="4537462" y="2113410"/>
                  <a:pt x="4676331" y="1823196"/>
                  <a:pt x="4806521" y="1543289"/>
                </a:cubicBezTo>
                <a:cubicBezTo>
                  <a:pt x="4882464" y="1388146"/>
                  <a:pt x="4957866" y="1227037"/>
                  <a:pt x="5025132" y="1069182"/>
                </a:cubicBezTo>
                <a:cubicBezTo>
                  <a:pt x="5168338" y="719297"/>
                  <a:pt x="5260557" y="361276"/>
                  <a:pt x="5302868" y="1628"/>
                </a:cubicBezTo>
                <a:close/>
                <a:moveTo>
                  <a:pt x="4949188" y="1628"/>
                </a:moveTo>
                <a:lnTo>
                  <a:pt x="4966003" y="1628"/>
                </a:lnTo>
                <a:cubicBezTo>
                  <a:pt x="4928032" y="395452"/>
                  <a:pt x="4835812" y="784392"/>
                  <a:pt x="4684468" y="1167910"/>
                </a:cubicBezTo>
                <a:cubicBezTo>
                  <a:pt x="4625882" y="1326306"/>
                  <a:pt x="4550481" y="1484161"/>
                  <a:pt x="4478877" y="1639846"/>
                </a:cubicBezTo>
                <a:cubicBezTo>
                  <a:pt x="4348688" y="1925179"/>
                  <a:pt x="4214701" y="2220274"/>
                  <a:pt x="4143096" y="2518625"/>
                </a:cubicBezTo>
                <a:cubicBezTo>
                  <a:pt x="4034062" y="2979712"/>
                  <a:pt x="4076375" y="3441343"/>
                  <a:pt x="4134959" y="3835167"/>
                </a:cubicBezTo>
                <a:cubicBezTo>
                  <a:pt x="4219039" y="4412883"/>
                  <a:pt x="4378523" y="5162014"/>
                  <a:pt x="4891144" y="5830862"/>
                </a:cubicBezTo>
                <a:cubicBezTo>
                  <a:pt x="4996382" y="5968646"/>
                  <a:pt x="5117890" y="6103176"/>
                  <a:pt x="5252419" y="6232823"/>
                </a:cubicBezTo>
                <a:cubicBezTo>
                  <a:pt x="5466689" y="6442753"/>
                  <a:pt x="5717711" y="6642377"/>
                  <a:pt x="6002296" y="6830338"/>
                </a:cubicBezTo>
                <a:lnTo>
                  <a:pt x="6046090" y="6858000"/>
                </a:lnTo>
                <a:lnTo>
                  <a:pt x="6022791" y="6858000"/>
                </a:lnTo>
                <a:lnTo>
                  <a:pt x="5990091" y="6837390"/>
                </a:lnTo>
                <a:cubicBezTo>
                  <a:pt x="5704556" y="6649158"/>
                  <a:pt x="5452586" y="6448992"/>
                  <a:pt x="5236146" y="6237705"/>
                </a:cubicBezTo>
                <a:cubicBezTo>
                  <a:pt x="5101617" y="6108057"/>
                  <a:pt x="4980107" y="5972985"/>
                  <a:pt x="4874871" y="5835744"/>
                </a:cubicBezTo>
                <a:cubicBezTo>
                  <a:pt x="4362249" y="5164183"/>
                  <a:pt x="4198428" y="4412883"/>
                  <a:pt x="4114346" y="3834624"/>
                </a:cubicBezTo>
                <a:cubicBezTo>
                  <a:pt x="4059558" y="3440800"/>
                  <a:pt x="4017789" y="2976999"/>
                  <a:pt x="4126822" y="2515371"/>
                </a:cubicBezTo>
                <a:cubicBezTo>
                  <a:pt x="4197884" y="2217020"/>
                  <a:pt x="4332415" y="1921924"/>
                  <a:pt x="4462604" y="1636591"/>
                </a:cubicBezTo>
                <a:cubicBezTo>
                  <a:pt x="4533665" y="1480906"/>
                  <a:pt x="4605270" y="1322509"/>
                  <a:pt x="4668195" y="1164654"/>
                </a:cubicBezTo>
                <a:cubicBezTo>
                  <a:pt x="4819539" y="783850"/>
                  <a:pt x="4911759" y="392740"/>
                  <a:pt x="4949188" y="1628"/>
                </a:cubicBezTo>
                <a:close/>
                <a:moveTo>
                  <a:pt x="4768549" y="1628"/>
                </a:moveTo>
                <a:lnTo>
                  <a:pt x="4785365" y="1628"/>
                </a:lnTo>
                <a:cubicBezTo>
                  <a:pt x="4756073" y="411184"/>
                  <a:pt x="4663312" y="818026"/>
                  <a:pt x="4508170" y="1217273"/>
                </a:cubicBezTo>
                <a:cubicBezTo>
                  <a:pt x="4449042" y="1375670"/>
                  <a:pt x="4377980" y="1533524"/>
                  <a:pt x="4306375" y="1686497"/>
                </a:cubicBezTo>
                <a:cubicBezTo>
                  <a:pt x="4179983" y="1973999"/>
                  <a:pt x="4045997" y="2272351"/>
                  <a:pt x="3974392" y="2572871"/>
                </a:cubicBezTo>
                <a:cubicBezTo>
                  <a:pt x="3869156" y="3033959"/>
                  <a:pt x="3915807" y="3497758"/>
                  <a:pt x="3974392" y="3889412"/>
                </a:cubicBezTo>
                <a:cubicBezTo>
                  <a:pt x="4062270" y="4467670"/>
                  <a:pt x="4230432" y="5216259"/>
                  <a:pt x="4751189" y="5887821"/>
                </a:cubicBezTo>
                <a:cubicBezTo>
                  <a:pt x="4856425" y="6025604"/>
                  <a:pt x="4977938" y="6160133"/>
                  <a:pt x="5112467" y="6289780"/>
                </a:cubicBezTo>
                <a:cubicBezTo>
                  <a:pt x="5274593" y="6446211"/>
                  <a:pt x="5457468" y="6597225"/>
                  <a:pt x="5659720" y="6742109"/>
                </a:cubicBezTo>
                <a:lnTo>
                  <a:pt x="5829044" y="6858000"/>
                </a:lnTo>
                <a:lnTo>
                  <a:pt x="5805955" y="6858000"/>
                </a:lnTo>
                <a:lnTo>
                  <a:pt x="5646726" y="6749042"/>
                </a:lnTo>
                <a:cubicBezTo>
                  <a:pt x="5443839" y="6603761"/>
                  <a:pt x="5259946" y="6452111"/>
                  <a:pt x="5096192" y="6294663"/>
                </a:cubicBezTo>
                <a:cubicBezTo>
                  <a:pt x="4961663" y="6165016"/>
                  <a:pt x="4840154" y="6029944"/>
                  <a:pt x="4734917" y="5892702"/>
                </a:cubicBezTo>
                <a:cubicBezTo>
                  <a:pt x="4214159" y="5218429"/>
                  <a:pt x="4046539" y="4469839"/>
                  <a:pt x="3958119" y="3891582"/>
                </a:cubicBezTo>
                <a:cubicBezTo>
                  <a:pt x="3899533" y="3497758"/>
                  <a:pt x="3852883" y="3033416"/>
                  <a:pt x="3958119" y="2569615"/>
                </a:cubicBezTo>
                <a:cubicBezTo>
                  <a:pt x="4029723" y="2269095"/>
                  <a:pt x="4164253" y="1970744"/>
                  <a:pt x="4290102" y="1683243"/>
                </a:cubicBezTo>
                <a:cubicBezTo>
                  <a:pt x="4361707" y="1530269"/>
                  <a:pt x="4433312" y="1371873"/>
                  <a:pt x="4491897" y="1214017"/>
                </a:cubicBezTo>
                <a:cubicBezTo>
                  <a:pt x="4647039" y="814770"/>
                  <a:pt x="4739799" y="410640"/>
                  <a:pt x="4768549" y="1628"/>
                </a:cubicBezTo>
                <a:close/>
                <a:moveTo>
                  <a:pt x="4591166" y="1628"/>
                </a:moveTo>
                <a:lnTo>
                  <a:pt x="4607983" y="1628"/>
                </a:lnTo>
                <a:cubicBezTo>
                  <a:pt x="4578691" y="426914"/>
                  <a:pt x="4485930" y="849488"/>
                  <a:pt x="4330786" y="1266636"/>
                </a:cubicBezTo>
                <a:cubicBezTo>
                  <a:pt x="4272201" y="1421778"/>
                  <a:pt x="4200599" y="1580176"/>
                  <a:pt x="4133333" y="1730437"/>
                </a:cubicBezTo>
                <a:cubicBezTo>
                  <a:pt x="4007482" y="2023362"/>
                  <a:pt x="3877293" y="2323884"/>
                  <a:pt x="3810028" y="2627116"/>
                </a:cubicBezTo>
                <a:cubicBezTo>
                  <a:pt x="3705334" y="3090916"/>
                  <a:pt x="3755783" y="3554716"/>
                  <a:pt x="3814368" y="3946370"/>
                </a:cubicBezTo>
                <a:cubicBezTo>
                  <a:pt x="3906585" y="4524628"/>
                  <a:pt x="4078544" y="5273217"/>
                  <a:pt x="4607983" y="5944777"/>
                </a:cubicBezTo>
                <a:cubicBezTo>
                  <a:pt x="4717559" y="6082563"/>
                  <a:pt x="4839067" y="6217092"/>
                  <a:pt x="4973597" y="6346738"/>
                </a:cubicBezTo>
                <a:cubicBezTo>
                  <a:pt x="5137351" y="6502152"/>
                  <a:pt x="5321167" y="6652150"/>
                  <a:pt x="5524416" y="6796302"/>
                </a:cubicBezTo>
                <a:lnTo>
                  <a:pt x="5615411" y="6858000"/>
                </a:lnTo>
                <a:lnTo>
                  <a:pt x="5592917" y="6858000"/>
                </a:lnTo>
                <a:lnTo>
                  <a:pt x="5512626" y="6803376"/>
                </a:lnTo>
                <a:cubicBezTo>
                  <a:pt x="5309309" y="6658683"/>
                  <a:pt x="5125417" y="6508050"/>
                  <a:pt x="4961663" y="6351619"/>
                </a:cubicBezTo>
                <a:cubicBezTo>
                  <a:pt x="4823336" y="6221973"/>
                  <a:pt x="4701284" y="6086902"/>
                  <a:pt x="4592250" y="5949660"/>
                </a:cubicBezTo>
                <a:cubicBezTo>
                  <a:pt x="4063356" y="5275386"/>
                  <a:pt x="3890855" y="4526797"/>
                  <a:pt x="3798637" y="3948538"/>
                </a:cubicBezTo>
                <a:cubicBezTo>
                  <a:pt x="3735712" y="3554174"/>
                  <a:pt x="3689604" y="3090374"/>
                  <a:pt x="3790500" y="2623862"/>
                </a:cubicBezTo>
                <a:cubicBezTo>
                  <a:pt x="3857764" y="2320629"/>
                  <a:pt x="3992294" y="2020108"/>
                  <a:pt x="4118143" y="1727181"/>
                </a:cubicBezTo>
                <a:cubicBezTo>
                  <a:pt x="4185408" y="1576921"/>
                  <a:pt x="4257012" y="1419067"/>
                  <a:pt x="4315597" y="1263380"/>
                </a:cubicBezTo>
                <a:cubicBezTo>
                  <a:pt x="4470741" y="848402"/>
                  <a:pt x="4563500" y="426371"/>
                  <a:pt x="4591166" y="1628"/>
                </a:cubicBezTo>
                <a:close/>
                <a:moveTo>
                  <a:pt x="4411613" y="1628"/>
                </a:moveTo>
                <a:lnTo>
                  <a:pt x="4428428" y="1628"/>
                </a:lnTo>
                <a:cubicBezTo>
                  <a:pt x="4407816" y="442646"/>
                  <a:pt x="4315055" y="883119"/>
                  <a:pt x="4155574" y="1316000"/>
                </a:cubicBezTo>
                <a:cubicBezTo>
                  <a:pt x="4096988" y="1471685"/>
                  <a:pt x="4029723" y="1627370"/>
                  <a:pt x="3962458" y="1777631"/>
                </a:cubicBezTo>
                <a:cubicBezTo>
                  <a:pt x="3836608" y="2070556"/>
                  <a:pt x="3706420" y="2373789"/>
                  <a:pt x="3643494" y="2679735"/>
                </a:cubicBezTo>
                <a:cubicBezTo>
                  <a:pt x="3542598" y="3151671"/>
                  <a:pt x="3597386" y="3633914"/>
                  <a:pt x="3660310" y="4004412"/>
                </a:cubicBezTo>
                <a:cubicBezTo>
                  <a:pt x="3756869" y="4582670"/>
                  <a:pt x="3933709" y="5331260"/>
                  <a:pt x="4466944" y="6002821"/>
                </a:cubicBezTo>
                <a:cubicBezTo>
                  <a:pt x="4575976" y="6140606"/>
                  <a:pt x="4701826" y="6275134"/>
                  <a:pt x="4840696" y="6404781"/>
                </a:cubicBezTo>
                <a:cubicBezTo>
                  <a:pt x="5004450" y="6559381"/>
                  <a:pt x="5188877" y="6708794"/>
                  <a:pt x="5392889" y="6852676"/>
                </a:cubicBezTo>
                <a:lnTo>
                  <a:pt x="5400780" y="6858000"/>
                </a:lnTo>
                <a:lnTo>
                  <a:pt x="5377398" y="6858000"/>
                </a:lnTo>
                <a:lnTo>
                  <a:pt x="5181205" y="6713413"/>
                </a:lnTo>
                <a:cubicBezTo>
                  <a:pt x="5053304" y="6614678"/>
                  <a:pt x="4934133" y="6513408"/>
                  <a:pt x="4823879" y="6409663"/>
                </a:cubicBezTo>
                <a:cubicBezTo>
                  <a:pt x="4685552" y="6280015"/>
                  <a:pt x="4563500" y="6144944"/>
                  <a:pt x="4454468" y="6007703"/>
                </a:cubicBezTo>
                <a:cubicBezTo>
                  <a:pt x="3916892" y="5333430"/>
                  <a:pt x="3736254" y="4582128"/>
                  <a:pt x="3644036" y="4003870"/>
                </a:cubicBezTo>
                <a:cubicBezTo>
                  <a:pt x="3581112" y="3635542"/>
                  <a:pt x="3521983" y="3151128"/>
                  <a:pt x="3627220" y="2679193"/>
                </a:cubicBezTo>
                <a:cubicBezTo>
                  <a:pt x="3690146" y="2373247"/>
                  <a:pt x="3820334" y="2067301"/>
                  <a:pt x="3946184" y="1774375"/>
                </a:cubicBezTo>
                <a:cubicBezTo>
                  <a:pt x="4012907" y="1623573"/>
                  <a:pt x="4080171" y="1468430"/>
                  <a:pt x="4134959" y="1312746"/>
                </a:cubicBezTo>
                <a:cubicBezTo>
                  <a:pt x="4298782" y="879865"/>
                  <a:pt x="4390999" y="441560"/>
                  <a:pt x="4411613" y="1628"/>
                </a:cubicBezTo>
                <a:close/>
                <a:moveTo>
                  <a:pt x="3875123" y="1628"/>
                </a:moveTo>
                <a:lnTo>
                  <a:pt x="3891940" y="1628"/>
                </a:lnTo>
                <a:cubicBezTo>
                  <a:pt x="3878920" y="491467"/>
                  <a:pt x="3791042" y="978592"/>
                  <a:pt x="3622881" y="1460836"/>
                </a:cubicBezTo>
                <a:cubicBezTo>
                  <a:pt x="3568635" y="1613808"/>
                  <a:pt x="3505168" y="1766780"/>
                  <a:pt x="3446582" y="1914329"/>
                </a:cubicBezTo>
                <a:cubicBezTo>
                  <a:pt x="3325072" y="2215392"/>
                  <a:pt x="3198680" y="2528932"/>
                  <a:pt x="3140095" y="2842471"/>
                </a:cubicBezTo>
                <a:cubicBezTo>
                  <a:pt x="3051677" y="3319290"/>
                  <a:pt x="3114600" y="3803704"/>
                  <a:pt x="3186204" y="4172031"/>
                </a:cubicBezTo>
                <a:cubicBezTo>
                  <a:pt x="3290899" y="4750289"/>
                  <a:pt x="3488351" y="5499422"/>
                  <a:pt x="4047082" y="6173153"/>
                </a:cubicBezTo>
                <a:cubicBezTo>
                  <a:pt x="4160455" y="6310393"/>
                  <a:pt x="4286847" y="6445465"/>
                  <a:pt x="4429513" y="6572400"/>
                </a:cubicBezTo>
                <a:cubicBezTo>
                  <a:pt x="4484641" y="6623256"/>
                  <a:pt x="4542192" y="6673628"/>
                  <a:pt x="4602120" y="6723496"/>
                </a:cubicBezTo>
                <a:lnTo>
                  <a:pt x="4771866" y="6858000"/>
                </a:lnTo>
                <a:lnTo>
                  <a:pt x="4748471" y="6858000"/>
                </a:lnTo>
                <a:lnTo>
                  <a:pt x="4586735" y="6730859"/>
                </a:lnTo>
                <a:cubicBezTo>
                  <a:pt x="4526392" y="6681171"/>
                  <a:pt x="4468366" y="6631053"/>
                  <a:pt x="4412697" y="6580537"/>
                </a:cubicBezTo>
                <a:cubicBezTo>
                  <a:pt x="4269490" y="6450890"/>
                  <a:pt x="4143639" y="6315818"/>
                  <a:pt x="4030265" y="6178577"/>
                </a:cubicBezTo>
                <a:cubicBezTo>
                  <a:pt x="3472078" y="5501592"/>
                  <a:pt x="3274625" y="4750289"/>
                  <a:pt x="3169387" y="4174744"/>
                </a:cubicBezTo>
                <a:cubicBezTo>
                  <a:pt x="3098327" y="3804247"/>
                  <a:pt x="3031061" y="3319290"/>
                  <a:pt x="3123279" y="2839759"/>
                </a:cubicBezTo>
                <a:cubicBezTo>
                  <a:pt x="3181863" y="2525677"/>
                  <a:pt x="3307714" y="2214850"/>
                  <a:pt x="3429766" y="1911616"/>
                </a:cubicBezTo>
                <a:cubicBezTo>
                  <a:pt x="3488351" y="1764068"/>
                  <a:pt x="3551277" y="1611096"/>
                  <a:pt x="3606065" y="1458123"/>
                </a:cubicBezTo>
                <a:cubicBezTo>
                  <a:pt x="3774227" y="978592"/>
                  <a:pt x="3862647" y="491467"/>
                  <a:pt x="3875123" y="1628"/>
                </a:cubicBezTo>
                <a:close/>
                <a:moveTo>
                  <a:pt x="2967596" y="1628"/>
                </a:moveTo>
                <a:lnTo>
                  <a:pt x="2984412" y="1628"/>
                </a:lnTo>
                <a:cubicBezTo>
                  <a:pt x="2996886" y="569037"/>
                  <a:pt x="2912807" y="1139159"/>
                  <a:pt x="2736509" y="1704398"/>
                </a:cubicBezTo>
                <a:cubicBezTo>
                  <a:pt x="2690400" y="1849777"/>
                  <a:pt x="2635610" y="1997325"/>
                  <a:pt x="2585163" y="2139990"/>
                </a:cubicBezTo>
                <a:cubicBezTo>
                  <a:pt x="2471790" y="2456243"/>
                  <a:pt x="2354078" y="2782801"/>
                  <a:pt x="2303629" y="3112071"/>
                </a:cubicBezTo>
                <a:cubicBezTo>
                  <a:pt x="2248841" y="3492877"/>
                  <a:pt x="2273794" y="3918163"/>
                  <a:pt x="2395845" y="4454651"/>
                </a:cubicBezTo>
                <a:cubicBezTo>
                  <a:pt x="2584622" y="5309562"/>
                  <a:pt x="2874835" y="5929048"/>
                  <a:pt x="3340804" y="6460655"/>
                </a:cubicBezTo>
                <a:cubicBezTo>
                  <a:pt x="3458517" y="6595183"/>
                  <a:pt x="3593046" y="6730254"/>
                  <a:pt x="3740052" y="6857190"/>
                </a:cubicBezTo>
                <a:lnTo>
                  <a:pt x="3741038" y="6858000"/>
                </a:lnTo>
                <a:lnTo>
                  <a:pt x="3722011" y="6858000"/>
                </a:lnTo>
                <a:lnTo>
                  <a:pt x="3516695" y="6667737"/>
                </a:lnTo>
                <a:cubicBezTo>
                  <a:pt x="3449566" y="6601286"/>
                  <a:pt x="3385556" y="6533885"/>
                  <a:pt x="3324530" y="6466620"/>
                </a:cubicBezTo>
                <a:cubicBezTo>
                  <a:pt x="2858019" y="5932843"/>
                  <a:pt x="2568346" y="5313359"/>
                  <a:pt x="2375233" y="4455193"/>
                </a:cubicBezTo>
                <a:cubicBezTo>
                  <a:pt x="2303629" y="4118328"/>
                  <a:pt x="2211411" y="3612759"/>
                  <a:pt x="2286813" y="3109903"/>
                </a:cubicBezTo>
                <a:cubicBezTo>
                  <a:pt x="2337259" y="2780631"/>
                  <a:pt x="2454974" y="2454072"/>
                  <a:pt x="2568346" y="2137821"/>
                </a:cubicBezTo>
                <a:cubicBezTo>
                  <a:pt x="2618794" y="1995155"/>
                  <a:pt x="2669244" y="1847607"/>
                  <a:pt x="2715351" y="1702229"/>
                </a:cubicBezTo>
                <a:cubicBezTo>
                  <a:pt x="2895991" y="1139701"/>
                  <a:pt x="2980072" y="569037"/>
                  <a:pt x="2967596" y="1628"/>
                </a:cubicBezTo>
                <a:close/>
                <a:moveTo>
                  <a:pt x="2781533" y="1628"/>
                </a:moveTo>
                <a:lnTo>
                  <a:pt x="2802687" y="1628"/>
                </a:lnTo>
                <a:cubicBezTo>
                  <a:pt x="2815165" y="584768"/>
                  <a:pt x="2735423" y="1170621"/>
                  <a:pt x="2554787" y="1751050"/>
                </a:cubicBezTo>
                <a:cubicBezTo>
                  <a:pt x="2513016" y="1896428"/>
                  <a:pt x="2462569" y="2043975"/>
                  <a:pt x="2412119" y="2183930"/>
                </a:cubicBezTo>
                <a:cubicBezTo>
                  <a:pt x="2298746" y="2502894"/>
                  <a:pt x="2185374" y="2834335"/>
                  <a:pt x="2139264" y="3163606"/>
                </a:cubicBezTo>
                <a:cubicBezTo>
                  <a:pt x="2084476" y="3547122"/>
                  <a:pt x="2113768" y="3975120"/>
                  <a:pt x="2235821" y="4508896"/>
                </a:cubicBezTo>
                <a:cubicBezTo>
                  <a:pt x="2357331" y="5039961"/>
                  <a:pt x="2588418" y="5828150"/>
                  <a:pt x="3197595" y="6517612"/>
                </a:cubicBezTo>
                <a:cubicBezTo>
                  <a:pt x="3258350" y="6584877"/>
                  <a:pt x="3322360" y="6652277"/>
                  <a:pt x="3390100" y="6718728"/>
                </a:cubicBezTo>
                <a:lnTo>
                  <a:pt x="3543243" y="6858000"/>
                </a:lnTo>
                <a:lnTo>
                  <a:pt x="3521208" y="6858000"/>
                </a:lnTo>
                <a:lnTo>
                  <a:pt x="3375656" y="6724152"/>
                </a:lnTo>
                <a:cubicBezTo>
                  <a:pt x="3307985" y="6657701"/>
                  <a:pt x="3243975" y="6590301"/>
                  <a:pt x="3185119" y="6523037"/>
                </a:cubicBezTo>
                <a:cubicBezTo>
                  <a:pt x="2571602" y="5830862"/>
                  <a:pt x="2341058" y="5043217"/>
                  <a:pt x="2219005" y="4511610"/>
                </a:cubicBezTo>
                <a:cubicBezTo>
                  <a:pt x="2096953" y="3977288"/>
                  <a:pt x="2063319" y="3547122"/>
                  <a:pt x="2118109" y="3163606"/>
                </a:cubicBezTo>
                <a:cubicBezTo>
                  <a:pt x="2168558" y="2831622"/>
                  <a:pt x="2281931" y="2502894"/>
                  <a:pt x="2395304" y="2181217"/>
                </a:cubicBezTo>
                <a:cubicBezTo>
                  <a:pt x="2441413" y="2041264"/>
                  <a:pt x="2496201" y="1896428"/>
                  <a:pt x="2537968" y="1751050"/>
                </a:cubicBezTo>
                <a:cubicBezTo>
                  <a:pt x="2718608" y="1170621"/>
                  <a:pt x="2798349" y="584768"/>
                  <a:pt x="2781533" y="1628"/>
                </a:cubicBezTo>
                <a:close/>
                <a:moveTo>
                  <a:pt x="2601437" y="1628"/>
                </a:moveTo>
                <a:lnTo>
                  <a:pt x="2618253" y="1628"/>
                </a:lnTo>
                <a:cubicBezTo>
                  <a:pt x="2639409" y="600500"/>
                  <a:pt x="2559668" y="1204254"/>
                  <a:pt x="2379030" y="1800413"/>
                </a:cubicBezTo>
                <a:cubicBezTo>
                  <a:pt x="2336718" y="1945249"/>
                  <a:pt x="2286271" y="2087915"/>
                  <a:pt x="2240161" y="2227868"/>
                </a:cubicBezTo>
                <a:cubicBezTo>
                  <a:pt x="2130585" y="2551716"/>
                  <a:pt x="2017211" y="2883698"/>
                  <a:pt x="1971101" y="3217851"/>
                </a:cubicBezTo>
                <a:cubicBezTo>
                  <a:pt x="1916858" y="3604080"/>
                  <a:pt x="1954286" y="4032077"/>
                  <a:pt x="2076338" y="4565854"/>
                </a:cubicBezTo>
                <a:cubicBezTo>
                  <a:pt x="2278133" y="5411000"/>
                  <a:pt x="2588958" y="6048387"/>
                  <a:pt x="3059271" y="6574569"/>
                </a:cubicBezTo>
                <a:cubicBezTo>
                  <a:pt x="3120025" y="6641834"/>
                  <a:pt x="3184034" y="6709234"/>
                  <a:pt x="3251774" y="6775685"/>
                </a:cubicBezTo>
                <a:lnTo>
                  <a:pt x="3342286" y="6858000"/>
                </a:lnTo>
                <a:lnTo>
                  <a:pt x="3323253" y="6858000"/>
                </a:lnTo>
                <a:lnTo>
                  <a:pt x="3237330" y="6780568"/>
                </a:lnTo>
                <a:cubicBezTo>
                  <a:pt x="3168574" y="6714117"/>
                  <a:pt x="3103480" y="6646716"/>
                  <a:pt x="3042453" y="6579451"/>
                </a:cubicBezTo>
                <a:cubicBezTo>
                  <a:pt x="2572143" y="6053269"/>
                  <a:pt x="2256977" y="5413172"/>
                  <a:pt x="2059523" y="4568025"/>
                </a:cubicBezTo>
                <a:cubicBezTo>
                  <a:pt x="1933131" y="4034247"/>
                  <a:pt x="1899498" y="3604080"/>
                  <a:pt x="1954286" y="3217851"/>
                </a:cubicBezTo>
                <a:cubicBezTo>
                  <a:pt x="1996598" y="2883698"/>
                  <a:pt x="2109971" y="2549544"/>
                  <a:pt x="2223343" y="2227868"/>
                </a:cubicBezTo>
                <a:cubicBezTo>
                  <a:pt x="2269997" y="2087915"/>
                  <a:pt x="2320443" y="1943079"/>
                  <a:pt x="2362214" y="1797702"/>
                </a:cubicBezTo>
                <a:cubicBezTo>
                  <a:pt x="2542852" y="1201541"/>
                  <a:pt x="2622594" y="597787"/>
                  <a:pt x="2601437" y="1628"/>
                </a:cubicBezTo>
                <a:close/>
                <a:moveTo>
                  <a:pt x="2417001" y="1628"/>
                </a:moveTo>
                <a:lnTo>
                  <a:pt x="2438158" y="1628"/>
                </a:lnTo>
                <a:cubicBezTo>
                  <a:pt x="2463111" y="616231"/>
                  <a:pt x="2383370" y="1235717"/>
                  <a:pt x="2202731" y="1849777"/>
                </a:cubicBezTo>
                <a:cubicBezTo>
                  <a:pt x="2160420" y="1992442"/>
                  <a:pt x="2114310" y="2135108"/>
                  <a:pt x="2068202" y="2275062"/>
                </a:cubicBezTo>
                <a:cubicBezTo>
                  <a:pt x="1958626" y="2599451"/>
                  <a:pt x="1845253" y="2936316"/>
                  <a:pt x="1803485" y="3273182"/>
                </a:cubicBezTo>
                <a:cubicBezTo>
                  <a:pt x="1753036" y="3661580"/>
                  <a:pt x="1791007" y="4089578"/>
                  <a:pt x="1921196" y="4623354"/>
                </a:cubicBezTo>
                <a:cubicBezTo>
                  <a:pt x="2122990" y="5468502"/>
                  <a:pt x="2441954" y="6105888"/>
                  <a:pt x="2916605" y="6632070"/>
                </a:cubicBezTo>
                <a:cubicBezTo>
                  <a:pt x="2977631" y="6699334"/>
                  <a:pt x="3042726" y="6766734"/>
                  <a:pt x="3111482" y="6833185"/>
                </a:cubicBezTo>
                <a:lnTo>
                  <a:pt x="3139018" y="6858000"/>
                </a:lnTo>
                <a:lnTo>
                  <a:pt x="3120520" y="6858000"/>
                </a:lnTo>
                <a:lnTo>
                  <a:pt x="3099004" y="6838611"/>
                </a:lnTo>
                <a:cubicBezTo>
                  <a:pt x="3030248" y="6772160"/>
                  <a:pt x="2965153" y="6704760"/>
                  <a:pt x="2904126" y="6637495"/>
                </a:cubicBezTo>
                <a:cubicBezTo>
                  <a:pt x="2425138" y="6111313"/>
                  <a:pt x="2105632" y="5471215"/>
                  <a:pt x="1900040" y="4626066"/>
                </a:cubicBezTo>
                <a:cubicBezTo>
                  <a:pt x="1774192" y="4092289"/>
                  <a:pt x="1736220" y="3662123"/>
                  <a:pt x="1786667" y="3270470"/>
                </a:cubicBezTo>
                <a:cubicBezTo>
                  <a:pt x="1828438" y="2933061"/>
                  <a:pt x="1941810" y="2596196"/>
                  <a:pt x="2047046" y="2272351"/>
                </a:cubicBezTo>
                <a:cubicBezTo>
                  <a:pt x="2093698" y="2132395"/>
                  <a:pt x="2144145" y="1989730"/>
                  <a:pt x="2185916" y="1847065"/>
                </a:cubicBezTo>
                <a:cubicBezTo>
                  <a:pt x="2366554" y="1233004"/>
                  <a:pt x="2441954" y="613518"/>
                  <a:pt x="2417001" y="1628"/>
                </a:cubicBezTo>
                <a:close/>
                <a:moveTo>
                  <a:pt x="2235821" y="1628"/>
                </a:moveTo>
                <a:lnTo>
                  <a:pt x="2252636" y="1628"/>
                </a:lnTo>
                <a:cubicBezTo>
                  <a:pt x="2281931" y="629250"/>
                  <a:pt x="2206528" y="1266636"/>
                  <a:pt x="2025891" y="1899140"/>
                </a:cubicBezTo>
                <a:cubicBezTo>
                  <a:pt x="1983581" y="2039094"/>
                  <a:pt x="1937470" y="2181760"/>
                  <a:pt x="1891360" y="2316289"/>
                </a:cubicBezTo>
                <a:cubicBezTo>
                  <a:pt x="1786667" y="2645559"/>
                  <a:pt x="1677092" y="2985137"/>
                  <a:pt x="1635322" y="3327426"/>
                </a:cubicBezTo>
                <a:cubicBezTo>
                  <a:pt x="1589213" y="3715825"/>
                  <a:pt x="1630983" y="4146536"/>
                  <a:pt x="1761172" y="4680313"/>
                </a:cubicBezTo>
                <a:cubicBezTo>
                  <a:pt x="1971101" y="5522747"/>
                  <a:pt x="2294949" y="6162846"/>
                  <a:pt x="2777736" y="6689028"/>
                </a:cubicBezTo>
                <a:lnTo>
                  <a:pt x="2943569" y="6858000"/>
                </a:lnTo>
                <a:lnTo>
                  <a:pt x="2921504" y="6858000"/>
                </a:lnTo>
                <a:lnTo>
                  <a:pt x="2760920" y="6694452"/>
                </a:lnTo>
                <a:cubicBezTo>
                  <a:pt x="2277590" y="6165558"/>
                  <a:pt x="1954286" y="5527629"/>
                  <a:pt x="1744356" y="4680313"/>
                </a:cubicBezTo>
                <a:cubicBezTo>
                  <a:pt x="1610370" y="4146536"/>
                  <a:pt x="1572397" y="3716368"/>
                  <a:pt x="1618506" y="3324715"/>
                </a:cubicBezTo>
                <a:cubicBezTo>
                  <a:pt x="1660276" y="2985137"/>
                  <a:pt x="1769310" y="2642848"/>
                  <a:pt x="1874544" y="2316289"/>
                </a:cubicBezTo>
                <a:cubicBezTo>
                  <a:pt x="1920654" y="2179047"/>
                  <a:pt x="1966762" y="2036380"/>
                  <a:pt x="2004736" y="1896428"/>
                </a:cubicBezTo>
                <a:cubicBezTo>
                  <a:pt x="2189711" y="1263925"/>
                  <a:pt x="2265113" y="628707"/>
                  <a:pt x="2235821" y="1628"/>
                </a:cubicBezTo>
                <a:close/>
                <a:moveTo>
                  <a:pt x="396352" y="1628"/>
                </a:moveTo>
                <a:lnTo>
                  <a:pt x="413168" y="1628"/>
                </a:lnTo>
                <a:cubicBezTo>
                  <a:pt x="413168" y="9223"/>
                  <a:pt x="413168" y="17360"/>
                  <a:pt x="413168" y="24955"/>
                </a:cubicBezTo>
                <a:cubicBezTo>
                  <a:pt x="484773" y="784392"/>
                  <a:pt x="429986" y="1577463"/>
                  <a:pt x="249348" y="2383554"/>
                </a:cubicBezTo>
                <a:cubicBezTo>
                  <a:pt x="223851" y="2505064"/>
                  <a:pt x="194560" y="2627116"/>
                  <a:pt x="165265" y="2743744"/>
                </a:cubicBezTo>
                <a:cubicBezTo>
                  <a:pt x="118886" y="2926552"/>
                  <a:pt x="72642" y="3112479"/>
                  <a:pt x="35890" y="3299695"/>
                </a:cubicBezTo>
                <a:lnTo>
                  <a:pt x="0" y="3515440"/>
                </a:lnTo>
                <a:lnTo>
                  <a:pt x="0" y="3413219"/>
                </a:lnTo>
                <a:lnTo>
                  <a:pt x="19277" y="3297321"/>
                </a:lnTo>
                <a:cubicBezTo>
                  <a:pt x="56097" y="3109767"/>
                  <a:pt x="102341" y="2923840"/>
                  <a:pt x="148449" y="2741032"/>
                </a:cubicBezTo>
                <a:cubicBezTo>
                  <a:pt x="173945" y="2624404"/>
                  <a:pt x="203238" y="2502894"/>
                  <a:pt x="232530" y="2383554"/>
                </a:cubicBezTo>
                <a:cubicBezTo>
                  <a:pt x="413168" y="1577463"/>
                  <a:pt x="467957" y="784392"/>
                  <a:pt x="396352" y="24955"/>
                </a:cubicBezTo>
                <a:cubicBezTo>
                  <a:pt x="396352" y="17360"/>
                  <a:pt x="396352" y="9223"/>
                  <a:pt x="396352" y="1628"/>
                </a:cubicBezTo>
                <a:close/>
                <a:moveTo>
                  <a:pt x="5479167" y="1086"/>
                </a:moveTo>
                <a:lnTo>
                  <a:pt x="5495983" y="1086"/>
                </a:lnTo>
                <a:cubicBezTo>
                  <a:pt x="5449873" y="346088"/>
                  <a:pt x="5357656" y="688377"/>
                  <a:pt x="5218787" y="1022531"/>
                </a:cubicBezTo>
                <a:cubicBezTo>
                  <a:pt x="5151523" y="1183097"/>
                  <a:pt x="5075579" y="1343666"/>
                  <a:pt x="5000176" y="1499350"/>
                </a:cubicBezTo>
                <a:cubicBezTo>
                  <a:pt x="4861310" y="1776544"/>
                  <a:pt x="4722982" y="2064046"/>
                  <a:pt x="4647581" y="2358057"/>
                </a:cubicBezTo>
                <a:cubicBezTo>
                  <a:pt x="4525528" y="2808839"/>
                  <a:pt x="4559161" y="3272640"/>
                  <a:pt x="4609609" y="3664292"/>
                </a:cubicBezTo>
                <a:cubicBezTo>
                  <a:pt x="4676873" y="4242009"/>
                  <a:pt x="4823879" y="4991140"/>
                  <a:pt x="5315344" y="5659989"/>
                </a:cubicBezTo>
                <a:cubicBezTo>
                  <a:pt x="5633020" y="6092258"/>
                  <a:pt x="6108135" y="6499524"/>
                  <a:pt x="6698707" y="6851723"/>
                </a:cubicBezTo>
                <a:lnTo>
                  <a:pt x="6710000" y="6858000"/>
                </a:lnTo>
                <a:lnTo>
                  <a:pt x="6682458" y="6858000"/>
                </a:lnTo>
                <a:lnTo>
                  <a:pt x="6369337" y="6660278"/>
                </a:lnTo>
                <a:cubicBezTo>
                  <a:pt x="5920182" y="6354333"/>
                  <a:pt x="5558908" y="6020179"/>
                  <a:pt x="5298529" y="5664871"/>
                </a:cubicBezTo>
                <a:cubicBezTo>
                  <a:pt x="4807063" y="4996023"/>
                  <a:pt x="4660057" y="4244721"/>
                  <a:pt x="4588453" y="3666464"/>
                </a:cubicBezTo>
                <a:cubicBezTo>
                  <a:pt x="4542345" y="3272640"/>
                  <a:pt x="4508712" y="2808296"/>
                  <a:pt x="4626425" y="2354803"/>
                </a:cubicBezTo>
                <a:cubicBezTo>
                  <a:pt x="4706167" y="2061877"/>
                  <a:pt x="4844493" y="1773833"/>
                  <a:pt x="4983360" y="1496638"/>
                </a:cubicBezTo>
                <a:cubicBezTo>
                  <a:pt x="5059304" y="1341495"/>
                  <a:pt x="5134707" y="1180386"/>
                  <a:pt x="5201971" y="1019818"/>
                </a:cubicBezTo>
                <a:cubicBezTo>
                  <a:pt x="5340297" y="685123"/>
                  <a:pt x="5433058" y="343377"/>
                  <a:pt x="5479167" y="1086"/>
                </a:cubicBezTo>
                <a:close/>
                <a:moveTo>
                  <a:pt x="4236941" y="1086"/>
                </a:moveTo>
                <a:lnTo>
                  <a:pt x="4253757" y="1086"/>
                </a:lnTo>
                <a:cubicBezTo>
                  <a:pt x="4232603" y="460004"/>
                  <a:pt x="4140384" y="913497"/>
                  <a:pt x="3976562" y="1362108"/>
                </a:cubicBezTo>
                <a:cubicBezTo>
                  <a:pt x="3921775" y="1517793"/>
                  <a:pt x="3854510" y="1673478"/>
                  <a:pt x="3791584" y="1823738"/>
                </a:cubicBezTo>
                <a:cubicBezTo>
                  <a:pt x="3669533" y="2119377"/>
                  <a:pt x="3539342" y="2424780"/>
                  <a:pt x="3476418" y="2733437"/>
                </a:cubicBezTo>
                <a:cubicBezTo>
                  <a:pt x="3379319" y="3207544"/>
                  <a:pt x="3438445" y="3689787"/>
                  <a:pt x="3501371" y="4060285"/>
                </a:cubicBezTo>
                <a:cubicBezTo>
                  <a:pt x="3601726" y="4635831"/>
                  <a:pt x="3786703" y="5384964"/>
                  <a:pt x="4328618" y="6058694"/>
                </a:cubicBezTo>
                <a:cubicBezTo>
                  <a:pt x="4437650" y="6195934"/>
                  <a:pt x="4563500" y="6331006"/>
                  <a:pt x="4702370" y="6457941"/>
                </a:cubicBezTo>
                <a:cubicBezTo>
                  <a:pt x="4812624" y="6561008"/>
                  <a:pt x="4931794" y="6661770"/>
                  <a:pt x="5059754" y="6760124"/>
                </a:cubicBezTo>
                <a:lnTo>
                  <a:pt x="5193099" y="6858000"/>
                </a:lnTo>
                <a:lnTo>
                  <a:pt x="5167772" y="6858000"/>
                </a:lnTo>
                <a:lnTo>
                  <a:pt x="5043684" y="6767235"/>
                </a:lnTo>
                <a:cubicBezTo>
                  <a:pt x="4915249" y="6668923"/>
                  <a:pt x="4795807" y="6568467"/>
                  <a:pt x="4685552" y="6466078"/>
                </a:cubicBezTo>
                <a:cubicBezTo>
                  <a:pt x="4547226" y="6336432"/>
                  <a:pt x="4420833" y="6201360"/>
                  <a:pt x="4311801" y="6064118"/>
                </a:cubicBezTo>
                <a:cubicBezTo>
                  <a:pt x="3770429" y="5389845"/>
                  <a:pt x="3585452" y="4638545"/>
                  <a:pt x="3484555" y="4060285"/>
                </a:cubicBezTo>
                <a:cubicBezTo>
                  <a:pt x="3421629" y="3689787"/>
                  <a:pt x="3358705" y="3205375"/>
                  <a:pt x="3459602" y="2733437"/>
                </a:cubicBezTo>
                <a:cubicBezTo>
                  <a:pt x="3522528" y="2422610"/>
                  <a:pt x="3652716" y="2116666"/>
                  <a:pt x="3774769" y="1821026"/>
                </a:cubicBezTo>
                <a:cubicBezTo>
                  <a:pt x="3837694" y="1670225"/>
                  <a:pt x="3904957" y="1515081"/>
                  <a:pt x="3959747" y="1359397"/>
                </a:cubicBezTo>
                <a:cubicBezTo>
                  <a:pt x="4123569" y="913497"/>
                  <a:pt x="4215786" y="457291"/>
                  <a:pt x="4236941" y="1086"/>
                </a:cubicBezTo>
                <a:close/>
                <a:moveTo>
                  <a:pt x="4055219" y="1086"/>
                </a:moveTo>
                <a:lnTo>
                  <a:pt x="4072035" y="1086"/>
                </a:lnTo>
                <a:cubicBezTo>
                  <a:pt x="4055219" y="475193"/>
                  <a:pt x="3967340" y="947129"/>
                  <a:pt x="3799179" y="1410929"/>
                </a:cubicBezTo>
                <a:cubicBezTo>
                  <a:pt x="3744390" y="1563903"/>
                  <a:pt x="3681467" y="1719588"/>
                  <a:pt x="3618541" y="1869848"/>
                </a:cubicBezTo>
                <a:cubicBezTo>
                  <a:pt x="3496489" y="2168199"/>
                  <a:pt x="3370638" y="2476856"/>
                  <a:pt x="3307714" y="2787684"/>
                </a:cubicBezTo>
                <a:cubicBezTo>
                  <a:pt x="3215497" y="3261791"/>
                  <a:pt x="3278420" y="3746204"/>
                  <a:pt x="3341346" y="4114531"/>
                </a:cubicBezTo>
                <a:cubicBezTo>
                  <a:pt x="3446040" y="4692789"/>
                  <a:pt x="3635357" y="5441922"/>
                  <a:pt x="4185408" y="6115652"/>
                </a:cubicBezTo>
                <a:cubicBezTo>
                  <a:pt x="4298782" y="6252893"/>
                  <a:pt x="4424631" y="6387965"/>
                  <a:pt x="4563500" y="6514900"/>
                </a:cubicBezTo>
                <a:cubicBezTo>
                  <a:pt x="4674839" y="6617289"/>
                  <a:pt x="4795095" y="6717575"/>
                  <a:pt x="4924140" y="6815633"/>
                </a:cubicBezTo>
                <a:lnTo>
                  <a:pt x="4982461" y="6858000"/>
                </a:lnTo>
                <a:lnTo>
                  <a:pt x="4957779" y="6858000"/>
                </a:lnTo>
                <a:lnTo>
                  <a:pt x="4909833" y="6823167"/>
                </a:lnTo>
                <a:cubicBezTo>
                  <a:pt x="4780991" y="6725237"/>
                  <a:pt x="4661278" y="6625290"/>
                  <a:pt x="4551024" y="6523579"/>
                </a:cubicBezTo>
                <a:cubicBezTo>
                  <a:pt x="4408358" y="6393932"/>
                  <a:pt x="4281965" y="6258860"/>
                  <a:pt x="4172932" y="6121620"/>
                </a:cubicBezTo>
                <a:cubicBezTo>
                  <a:pt x="3618541" y="5444634"/>
                  <a:pt x="3429766" y="4696045"/>
                  <a:pt x="3324530" y="4117786"/>
                </a:cubicBezTo>
                <a:cubicBezTo>
                  <a:pt x="3257265" y="3747289"/>
                  <a:pt x="3194341" y="3262333"/>
                  <a:pt x="3290899" y="2785514"/>
                </a:cubicBezTo>
                <a:cubicBezTo>
                  <a:pt x="3353822" y="2474144"/>
                  <a:pt x="3479672" y="2165487"/>
                  <a:pt x="3601726" y="1867678"/>
                </a:cubicBezTo>
                <a:cubicBezTo>
                  <a:pt x="3664649" y="1717416"/>
                  <a:pt x="3727575" y="1561731"/>
                  <a:pt x="3782363" y="1408760"/>
                </a:cubicBezTo>
                <a:cubicBezTo>
                  <a:pt x="3946184" y="944417"/>
                  <a:pt x="4038402" y="473023"/>
                  <a:pt x="4055219" y="1086"/>
                </a:cubicBezTo>
                <a:close/>
                <a:moveTo>
                  <a:pt x="3693943" y="1086"/>
                </a:moveTo>
                <a:lnTo>
                  <a:pt x="3710759" y="1086"/>
                </a:lnTo>
                <a:cubicBezTo>
                  <a:pt x="3702080" y="506655"/>
                  <a:pt x="3614202" y="1012224"/>
                  <a:pt x="3446040" y="1509656"/>
                </a:cubicBezTo>
                <a:cubicBezTo>
                  <a:pt x="3391795" y="1659916"/>
                  <a:pt x="3332667" y="1812889"/>
                  <a:pt x="3274081" y="1960436"/>
                </a:cubicBezTo>
                <a:cubicBezTo>
                  <a:pt x="3156369" y="2263670"/>
                  <a:pt x="3030519" y="2577210"/>
                  <a:pt x="2975731" y="2893463"/>
                </a:cubicBezTo>
                <a:cubicBezTo>
                  <a:pt x="2883515" y="3375706"/>
                  <a:pt x="2954576" y="3860120"/>
                  <a:pt x="3026179" y="4228446"/>
                </a:cubicBezTo>
                <a:cubicBezTo>
                  <a:pt x="3193798" y="5083900"/>
                  <a:pt x="3462856" y="5703385"/>
                  <a:pt x="3903873" y="6232279"/>
                </a:cubicBezTo>
                <a:cubicBezTo>
                  <a:pt x="4017247" y="6366809"/>
                  <a:pt x="4147437" y="6501881"/>
                  <a:pt x="4290102" y="6628815"/>
                </a:cubicBezTo>
                <a:cubicBezTo>
                  <a:pt x="4345772" y="6679332"/>
                  <a:pt x="4403806" y="6729365"/>
                  <a:pt x="4464172" y="6778910"/>
                </a:cubicBezTo>
                <a:lnTo>
                  <a:pt x="4565238" y="6858000"/>
                </a:lnTo>
                <a:lnTo>
                  <a:pt x="4541100" y="6858000"/>
                </a:lnTo>
                <a:lnTo>
                  <a:pt x="4448231" y="6785881"/>
                </a:lnTo>
                <a:cubicBezTo>
                  <a:pt x="4387457" y="6736485"/>
                  <a:pt x="4328956" y="6686655"/>
                  <a:pt x="4272745" y="6636410"/>
                </a:cubicBezTo>
                <a:cubicBezTo>
                  <a:pt x="4134417" y="6506762"/>
                  <a:pt x="4004228" y="6371690"/>
                  <a:pt x="3886514" y="6234449"/>
                </a:cubicBezTo>
                <a:cubicBezTo>
                  <a:pt x="3445498" y="5706097"/>
                  <a:pt x="3176982" y="5086613"/>
                  <a:pt x="3008821" y="4228446"/>
                </a:cubicBezTo>
                <a:cubicBezTo>
                  <a:pt x="2937218" y="3860120"/>
                  <a:pt x="2865613" y="3375706"/>
                  <a:pt x="2954034" y="2893463"/>
                </a:cubicBezTo>
                <a:cubicBezTo>
                  <a:pt x="3013161" y="2577210"/>
                  <a:pt x="3134671" y="2260959"/>
                  <a:pt x="3256723" y="1957725"/>
                </a:cubicBezTo>
                <a:cubicBezTo>
                  <a:pt x="3315851" y="1810178"/>
                  <a:pt x="3374436" y="1657204"/>
                  <a:pt x="3424884" y="1506945"/>
                </a:cubicBezTo>
                <a:cubicBezTo>
                  <a:pt x="3597386" y="1009512"/>
                  <a:pt x="3685806" y="506655"/>
                  <a:pt x="3693943" y="1086"/>
                </a:cubicBezTo>
                <a:close/>
                <a:moveTo>
                  <a:pt x="3147690" y="1086"/>
                </a:moveTo>
                <a:lnTo>
                  <a:pt x="3164506" y="1086"/>
                </a:lnTo>
                <a:cubicBezTo>
                  <a:pt x="3172642" y="553306"/>
                  <a:pt x="3088562" y="1108239"/>
                  <a:pt x="2912265" y="1655035"/>
                </a:cubicBezTo>
                <a:cubicBezTo>
                  <a:pt x="2862358" y="1802583"/>
                  <a:pt x="2811910" y="1950131"/>
                  <a:pt x="2757122" y="2095508"/>
                </a:cubicBezTo>
                <a:cubicBezTo>
                  <a:pt x="2643205" y="2409049"/>
                  <a:pt x="2526037" y="2730726"/>
                  <a:pt x="2471247" y="3057284"/>
                </a:cubicBezTo>
                <a:cubicBezTo>
                  <a:pt x="2412119" y="3440800"/>
                  <a:pt x="2437616" y="3855237"/>
                  <a:pt x="2550987" y="4397151"/>
                </a:cubicBezTo>
                <a:cubicBezTo>
                  <a:pt x="2735966" y="5252061"/>
                  <a:pt x="3021297" y="5871547"/>
                  <a:pt x="3483470" y="6403154"/>
                </a:cubicBezTo>
                <a:cubicBezTo>
                  <a:pt x="3601183" y="6537683"/>
                  <a:pt x="3731372" y="6672755"/>
                  <a:pt x="3878377" y="6799690"/>
                </a:cubicBezTo>
                <a:lnTo>
                  <a:pt x="3948295" y="6858000"/>
                </a:lnTo>
                <a:lnTo>
                  <a:pt x="3925054" y="6858000"/>
                </a:lnTo>
                <a:lnTo>
                  <a:pt x="3861563" y="6805113"/>
                </a:lnTo>
                <a:cubicBezTo>
                  <a:pt x="3718896" y="6678178"/>
                  <a:pt x="3584366" y="6543107"/>
                  <a:pt x="3466654" y="6408577"/>
                </a:cubicBezTo>
                <a:cubicBezTo>
                  <a:pt x="3004481" y="5877515"/>
                  <a:pt x="2719151" y="5258028"/>
                  <a:pt x="2534172" y="4399863"/>
                </a:cubicBezTo>
                <a:cubicBezTo>
                  <a:pt x="2416459" y="3855237"/>
                  <a:pt x="2395845" y="3440800"/>
                  <a:pt x="2454430" y="3054571"/>
                </a:cubicBezTo>
                <a:cubicBezTo>
                  <a:pt x="2504879" y="2730184"/>
                  <a:pt x="2626933" y="2406336"/>
                  <a:pt x="2740306" y="2092797"/>
                </a:cubicBezTo>
                <a:cubicBezTo>
                  <a:pt x="2790211" y="1947961"/>
                  <a:pt x="2845001" y="1799871"/>
                  <a:pt x="2895448" y="1652323"/>
                </a:cubicBezTo>
                <a:cubicBezTo>
                  <a:pt x="3072288" y="1105527"/>
                  <a:pt x="3155827" y="553306"/>
                  <a:pt x="3147690" y="1086"/>
                </a:cubicBezTo>
                <a:close/>
                <a:moveTo>
                  <a:pt x="2051388" y="1086"/>
                </a:moveTo>
                <a:lnTo>
                  <a:pt x="2068202" y="1086"/>
                </a:lnTo>
                <a:cubicBezTo>
                  <a:pt x="2106174" y="643897"/>
                  <a:pt x="2030773" y="1297014"/>
                  <a:pt x="1845795" y="1947418"/>
                </a:cubicBezTo>
                <a:cubicBezTo>
                  <a:pt x="1808366" y="2085202"/>
                  <a:pt x="1766053" y="2225157"/>
                  <a:pt x="1719945" y="2359686"/>
                </a:cubicBezTo>
                <a:cubicBezTo>
                  <a:pt x="1614710" y="2691669"/>
                  <a:pt x="1509473" y="3036127"/>
                  <a:pt x="1467702" y="3378418"/>
                </a:cubicBezTo>
                <a:cubicBezTo>
                  <a:pt x="1425934" y="3772241"/>
                  <a:pt x="1467702" y="4202409"/>
                  <a:pt x="1602233" y="4734016"/>
                </a:cubicBezTo>
                <a:cubicBezTo>
                  <a:pt x="1820843" y="5579164"/>
                  <a:pt x="2148487" y="6219261"/>
                  <a:pt x="2635610" y="6745443"/>
                </a:cubicBezTo>
                <a:lnTo>
                  <a:pt x="2747940" y="6858000"/>
                </a:lnTo>
                <a:lnTo>
                  <a:pt x="2724848" y="6858000"/>
                </a:lnTo>
                <a:lnTo>
                  <a:pt x="2618794" y="6751411"/>
                </a:lnTo>
                <a:cubicBezTo>
                  <a:pt x="2131671" y="6222516"/>
                  <a:pt x="1804027" y="5582417"/>
                  <a:pt x="1585418" y="4737271"/>
                </a:cubicBezTo>
                <a:cubicBezTo>
                  <a:pt x="1450887" y="4202951"/>
                  <a:pt x="1409117" y="3772784"/>
                  <a:pt x="1450887" y="3378960"/>
                </a:cubicBezTo>
                <a:cubicBezTo>
                  <a:pt x="1488861" y="3033959"/>
                  <a:pt x="1597894" y="2691669"/>
                  <a:pt x="1703129" y="2357515"/>
                </a:cubicBezTo>
                <a:cubicBezTo>
                  <a:pt x="1744898" y="2222445"/>
                  <a:pt x="1791007" y="2082490"/>
                  <a:pt x="1828979" y="1945249"/>
                </a:cubicBezTo>
                <a:cubicBezTo>
                  <a:pt x="2013414" y="1294301"/>
                  <a:pt x="2085019" y="643897"/>
                  <a:pt x="2051388" y="1086"/>
                </a:cubicBezTo>
                <a:close/>
                <a:moveTo>
                  <a:pt x="1867492" y="1086"/>
                </a:moveTo>
                <a:lnTo>
                  <a:pt x="1888650" y="1086"/>
                </a:lnTo>
                <a:cubicBezTo>
                  <a:pt x="1926078" y="659085"/>
                  <a:pt x="1855017" y="1327934"/>
                  <a:pt x="1670038" y="1994070"/>
                </a:cubicBezTo>
                <a:cubicBezTo>
                  <a:pt x="1632067" y="2131311"/>
                  <a:pt x="1589756" y="2269095"/>
                  <a:pt x="1547986" y="2403625"/>
                </a:cubicBezTo>
                <a:cubicBezTo>
                  <a:pt x="1447090" y="2737777"/>
                  <a:pt x="1338056" y="3085492"/>
                  <a:pt x="1304425" y="3432664"/>
                </a:cubicBezTo>
                <a:cubicBezTo>
                  <a:pt x="1262111" y="3829198"/>
                  <a:pt x="1308220" y="4259366"/>
                  <a:pt x="1447090" y="4790975"/>
                </a:cubicBezTo>
                <a:cubicBezTo>
                  <a:pt x="1665701" y="5636121"/>
                  <a:pt x="2001480" y="6273506"/>
                  <a:pt x="2497284" y="6802402"/>
                </a:cubicBezTo>
                <a:lnTo>
                  <a:pt x="2552770" y="6858000"/>
                </a:lnTo>
                <a:lnTo>
                  <a:pt x="2530391" y="6858000"/>
                </a:lnTo>
                <a:lnTo>
                  <a:pt x="2480468" y="6807825"/>
                </a:lnTo>
                <a:cubicBezTo>
                  <a:pt x="1984664" y="6278931"/>
                  <a:pt x="1648884" y="5638834"/>
                  <a:pt x="1430274" y="4793686"/>
                </a:cubicBezTo>
                <a:cubicBezTo>
                  <a:pt x="1287609" y="4259366"/>
                  <a:pt x="1245296" y="3829198"/>
                  <a:pt x="1283269" y="3432664"/>
                </a:cubicBezTo>
                <a:cubicBezTo>
                  <a:pt x="1321240" y="3084949"/>
                  <a:pt x="1430274" y="2737777"/>
                  <a:pt x="1531170" y="2400912"/>
                </a:cubicBezTo>
                <a:cubicBezTo>
                  <a:pt x="1573482" y="2268553"/>
                  <a:pt x="1615252" y="2128600"/>
                  <a:pt x="1653223" y="1994070"/>
                </a:cubicBezTo>
                <a:cubicBezTo>
                  <a:pt x="1838202" y="1325764"/>
                  <a:pt x="1909262" y="656915"/>
                  <a:pt x="1867492" y="1086"/>
                </a:cubicBezTo>
                <a:close/>
                <a:moveTo>
                  <a:pt x="1685229" y="1086"/>
                </a:moveTo>
                <a:lnTo>
                  <a:pt x="1702045" y="1086"/>
                </a:lnTo>
                <a:cubicBezTo>
                  <a:pt x="1744356" y="672103"/>
                  <a:pt x="1677092" y="1359397"/>
                  <a:pt x="1492113" y="2043433"/>
                </a:cubicBezTo>
                <a:cubicBezTo>
                  <a:pt x="1454143" y="2177963"/>
                  <a:pt x="1412373" y="2315203"/>
                  <a:pt x="1374400" y="2447564"/>
                </a:cubicBezTo>
                <a:cubicBezTo>
                  <a:pt x="1274047" y="2784429"/>
                  <a:pt x="1168811" y="3137026"/>
                  <a:pt x="1135179" y="3486909"/>
                </a:cubicBezTo>
                <a:cubicBezTo>
                  <a:pt x="1097748" y="3883445"/>
                  <a:pt x="1143858" y="4316326"/>
                  <a:pt x="1286523" y="4847931"/>
                </a:cubicBezTo>
                <a:cubicBezTo>
                  <a:pt x="1484928" y="5585063"/>
                  <a:pt x="1770547" y="6167278"/>
                  <a:pt x="2173546" y="6655634"/>
                </a:cubicBezTo>
                <a:lnTo>
                  <a:pt x="2352333" y="6858000"/>
                </a:lnTo>
                <a:lnTo>
                  <a:pt x="2331196" y="6858000"/>
                </a:lnTo>
                <a:lnTo>
                  <a:pt x="2156574" y="6660662"/>
                </a:lnTo>
                <a:cubicBezTo>
                  <a:pt x="1753315" y="6172500"/>
                  <a:pt x="1468109" y="5589334"/>
                  <a:pt x="1269707" y="4847931"/>
                </a:cubicBezTo>
                <a:cubicBezTo>
                  <a:pt x="1126498" y="4316326"/>
                  <a:pt x="1076593" y="3883445"/>
                  <a:pt x="1118360" y="3486909"/>
                </a:cubicBezTo>
                <a:cubicBezTo>
                  <a:pt x="1151995" y="3134313"/>
                  <a:pt x="1256687" y="2784429"/>
                  <a:pt x="1357583" y="2444851"/>
                </a:cubicBezTo>
                <a:cubicBezTo>
                  <a:pt x="1395557" y="2313035"/>
                  <a:pt x="1437327" y="2175250"/>
                  <a:pt x="1475296" y="2040722"/>
                </a:cubicBezTo>
                <a:cubicBezTo>
                  <a:pt x="1655934" y="1356684"/>
                  <a:pt x="1726996" y="672647"/>
                  <a:pt x="1685229" y="1086"/>
                </a:cubicBezTo>
                <a:close/>
                <a:moveTo>
                  <a:pt x="1501334" y="1086"/>
                </a:moveTo>
                <a:lnTo>
                  <a:pt x="1518153" y="1086"/>
                </a:lnTo>
                <a:cubicBezTo>
                  <a:pt x="1568600" y="687835"/>
                  <a:pt x="1496998" y="1390316"/>
                  <a:pt x="1316358" y="2092797"/>
                </a:cubicBezTo>
                <a:cubicBezTo>
                  <a:pt x="1278387" y="2225157"/>
                  <a:pt x="1240957" y="2359686"/>
                  <a:pt x="1202986" y="2489332"/>
                </a:cubicBezTo>
                <a:cubicBezTo>
                  <a:pt x="1102087" y="2831622"/>
                  <a:pt x="1001191" y="3186389"/>
                  <a:pt x="967559" y="3541698"/>
                </a:cubicBezTo>
                <a:cubicBezTo>
                  <a:pt x="933926" y="3940403"/>
                  <a:pt x="984376" y="4373282"/>
                  <a:pt x="1127040" y="4904889"/>
                </a:cubicBezTo>
                <a:cubicBezTo>
                  <a:pt x="1333040" y="5642020"/>
                  <a:pt x="1622516" y="6224237"/>
                  <a:pt x="2029268" y="6712591"/>
                </a:cubicBezTo>
                <a:lnTo>
                  <a:pt x="2158886" y="6858000"/>
                </a:lnTo>
                <a:lnTo>
                  <a:pt x="2141652" y="6858000"/>
                </a:lnTo>
                <a:lnTo>
                  <a:pt x="2015538" y="6717531"/>
                </a:lnTo>
                <a:cubicBezTo>
                  <a:pt x="1606242" y="6228984"/>
                  <a:pt x="1316766" y="5644394"/>
                  <a:pt x="1110768" y="4904889"/>
                </a:cubicBezTo>
                <a:cubicBezTo>
                  <a:pt x="963762" y="4373825"/>
                  <a:pt x="913312" y="3940945"/>
                  <a:pt x="951284" y="3538985"/>
                </a:cubicBezTo>
                <a:cubicBezTo>
                  <a:pt x="981119" y="3184219"/>
                  <a:pt x="1085814" y="2831622"/>
                  <a:pt x="1186709" y="2489332"/>
                </a:cubicBezTo>
                <a:cubicBezTo>
                  <a:pt x="1224140" y="2356973"/>
                  <a:pt x="1262111" y="2222445"/>
                  <a:pt x="1295746" y="2090085"/>
                </a:cubicBezTo>
                <a:cubicBezTo>
                  <a:pt x="1480179" y="1387604"/>
                  <a:pt x="1547444" y="685123"/>
                  <a:pt x="1501334" y="1086"/>
                </a:cubicBezTo>
                <a:close/>
                <a:moveTo>
                  <a:pt x="1316901" y="1086"/>
                </a:moveTo>
                <a:lnTo>
                  <a:pt x="1333717" y="1086"/>
                </a:lnTo>
                <a:cubicBezTo>
                  <a:pt x="1388503" y="700853"/>
                  <a:pt x="1321240" y="1419067"/>
                  <a:pt x="1136262" y="2142160"/>
                </a:cubicBezTo>
                <a:cubicBezTo>
                  <a:pt x="1102630" y="2271808"/>
                  <a:pt x="1064659" y="2404167"/>
                  <a:pt x="1031027" y="2533814"/>
                </a:cubicBezTo>
                <a:cubicBezTo>
                  <a:pt x="930128" y="2878274"/>
                  <a:pt x="829234" y="3236295"/>
                  <a:pt x="799941" y="3593773"/>
                </a:cubicBezTo>
                <a:cubicBezTo>
                  <a:pt x="766308" y="3995190"/>
                  <a:pt x="820555" y="4430782"/>
                  <a:pt x="971898" y="4959678"/>
                </a:cubicBezTo>
                <a:cubicBezTo>
                  <a:pt x="1181694" y="5699181"/>
                  <a:pt x="1474552" y="6281695"/>
                  <a:pt x="1887905" y="6770087"/>
                </a:cubicBezTo>
                <a:lnTo>
                  <a:pt x="1967579" y="6858000"/>
                </a:lnTo>
                <a:lnTo>
                  <a:pt x="1944323" y="6858000"/>
                </a:lnTo>
                <a:lnTo>
                  <a:pt x="1871067" y="6776848"/>
                </a:lnTo>
                <a:cubicBezTo>
                  <a:pt x="1457617" y="6286484"/>
                  <a:pt x="1164403" y="5701894"/>
                  <a:pt x="955083" y="4962390"/>
                </a:cubicBezTo>
                <a:cubicBezTo>
                  <a:pt x="804279" y="4430782"/>
                  <a:pt x="749492" y="3997904"/>
                  <a:pt x="783124" y="3593773"/>
                </a:cubicBezTo>
                <a:cubicBezTo>
                  <a:pt x="812418" y="3236295"/>
                  <a:pt x="913312" y="2878274"/>
                  <a:pt x="1014212" y="2531102"/>
                </a:cubicBezTo>
                <a:cubicBezTo>
                  <a:pt x="1047843" y="2403625"/>
                  <a:pt x="1085814" y="2271808"/>
                  <a:pt x="1119447" y="2139448"/>
                </a:cubicBezTo>
                <a:cubicBezTo>
                  <a:pt x="1304425" y="1419067"/>
                  <a:pt x="1371688" y="700853"/>
                  <a:pt x="1316901" y="1086"/>
                </a:cubicBezTo>
                <a:close/>
                <a:moveTo>
                  <a:pt x="1131381" y="1086"/>
                </a:moveTo>
                <a:lnTo>
                  <a:pt x="1148196" y="1086"/>
                </a:lnTo>
                <a:cubicBezTo>
                  <a:pt x="1207326" y="713874"/>
                  <a:pt x="1144400" y="1449986"/>
                  <a:pt x="959422" y="2188812"/>
                </a:cubicBezTo>
                <a:cubicBezTo>
                  <a:pt x="925791" y="2318458"/>
                  <a:pt x="892157" y="2450817"/>
                  <a:pt x="858526" y="2575041"/>
                </a:cubicBezTo>
                <a:cubicBezTo>
                  <a:pt x="761969" y="2924924"/>
                  <a:pt x="661071" y="3287829"/>
                  <a:pt x="631777" y="3648020"/>
                </a:cubicBezTo>
                <a:cubicBezTo>
                  <a:pt x="602486" y="4052148"/>
                  <a:pt x="661071" y="4487740"/>
                  <a:pt x="812418" y="5016636"/>
                </a:cubicBezTo>
                <a:cubicBezTo>
                  <a:pt x="1025534" y="5756140"/>
                  <a:pt x="1325868" y="6338653"/>
                  <a:pt x="1743582" y="6827044"/>
                </a:cubicBezTo>
                <a:lnTo>
                  <a:pt x="1771889" y="6858000"/>
                </a:lnTo>
                <a:lnTo>
                  <a:pt x="1751982" y="6858000"/>
                </a:lnTo>
                <a:lnTo>
                  <a:pt x="1729154" y="6833027"/>
                </a:lnTo>
                <a:cubicBezTo>
                  <a:pt x="1308637" y="6341365"/>
                  <a:pt x="1008718" y="5758851"/>
                  <a:pt x="795600" y="5019348"/>
                </a:cubicBezTo>
                <a:cubicBezTo>
                  <a:pt x="644256" y="4487740"/>
                  <a:pt x="585670" y="4052148"/>
                  <a:pt x="614961" y="3648020"/>
                </a:cubicBezTo>
                <a:cubicBezTo>
                  <a:pt x="644256" y="3285116"/>
                  <a:pt x="740813" y="2924924"/>
                  <a:pt x="837370" y="2575041"/>
                </a:cubicBezTo>
                <a:cubicBezTo>
                  <a:pt x="875341" y="2448106"/>
                  <a:pt x="908975" y="2318458"/>
                  <a:pt x="942606" y="2188812"/>
                </a:cubicBezTo>
                <a:cubicBezTo>
                  <a:pt x="1127040" y="1449986"/>
                  <a:pt x="1189966" y="713874"/>
                  <a:pt x="1131381" y="1086"/>
                </a:cubicBezTo>
                <a:close/>
                <a:moveTo>
                  <a:pt x="946947" y="1086"/>
                </a:moveTo>
                <a:lnTo>
                  <a:pt x="968102" y="1086"/>
                </a:lnTo>
                <a:cubicBezTo>
                  <a:pt x="1026685" y="729605"/>
                  <a:pt x="968102" y="1481448"/>
                  <a:pt x="783124" y="2238175"/>
                </a:cubicBezTo>
                <a:cubicBezTo>
                  <a:pt x="749492" y="2365110"/>
                  <a:pt x="715861" y="2494757"/>
                  <a:pt x="682227" y="2618979"/>
                </a:cubicBezTo>
                <a:cubicBezTo>
                  <a:pt x="590010" y="2971576"/>
                  <a:pt x="492911" y="3336650"/>
                  <a:pt x="467957" y="3702263"/>
                </a:cubicBezTo>
                <a:cubicBezTo>
                  <a:pt x="438121" y="4109107"/>
                  <a:pt x="497249" y="4544699"/>
                  <a:pt x="656732" y="5073592"/>
                </a:cubicBezTo>
                <a:cubicBezTo>
                  <a:pt x="842660" y="5705012"/>
                  <a:pt x="1092359" y="6223228"/>
                  <a:pt x="1427113" y="6668060"/>
                </a:cubicBezTo>
                <a:lnTo>
                  <a:pt x="1580273" y="6858000"/>
                </a:lnTo>
                <a:lnTo>
                  <a:pt x="1558574" y="6858000"/>
                </a:lnTo>
                <a:lnTo>
                  <a:pt x="1409772" y="6673398"/>
                </a:lnTo>
                <a:cubicBezTo>
                  <a:pt x="1074967" y="6228313"/>
                  <a:pt x="824759" y="5709081"/>
                  <a:pt x="635576" y="5073592"/>
                </a:cubicBezTo>
                <a:cubicBezTo>
                  <a:pt x="480434" y="4544699"/>
                  <a:pt x="421848" y="4109107"/>
                  <a:pt x="446802" y="3702263"/>
                </a:cubicBezTo>
                <a:cubicBezTo>
                  <a:pt x="472296" y="3336650"/>
                  <a:pt x="573194" y="2968863"/>
                  <a:pt x="665412" y="2616267"/>
                </a:cubicBezTo>
                <a:cubicBezTo>
                  <a:pt x="699043" y="2492044"/>
                  <a:pt x="732677" y="2362398"/>
                  <a:pt x="766308" y="2235463"/>
                </a:cubicBezTo>
                <a:cubicBezTo>
                  <a:pt x="946947" y="1478736"/>
                  <a:pt x="1009869" y="726892"/>
                  <a:pt x="946947" y="1086"/>
                </a:cubicBezTo>
                <a:close/>
                <a:moveTo>
                  <a:pt x="761427" y="1086"/>
                </a:moveTo>
                <a:lnTo>
                  <a:pt x="782582" y="1086"/>
                </a:lnTo>
                <a:cubicBezTo>
                  <a:pt x="845505" y="742082"/>
                  <a:pt x="786920" y="1509656"/>
                  <a:pt x="606284" y="2286996"/>
                </a:cubicBezTo>
                <a:cubicBezTo>
                  <a:pt x="576991" y="2411218"/>
                  <a:pt x="543358" y="2538153"/>
                  <a:pt x="509728" y="2660207"/>
                </a:cubicBezTo>
                <a:cubicBezTo>
                  <a:pt x="417510" y="3017686"/>
                  <a:pt x="320950" y="3386011"/>
                  <a:pt x="299795" y="3756510"/>
                </a:cubicBezTo>
                <a:cubicBezTo>
                  <a:pt x="274843" y="4158470"/>
                  <a:pt x="337766" y="4607080"/>
                  <a:pt x="497249" y="5127839"/>
                </a:cubicBezTo>
                <a:cubicBezTo>
                  <a:pt x="689686" y="5761292"/>
                  <a:pt x="943147" y="6280016"/>
                  <a:pt x="1281208" y="6724974"/>
                </a:cubicBezTo>
                <a:lnTo>
                  <a:pt x="1389455" y="6858000"/>
                </a:lnTo>
                <a:lnTo>
                  <a:pt x="1370500" y="6858000"/>
                </a:lnTo>
                <a:lnTo>
                  <a:pt x="1265918" y="6730051"/>
                </a:lnTo>
                <a:cubicBezTo>
                  <a:pt x="926129" y="6284458"/>
                  <a:pt x="672463" y="5764412"/>
                  <a:pt x="480434" y="5130551"/>
                </a:cubicBezTo>
                <a:cubicBezTo>
                  <a:pt x="320950" y="4609794"/>
                  <a:pt x="258027" y="4159012"/>
                  <a:pt x="282979" y="3757052"/>
                </a:cubicBezTo>
                <a:cubicBezTo>
                  <a:pt x="304134" y="3386555"/>
                  <a:pt x="400692" y="3015514"/>
                  <a:pt x="492911" y="2658035"/>
                </a:cubicBezTo>
                <a:cubicBezTo>
                  <a:pt x="526542" y="2535984"/>
                  <a:pt x="555835" y="2409049"/>
                  <a:pt x="585128" y="2284827"/>
                </a:cubicBezTo>
                <a:cubicBezTo>
                  <a:pt x="769561" y="1509656"/>
                  <a:pt x="828691" y="739910"/>
                  <a:pt x="761427" y="1086"/>
                </a:cubicBezTo>
                <a:close/>
                <a:moveTo>
                  <a:pt x="581330" y="1086"/>
                </a:moveTo>
                <a:lnTo>
                  <a:pt x="598146" y="1086"/>
                </a:lnTo>
                <a:cubicBezTo>
                  <a:pt x="669751" y="755100"/>
                  <a:pt x="611166" y="1540576"/>
                  <a:pt x="426187" y="2336360"/>
                </a:cubicBezTo>
                <a:cubicBezTo>
                  <a:pt x="400692" y="2458412"/>
                  <a:pt x="367060" y="2582635"/>
                  <a:pt x="337766" y="2701975"/>
                </a:cubicBezTo>
                <a:cubicBezTo>
                  <a:pt x="245548" y="3062166"/>
                  <a:pt x="153332" y="3438088"/>
                  <a:pt x="132176" y="3808585"/>
                </a:cubicBezTo>
                <a:cubicBezTo>
                  <a:pt x="111020" y="4215427"/>
                  <a:pt x="178284" y="4664039"/>
                  <a:pt x="337766" y="5184796"/>
                </a:cubicBezTo>
                <a:cubicBezTo>
                  <a:pt x="533051" y="5818251"/>
                  <a:pt x="792108" y="6336974"/>
                  <a:pt x="1136221" y="6781932"/>
                </a:cubicBezTo>
                <a:lnTo>
                  <a:pt x="1199192" y="6858000"/>
                </a:lnTo>
                <a:lnTo>
                  <a:pt x="1178104" y="6858000"/>
                </a:lnTo>
                <a:lnTo>
                  <a:pt x="1119405" y="6787010"/>
                </a:lnTo>
                <a:cubicBezTo>
                  <a:pt x="775293" y="6341416"/>
                  <a:pt x="516235" y="5821370"/>
                  <a:pt x="320950" y="5187509"/>
                </a:cubicBezTo>
                <a:cubicBezTo>
                  <a:pt x="161469" y="4666751"/>
                  <a:pt x="94204" y="4215427"/>
                  <a:pt x="115360" y="3808585"/>
                </a:cubicBezTo>
                <a:cubicBezTo>
                  <a:pt x="135974" y="3435376"/>
                  <a:pt x="228733" y="3062166"/>
                  <a:pt x="320950" y="2699264"/>
                </a:cubicBezTo>
                <a:cubicBezTo>
                  <a:pt x="350786" y="2579922"/>
                  <a:pt x="380078" y="2455700"/>
                  <a:pt x="409371" y="2333648"/>
                </a:cubicBezTo>
                <a:cubicBezTo>
                  <a:pt x="593806" y="1538406"/>
                  <a:pt x="648596" y="752930"/>
                  <a:pt x="581330" y="1086"/>
                </a:cubicBezTo>
                <a:close/>
                <a:moveTo>
                  <a:pt x="211917" y="1086"/>
                </a:moveTo>
                <a:lnTo>
                  <a:pt x="228733" y="1086"/>
                </a:lnTo>
                <a:cubicBezTo>
                  <a:pt x="228733" y="21699"/>
                  <a:pt x="233074" y="45025"/>
                  <a:pt x="233074" y="65638"/>
                </a:cubicBezTo>
                <a:cubicBezTo>
                  <a:pt x="304677" y="825076"/>
                  <a:pt x="249888" y="1620859"/>
                  <a:pt x="73591" y="2432375"/>
                </a:cubicBezTo>
                <a:lnTo>
                  <a:pt x="0" y="2740979"/>
                </a:lnTo>
                <a:lnTo>
                  <a:pt x="0" y="2669289"/>
                </a:lnTo>
                <a:lnTo>
                  <a:pt x="14734" y="2608334"/>
                </a:lnTo>
                <a:cubicBezTo>
                  <a:pt x="28431" y="2549681"/>
                  <a:pt x="42128" y="2490688"/>
                  <a:pt x="56774" y="2432375"/>
                </a:cubicBezTo>
                <a:cubicBezTo>
                  <a:pt x="233074" y="1620859"/>
                  <a:pt x="287861" y="825076"/>
                  <a:pt x="216257" y="65638"/>
                </a:cubicBezTo>
                <a:cubicBezTo>
                  <a:pt x="216257" y="45025"/>
                  <a:pt x="211917" y="21699"/>
                  <a:pt x="211917" y="1086"/>
                </a:cubicBezTo>
                <a:close/>
                <a:moveTo>
                  <a:pt x="3332125" y="544"/>
                </a:moveTo>
                <a:lnTo>
                  <a:pt x="3348941" y="544"/>
                </a:lnTo>
                <a:cubicBezTo>
                  <a:pt x="3348941" y="537033"/>
                  <a:pt x="3264860" y="1076233"/>
                  <a:pt x="3088562" y="1605129"/>
                </a:cubicBezTo>
                <a:cubicBezTo>
                  <a:pt x="3038114" y="1755389"/>
                  <a:pt x="2983870" y="1905650"/>
                  <a:pt x="2929079" y="2051028"/>
                </a:cubicBezTo>
                <a:cubicBezTo>
                  <a:pt x="2811367" y="2359686"/>
                  <a:pt x="2694196" y="2680819"/>
                  <a:pt x="2639409" y="3002496"/>
                </a:cubicBezTo>
                <a:cubicBezTo>
                  <a:pt x="2576485" y="3383842"/>
                  <a:pt x="2597639" y="3798279"/>
                  <a:pt x="2711012" y="4340193"/>
                </a:cubicBezTo>
                <a:cubicBezTo>
                  <a:pt x="2887310" y="5197816"/>
                  <a:pt x="3168845" y="5814588"/>
                  <a:pt x="3622339" y="6346196"/>
                </a:cubicBezTo>
                <a:cubicBezTo>
                  <a:pt x="3740052" y="6480725"/>
                  <a:pt x="3870240" y="6615797"/>
                  <a:pt x="4017247" y="6742732"/>
                </a:cubicBezTo>
                <a:lnTo>
                  <a:pt x="4153244" y="6858000"/>
                </a:lnTo>
                <a:lnTo>
                  <a:pt x="4131719" y="6858000"/>
                </a:lnTo>
                <a:lnTo>
                  <a:pt x="4000431" y="6747070"/>
                </a:lnTo>
                <a:cubicBezTo>
                  <a:pt x="3857764" y="6620136"/>
                  <a:pt x="3723235" y="6485064"/>
                  <a:pt x="3605523" y="6350535"/>
                </a:cubicBezTo>
                <a:cubicBezTo>
                  <a:pt x="3152029" y="5819472"/>
                  <a:pt x="2870494" y="5199986"/>
                  <a:pt x="2694196" y="4341820"/>
                </a:cubicBezTo>
                <a:cubicBezTo>
                  <a:pt x="2580823" y="3797737"/>
                  <a:pt x="2559668" y="3382757"/>
                  <a:pt x="2622594" y="3001954"/>
                </a:cubicBezTo>
                <a:cubicBezTo>
                  <a:pt x="2676838" y="2678108"/>
                  <a:pt x="2794551" y="2356973"/>
                  <a:pt x="2912265" y="2048314"/>
                </a:cubicBezTo>
                <a:cubicBezTo>
                  <a:pt x="2966509" y="1902938"/>
                  <a:pt x="3021297" y="1752677"/>
                  <a:pt x="3071746" y="1602417"/>
                </a:cubicBezTo>
                <a:cubicBezTo>
                  <a:pt x="3243705" y="1073522"/>
                  <a:pt x="3332125" y="537033"/>
                  <a:pt x="3332125" y="544"/>
                </a:cubicBezTo>
                <a:close/>
                <a:moveTo>
                  <a:pt x="26939" y="544"/>
                </a:moveTo>
                <a:lnTo>
                  <a:pt x="43756" y="544"/>
                </a:lnTo>
                <a:cubicBezTo>
                  <a:pt x="47552" y="36888"/>
                  <a:pt x="51892" y="70520"/>
                  <a:pt x="51892" y="106864"/>
                </a:cubicBezTo>
                <a:cubicBezTo>
                  <a:pt x="105596" y="676444"/>
                  <a:pt x="88203" y="1267992"/>
                  <a:pt x="3605" y="1872585"/>
                </a:cubicBezTo>
                <a:lnTo>
                  <a:pt x="0" y="1893117"/>
                </a:lnTo>
                <a:lnTo>
                  <a:pt x="0" y="1720977"/>
                </a:lnTo>
                <a:lnTo>
                  <a:pt x="46671" y="1272332"/>
                </a:lnTo>
                <a:cubicBezTo>
                  <a:pt x="72912" y="876068"/>
                  <a:pt x="68708" y="486584"/>
                  <a:pt x="35076" y="106864"/>
                </a:cubicBezTo>
                <a:cubicBezTo>
                  <a:pt x="31279" y="70520"/>
                  <a:pt x="31279" y="36888"/>
                  <a:pt x="26939" y="544"/>
                </a:cubicBezTo>
                <a:close/>
                <a:moveTo>
                  <a:pt x="3513847" y="0"/>
                </a:moveTo>
                <a:lnTo>
                  <a:pt x="3530663" y="0"/>
                </a:lnTo>
                <a:cubicBezTo>
                  <a:pt x="3526324" y="520759"/>
                  <a:pt x="3437903" y="1042060"/>
                  <a:pt x="3265944" y="1555224"/>
                </a:cubicBezTo>
                <a:cubicBezTo>
                  <a:pt x="3215497" y="1706025"/>
                  <a:pt x="3156911" y="1858456"/>
                  <a:pt x="3102124" y="2003834"/>
                </a:cubicBezTo>
                <a:cubicBezTo>
                  <a:pt x="2984412" y="2311950"/>
                  <a:pt x="2862900" y="2628201"/>
                  <a:pt x="2808112" y="2947165"/>
                </a:cubicBezTo>
                <a:cubicBezTo>
                  <a:pt x="2740848" y="3328513"/>
                  <a:pt x="2762003" y="3740778"/>
                  <a:pt x="2871036" y="4284862"/>
                </a:cubicBezTo>
                <a:cubicBezTo>
                  <a:pt x="3038657" y="5140315"/>
                  <a:pt x="3315851" y="5759800"/>
                  <a:pt x="3765548" y="6288695"/>
                </a:cubicBezTo>
                <a:cubicBezTo>
                  <a:pt x="3878920" y="6423224"/>
                  <a:pt x="4009110" y="6558296"/>
                  <a:pt x="4151774" y="6685231"/>
                </a:cubicBezTo>
                <a:cubicBezTo>
                  <a:pt x="4207987" y="6735137"/>
                  <a:pt x="4266555" y="6784679"/>
                  <a:pt x="4327448" y="6833830"/>
                </a:cubicBezTo>
                <a:lnTo>
                  <a:pt x="4358784" y="6858000"/>
                </a:lnTo>
                <a:lnTo>
                  <a:pt x="4338751" y="6858000"/>
                </a:lnTo>
                <a:lnTo>
                  <a:pt x="4314974" y="6839584"/>
                </a:lnTo>
                <a:cubicBezTo>
                  <a:pt x="4254081" y="6790187"/>
                  <a:pt x="4195513" y="6740357"/>
                  <a:pt x="4139300" y="6690112"/>
                </a:cubicBezTo>
                <a:cubicBezTo>
                  <a:pt x="3996633" y="6563177"/>
                  <a:pt x="3862105" y="6428107"/>
                  <a:pt x="3748732" y="6293577"/>
                </a:cubicBezTo>
                <a:cubicBezTo>
                  <a:pt x="3299578" y="5762513"/>
                  <a:pt x="3021841" y="5143028"/>
                  <a:pt x="2849882" y="4284862"/>
                </a:cubicBezTo>
                <a:cubicBezTo>
                  <a:pt x="2740848" y="3740236"/>
                  <a:pt x="2724032" y="3327971"/>
                  <a:pt x="2791295" y="2947165"/>
                </a:cubicBezTo>
                <a:cubicBezTo>
                  <a:pt x="2846085" y="2626031"/>
                  <a:pt x="2967596" y="2309779"/>
                  <a:pt x="3085308" y="2001123"/>
                </a:cubicBezTo>
                <a:cubicBezTo>
                  <a:pt x="3140095" y="1855744"/>
                  <a:pt x="3198680" y="1702771"/>
                  <a:pt x="3249128" y="1555224"/>
                </a:cubicBezTo>
                <a:cubicBezTo>
                  <a:pt x="3421629" y="1042060"/>
                  <a:pt x="3509508" y="520759"/>
                  <a:pt x="3513847" y="0"/>
                </a:cubicBezTo>
                <a:close/>
              </a:path>
            </a:pathLst>
          </a:custGeom>
          <a:solidFill>
            <a:schemeClr val="tx2">
              <a:alpha val="1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368" tIns="45684" rIns="91368" bIns="45684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797">
              <a:latin typeface="Arial" panose="020B0604020202020204" pitchFamily="34" charset="0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06B9D0E-8C9B-4109-AFF5-A7240534E9BA}"/>
              </a:ext>
            </a:extLst>
          </p:cNvPr>
          <p:cNvSpPr/>
          <p:nvPr userDrawn="1"/>
        </p:nvSpPr>
        <p:spPr>
          <a:xfrm>
            <a:off x="4021995" y="0"/>
            <a:ext cx="1162537" cy="6858000"/>
          </a:xfrm>
          <a:custGeom>
            <a:avLst/>
            <a:gdLst>
              <a:gd name="connsiteX0" fmla="*/ 1117940 w 1117940"/>
              <a:gd name="connsiteY0" fmla="*/ 0 h 6858000"/>
              <a:gd name="connsiteX1" fmla="*/ 889340 w 1117940"/>
              <a:gd name="connsiteY1" fmla="*/ 1168400 h 6858000"/>
              <a:gd name="connsiteX2" fmla="*/ 178140 w 1117940"/>
              <a:gd name="connsiteY2" fmla="*/ 3048000 h 6858000"/>
              <a:gd name="connsiteX3" fmla="*/ 340 w 1117940"/>
              <a:gd name="connsiteY3" fmla="*/ 4343400 h 6858000"/>
              <a:gd name="connsiteX4" fmla="*/ 203540 w 1117940"/>
              <a:gd name="connsiteY4" fmla="*/ 5613400 h 6858000"/>
              <a:gd name="connsiteX5" fmla="*/ 1003640 w 111794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7940" h="6858000">
                <a:moveTo>
                  <a:pt x="1117940" y="0"/>
                </a:moveTo>
                <a:cubicBezTo>
                  <a:pt x="1081956" y="330200"/>
                  <a:pt x="1045973" y="660400"/>
                  <a:pt x="889340" y="1168400"/>
                </a:cubicBezTo>
                <a:cubicBezTo>
                  <a:pt x="732707" y="1676400"/>
                  <a:pt x="326307" y="2518833"/>
                  <a:pt x="178140" y="3048000"/>
                </a:cubicBezTo>
                <a:cubicBezTo>
                  <a:pt x="29973" y="3577167"/>
                  <a:pt x="-3893" y="3915833"/>
                  <a:pt x="340" y="4343400"/>
                </a:cubicBezTo>
                <a:cubicBezTo>
                  <a:pt x="4573" y="4770967"/>
                  <a:pt x="36323" y="5194300"/>
                  <a:pt x="203540" y="5613400"/>
                </a:cubicBezTo>
                <a:cubicBezTo>
                  <a:pt x="370757" y="6032500"/>
                  <a:pt x="687198" y="6445250"/>
                  <a:pt x="1003640" y="6858000"/>
                </a:cubicBezTo>
              </a:path>
            </a:pathLst>
          </a:cu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7"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1C0A6C-0E97-42A9-82A9-4909DA5F52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7" t="-215" r="37048" b="215"/>
          <a:stretch/>
        </p:blipFill>
        <p:spPr>
          <a:xfrm>
            <a:off x="0" y="0"/>
            <a:ext cx="4951525" cy="6858000"/>
          </a:xfrm>
          <a:custGeom>
            <a:avLst/>
            <a:gdLst>
              <a:gd name="connsiteX0" fmla="*/ 55873 w 4950236"/>
              <a:gd name="connsiteY0" fmla="*/ 0 h 6858000"/>
              <a:gd name="connsiteX1" fmla="*/ 4386466 w 4950236"/>
              <a:gd name="connsiteY1" fmla="*/ 0 h 6858000"/>
              <a:gd name="connsiteX2" fmla="*/ 4450352 w 4950236"/>
              <a:gd name="connsiteY2" fmla="*/ 234326 h 6858000"/>
              <a:gd name="connsiteX3" fmla="*/ 4829349 w 4950236"/>
              <a:gd name="connsiteY3" fmla="*/ 6692561 h 6858000"/>
              <a:gd name="connsiteX4" fmla="*/ 4950236 w 4950236"/>
              <a:gd name="connsiteY4" fmla="*/ 6858000 h 6858000"/>
              <a:gd name="connsiteX5" fmla="*/ 0 w 4950236"/>
              <a:gd name="connsiteY5" fmla="*/ 6858000 h 6858000"/>
              <a:gd name="connsiteX6" fmla="*/ 0 w 4950236"/>
              <a:gd name="connsiteY6" fmla="*/ 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36" h="6858000">
                <a:moveTo>
                  <a:pt x="55873" y="0"/>
                </a:moveTo>
                <a:lnTo>
                  <a:pt x="4386466" y="0"/>
                </a:lnTo>
                <a:lnTo>
                  <a:pt x="4450352" y="234326"/>
                </a:lnTo>
                <a:cubicBezTo>
                  <a:pt x="5034950" y="2655739"/>
                  <a:pt x="3093685" y="4180137"/>
                  <a:pt x="4829349" y="6692561"/>
                </a:cubicBezTo>
                <a:lnTo>
                  <a:pt x="4950236" y="6858000"/>
                </a:lnTo>
                <a:lnTo>
                  <a:pt x="0" y="6858000"/>
                </a:lnTo>
                <a:lnTo>
                  <a:pt x="0" y="37"/>
                </a:lnTo>
                <a:close/>
              </a:path>
            </a:pathLst>
          </a:cu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CC42085-B641-4C33-93F4-FDD6AE1DEC24}"/>
              </a:ext>
            </a:extLst>
          </p:cNvPr>
          <p:cNvSpPr/>
          <p:nvPr userDrawn="1"/>
        </p:nvSpPr>
        <p:spPr>
          <a:xfrm>
            <a:off x="0" y="0"/>
            <a:ext cx="4951525" cy="6860868"/>
          </a:xfrm>
          <a:custGeom>
            <a:avLst/>
            <a:gdLst>
              <a:gd name="connsiteX0" fmla="*/ 4386826 w 4951525"/>
              <a:gd name="connsiteY0" fmla="*/ 0 h 6860868"/>
              <a:gd name="connsiteX1" fmla="*/ 4830606 w 4951525"/>
              <a:gd name="connsiteY1" fmla="*/ 6695429 h 6860868"/>
              <a:gd name="connsiteX2" fmla="*/ 4951525 w 4951525"/>
              <a:gd name="connsiteY2" fmla="*/ 6860868 h 6860868"/>
              <a:gd name="connsiteX3" fmla="*/ 0 w 4951525"/>
              <a:gd name="connsiteY3" fmla="*/ 6860868 h 6860868"/>
              <a:gd name="connsiteX4" fmla="*/ 0 w 4951525"/>
              <a:gd name="connsiteY4" fmla="*/ 2905 h 6860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1525" h="6860868">
                <a:moveTo>
                  <a:pt x="4386826" y="0"/>
                </a:moveTo>
                <a:cubicBezTo>
                  <a:pt x="5165363" y="2561287"/>
                  <a:pt x="3038487" y="4101959"/>
                  <a:pt x="4830606" y="6695429"/>
                </a:cubicBezTo>
                <a:lnTo>
                  <a:pt x="4951525" y="6860868"/>
                </a:lnTo>
                <a:lnTo>
                  <a:pt x="0" y="6860868"/>
                </a:lnTo>
                <a:lnTo>
                  <a:pt x="0" y="2905"/>
                </a:lnTo>
                <a:close/>
              </a:path>
            </a:pathLst>
          </a:custGeom>
          <a:gradFill>
            <a:gsLst>
              <a:gs pos="81000">
                <a:schemeClr val="tx2">
                  <a:lumMod val="60000"/>
                  <a:lumOff val="40000"/>
                  <a:alpha val="38000"/>
                </a:schemeClr>
              </a:gs>
              <a:gs pos="6000">
                <a:schemeClr val="tx2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797">
              <a:latin typeface="Arial" panose="020B0604020202020204" pitchFamily="34" charset="0"/>
            </a:endParaRPr>
          </a:p>
        </p:txBody>
      </p:sp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130921" y="110761"/>
            <a:ext cx="3891075" cy="2038047"/>
          </a:xfrm>
          <a:prstGeom prst="rect">
            <a:avLst/>
          </a:prstGeom>
          <a:noFill/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394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ivid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0924" y="2493391"/>
            <a:ext cx="3891074" cy="3029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97" spc="300">
                <a:solidFill>
                  <a:schemeClr val="bg1"/>
                </a:solidFill>
                <a:latin typeface="+mn-lt"/>
              </a:defRPr>
            </a:lvl1pPr>
            <a:lvl2pPr marL="342575" indent="0" algn="ctr">
              <a:buNone/>
              <a:defRPr sz="1500"/>
            </a:lvl2pPr>
            <a:lvl3pPr marL="685148" indent="0" algn="ctr">
              <a:buNone/>
              <a:defRPr sz="1350"/>
            </a:lvl3pPr>
            <a:lvl4pPr marL="1027723" indent="0" algn="ctr">
              <a:buNone/>
              <a:defRPr sz="1200"/>
            </a:lvl4pPr>
            <a:lvl5pPr marL="1370299" indent="0" algn="ctr">
              <a:buNone/>
              <a:defRPr sz="1200"/>
            </a:lvl5pPr>
            <a:lvl6pPr marL="1712873" indent="0" algn="ctr">
              <a:buNone/>
              <a:defRPr sz="1200"/>
            </a:lvl6pPr>
            <a:lvl7pPr marL="2055446" indent="0" algn="ctr">
              <a:buNone/>
              <a:defRPr sz="1200"/>
            </a:lvl7pPr>
            <a:lvl8pPr marL="2398020" indent="0" algn="ctr">
              <a:buNone/>
              <a:defRPr sz="1200"/>
            </a:lvl8pPr>
            <a:lvl9pPr marL="2740596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EE218952-8A55-4393-94A9-F1293AF48B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924" y="6022590"/>
            <a:ext cx="1225830" cy="51779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A74C2CD-DE32-4B21-A798-14CABA621B89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BCB7FE-D614-4637-A64F-81CD0B001E43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670239A-F9A8-4203-B2FA-1BB733F87063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6203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303C9A5E-3343-4DAF-8C3D-D340C000C5E8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ABB5AABD-3B66-4C97-9E06-3748FCBC3FCD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C54FE32-B7A8-4802-B140-358DD858B82C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752" y="5768975"/>
            <a:ext cx="1158545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02F01A-3D30-4A7C-B7E6-B116EF887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5" cy="792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303B27AC-14C7-4C16-99E2-033E746B77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6138" y="6238530"/>
            <a:ext cx="881062" cy="3721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3CCC2D8-78C5-4181-B0F3-8AD1F7C0A609}"/>
              </a:ext>
            </a:extLst>
          </p:cNvPr>
          <p:cNvSpPr txBox="1"/>
          <p:nvPr userDrawn="1"/>
        </p:nvSpPr>
        <p:spPr>
          <a:xfrm>
            <a:off x="301752" y="6210300"/>
            <a:ext cx="234949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ct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E5547B-FD22-4D92-84A8-0BEF72C1209F}"/>
              </a:ext>
            </a:extLst>
          </p:cNvPr>
          <p:cNvSpPr txBox="1"/>
          <p:nvPr userDrawn="1"/>
        </p:nvSpPr>
        <p:spPr>
          <a:xfrm>
            <a:off x="792291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69452B3-C53B-4572-8646-06E381692CF0}"/>
              </a:ext>
            </a:extLst>
          </p:cNvPr>
          <p:cNvCxnSpPr>
            <a:cxnSpLocks/>
          </p:cNvCxnSpPr>
          <p:nvPr userDrawn="1"/>
        </p:nvCxnSpPr>
        <p:spPr>
          <a:xfrm>
            <a:off x="664496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9639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9/11/202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90" y="1795466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90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7557244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6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Google Shape;622;p43"/>
          <p:cNvSpPr txBox="1">
            <a:spLocks noGrp="1"/>
          </p:cNvSpPr>
          <p:nvPr>
            <p:ph type="title"/>
          </p:nvPr>
        </p:nvSpPr>
        <p:spPr>
          <a:xfrm>
            <a:off x="947033" y="715533"/>
            <a:ext cx="10298100" cy="64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b="0" i="0">
                <a:latin typeface="Century Gothic" panose="020B0502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308480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7F8FEF2-B43A-444D-B499-C91305539E6A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E59B24D9-C291-49F5-A824-003424A94A83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D8A013-61C5-439D-BD45-9817D5D6F3D6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39982ED6-947D-45DE-A534-00E7604D1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6138" y="6238530"/>
            <a:ext cx="881062" cy="37216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3D4F435-7465-417B-8E9B-3815E6B718C7}"/>
              </a:ext>
            </a:extLst>
          </p:cNvPr>
          <p:cNvSpPr txBox="1"/>
          <p:nvPr userDrawn="1"/>
        </p:nvSpPr>
        <p:spPr>
          <a:xfrm>
            <a:off x="792291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254868-CE8A-405C-9992-29F244B829EC}"/>
              </a:ext>
            </a:extLst>
          </p:cNvPr>
          <p:cNvSpPr txBox="1"/>
          <p:nvPr userDrawn="1"/>
        </p:nvSpPr>
        <p:spPr>
          <a:xfrm>
            <a:off x="301752" y="6210300"/>
            <a:ext cx="234949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ct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8346DC1-06A2-4B4B-AE2D-09235D2417D1}"/>
              </a:ext>
            </a:extLst>
          </p:cNvPr>
          <p:cNvCxnSpPr>
            <a:cxnSpLocks/>
          </p:cNvCxnSpPr>
          <p:nvPr userDrawn="1"/>
        </p:nvCxnSpPr>
        <p:spPr>
          <a:xfrm>
            <a:off x="664496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6" cy="792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1" y="1219201"/>
            <a:ext cx="11585449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1" y="5768975"/>
            <a:ext cx="11585453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387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7F8FEF2-B43A-444D-B499-C91305539E6A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E59B24D9-C291-49F5-A824-003424A94A83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D8A013-61C5-439D-BD45-9817D5D6F3D6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39982ED6-947D-45DE-A534-00E7604D1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6138" y="6238530"/>
            <a:ext cx="881062" cy="37216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C254868-CE8A-405C-9992-29F244B829EC}"/>
              </a:ext>
            </a:extLst>
          </p:cNvPr>
          <p:cNvSpPr txBox="1"/>
          <p:nvPr userDrawn="1"/>
        </p:nvSpPr>
        <p:spPr>
          <a:xfrm>
            <a:off x="301752" y="6210300"/>
            <a:ext cx="234949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ct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D4F435-7465-417B-8E9B-3815E6B718C7}"/>
              </a:ext>
            </a:extLst>
          </p:cNvPr>
          <p:cNvSpPr txBox="1"/>
          <p:nvPr userDrawn="1"/>
        </p:nvSpPr>
        <p:spPr>
          <a:xfrm>
            <a:off x="792291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8346DC1-06A2-4B4B-AE2D-09235D2417D1}"/>
              </a:ext>
            </a:extLst>
          </p:cNvPr>
          <p:cNvCxnSpPr>
            <a:cxnSpLocks/>
          </p:cNvCxnSpPr>
          <p:nvPr userDrawn="1"/>
        </p:nvCxnSpPr>
        <p:spPr>
          <a:xfrm>
            <a:off x="664496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5" cy="792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52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4296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7F8FEF2-B43A-444D-B499-C91305539E6A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E59B24D9-C291-49F5-A824-003424A94A83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D8A013-61C5-439D-BD45-9817D5D6F3D6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39982ED6-947D-45DE-A534-00E7604D1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6138" y="6238530"/>
            <a:ext cx="881062" cy="37216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C254868-CE8A-405C-9992-29F244B829EC}"/>
              </a:ext>
            </a:extLst>
          </p:cNvPr>
          <p:cNvSpPr txBox="1"/>
          <p:nvPr userDrawn="1"/>
        </p:nvSpPr>
        <p:spPr>
          <a:xfrm>
            <a:off x="301752" y="6210300"/>
            <a:ext cx="234949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ct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D4F435-7465-417B-8E9B-3815E6B718C7}"/>
              </a:ext>
            </a:extLst>
          </p:cNvPr>
          <p:cNvSpPr txBox="1"/>
          <p:nvPr userDrawn="1"/>
        </p:nvSpPr>
        <p:spPr>
          <a:xfrm>
            <a:off x="792291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8346DC1-06A2-4B4B-AE2D-09235D2417D1}"/>
              </a:ext>
            </a:extLst>
          </p:cNvPr>
          <p:cNvCxnSpPr>
            <a:cxnSpLocks/>
          </p:cNvCxnSpPr>
          <p:nvPr userDrawn="1"/>
        </p:nvCxnSpPr>
        <p:spPr>
          <a:xfrm>
            <a:off x="664496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6" cy="792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1" y="1219201"/>
            <a:ext cx="11585449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1" y="5768975"/>
            <a:ext cx="11585453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264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E7C987B-CFF9-4FB3-BB42-53DBF01562B8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DD47B7CB-A0A7-4DA7-9D04-5D957D2B26A7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A48E16-111C-49E3-A9DB-C80865B4385F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F56BB7-CB05-4C93-B90E-4B868380772B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F620A1-4F45-4A2E-8E96-EB761AD5B06B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B2A7C5-F658-4AFA-AC2E-B8F9170F79FC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1C75D13-D4B7-4015-856F-1671A33FDB82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5410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6239ED46-5EED-47C7-9301-5BE1CF31A58A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A9448693-CC1B-42D8-8B5A-FF46EEE844A7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A98D11E-FEA8-476C-85E4-C393F6B22E4E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AF96B9-43D4-481A-8EF0-4A935097B401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EBC14E-A2BB-4358-ADE4-7D9B9935D0F4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D9EE502-E0E9-4C3F-AF80-E40B866BFBE9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8B85853-EA1F-4962-B3CD-A0BD82B86970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1861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92346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3356640" cy="6858000"/>
          </a:xfrm>
          <a:prstGeom prst="rect">
            <a:avLst/>
          </a:prstGeom>
          <a:gradFill flip="none" rotWithShape="1">
            <a:gsLst>
              <a:gs pos="61000">
                <a:schemeClr val="accent3"/>
              </a:gs>
              <a:gs pos="1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219935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6088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2556E5FD-2031-5547-9AD0-2A8CE8DDE98D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3" name="Parallelogram 2">
              <a:extLst>
                <a:ext uri="{FF2B5EF4-FFF2-40B4-BE49-F238E27FC236}">
                  <a16:creationId xmlns:a16="http://schemas.microsoft.com/office/drawing/2014/main" id="{FC98A62F-E811-FA4B-B7EE-C8C936F7FA2C}"/>
                </a:ext>
              </a:extLst>
            </p:cNvPr>
            <p:cNvSpPr/>
            <p:nvPr userDrawn="1"/>
          </p:nvSpPr>
          <p:spPr>
            <a:xfrm>
              <a:off x="1848640" y="-889"/>
              <a:ext cx="8589074" cy="6858889"/>
            </a:xfrm>
            <a:prstGeom prst="parallelogram">
              <a:avLst>
                <a:gd name="adj" fmla="val 61454"/>
              </a:avLst>
            </a:prstGeom>
            <a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67F3D1C2-DEED-DF4D-B295-613FB7986F12}"/>
                </a:ext>
              </a:extLst>
            </p:cNvPr>
            <p:cNvSpPr/>
            <p:nvPr userDrawn="1"/>
          </p:nvSpPr>
          <p:spPr>
            <a:xfrm>
              <a:off x="0" y="-889"/>
              <a:ext cx="5886389" cy="6858889"/>
            </a:xfrm>
            <a:custGeom>
              <a:avLst/>
              <a:gdLst>
                <a:gd name="connsiteX0" fmla="*/ 0 w 5886389"/>
                <a:gd name="connsiteY0" fmla="*/ 0 h 6858889"/>
                <a:gd name="connsiteX1" fmla="*/ 1512377 w 5886389"/>
                <a:gd name="connsiteY1" fmla="*/ 0 h 6858889"/>
                <a:gd name="connsiteX2" fmla="*/ 3534491 w 5886389"/>
                <a:gd name="connsiteY2" fmla="*/ 0 h 6858889"/>
                <a:gd name="connsiteX3" fmla="*/ 5886389 w 5886389"/>
                <a:gd name="connsiteY3" fmla="*/ 0 h 6858889"/>
                <a:gd name="connsiteX4" fmla="*/ 1671327 w 5886389"/>
                <a:gd name="connsiteY4" fmla="*/ 6858889 h 6858889"/>
                <a:gd name="connsiteX5" fmla="*/ 0 w 5886389"/>
                <a:gd name="connsiteY5" fmla="*/ 6858889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86389" h="6858889">
                  <a:moveTo>
                    <a:pt x="0" y="0"/>
                  </a:moveTo>
                  <a:lnTo>
                    <a:pt x="1512377" y="0"/>
                  </a:lnTo>
                  <a:lnTo>
                    <a:pt x="3534491" y="0"/>
                  </a:lnTo>
                  <a:lnTo>
                    <a:pt x="5886389" y="0"/>
                  </a:lnTo>
                  <a:lnTo>
                    <a:pt x="1671327" y="6858889"/>
                  </a:lnTo>
                  <a:lnTo>
                    <a:pt x="0" y="6858889"/>
                  </a:lnTo>
                  <a:close/>
                </a:path>
              </a:pathLst>
            </a:custGeom>
            <a:blipFill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CCC9D10-4876-ED47-9152-6C5FBFE52C3A}"/>
                </a:ext>
              </a:extLst>
            </p:cNvPr>
            <p:cNvSpPr/>
            <p:nvPr userDrawn="1"/>
          </p:nvSpPr>
          <p:spPr>
            <a:xfrm>
              <a:off x="6399967" y="-889"/>
              <a:ext cx="5792033" cy="6858889"/>
            </a:xfrm>
            <a:custGeom>
              <a:avLst/>
              <a:gdLst>
                <a:gd name="connsiteX0" fmla="*/ 4215062 w 5792033"/>
                <a:gd name="connsiteY0" fmla="*/ 0 h 6858889"/>
                <a:gd name="connsiteX1" fmla="*/ 5792033 w 5792033"/>
                <a:gd name="connsiteY1" fmla="*/ 0 h 6858889"/>
                <a:gd name="connsiteX2" fmla="*/ 5792033 w 5792033"/>
                <a:gd name="connsiteY2" fmla="*/ 6858889 h 6858889"/>
                <a:gd name="connsiteX3" fmla="*/ 4374012 w 5792033"/>
                <a:gd name="connsiteY3" fmla="*/ 6858889 h 6858889"/>
                <a:gd name="connsiteX4" fmla="*/ 3267376 w 5792033"/>
                <a:gd name="connsiteY4" fmla="*/ 6858889 h 6858889"/>
                <a:gd name="connsiteX5" fmla="*/ 0 w 5792033"/>
                <a:gd name="connsiteY5" fmla="*/ 6858889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2033" h="6858889">
                  <a:moveTo>
                    <a:pt x="4215062" y="0"/>
                  </a:moveTo>
                  <a:lnTo>
                    <a:pt x="5792033" y="0"/>
                  </a:lnTo>
                  <a:lnTo>
                    <a:pt x="5792033" y="6858889"/>
                  </a:lnTo>
                  <a:lnTo>
                    <a:pt x="4374012" y="6858889"/>
                  </a:lnTo>
                  <a:lnTo>
                    <a:pt x="3267376" y="6858889"/>
                  </a:lnTo>
                  <a:lnTo>
                    <a:pt x="0" y="6858889"/>
                  </a:lnTo>
                  <a:close/>
                </a:path>
              </a:pathLst>
            </a:custGeom>
            <a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7F33CEF-1CFE-7D49-86BC-45321089A2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">
                <a:schemeClr val="accent4">
                  <a:alpha val="60000"/>
                </a:schemeClr>
              </a:gs>
              <a:gs pos="100000">
                <a:schemeClr val="accent1">
                  <a:alpha val="40000"/>
                </a:schemeClr>
              </a:gs>
              <a:gs pos="67000">
                <a:srgbClr val="605BCA">
                  <a:alpha val="20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1BB62C4-AB8C-2542-AB50-208EADCC4FCF}"/>
              </a:ext>
            </a:extLst>
          </p:cNvPr>
          <p:cNvSpPr/>
          <p:nvPr userDrawn="1"/>
        </p:nvSpPr>
        <p:spPr>
          <a:xfrm>
            <a:off x="-2" y="0"/>
            <a:ext cx="9667345" cy="6858889"/>
          </a:xfrm>
          <a:custGeom>
            <a:avLst/>
            <a:gdLst>
              <a:gd name="connsiteX0" fmla="*/ 0 w 9667345"/>
              <a:gd name="connsiteY0" fmla="*/ 6810685 h 6858889"/>
              <a:gd name="connsiteX1" fmla="*/ 59283 w 9667345"/>
              <a:gd name="connsiteY1" fmla="*/ 6858456 h 6858889"/>
              <a:gd name="connsiteX2" fmla="*/ 39402 w 9667345"/>
              <a:gd name="connsiteY2" fmla="*/ 6858456 h 6858889"/>
              <a:gd name="connsiteX3" fmla="*/ 0 w 9667345"/>
              <a:gd name="connsiteY3" fmla="*/ 6827674 h 6858889"/>
              <a:gd name="connsiteX4" fmla="*/ 0 w 9667345"/>
              <a:gd name="connsiteY4" fmla="*/ 6672270 h 6858889"/>
              <a:gd name="connsiteX5" fmla="*/ 80461 w 9667345"/>
              <a:gd name="connsiteY5" fmla="*/ 6741333 h 6858889"/>
              <a:gd name="connsiteX6" fmla="*/ 232159 w 9667345"/>
              <a:gd name="connsiteY6" fmla="*/ 6857592 h 6858889"/>
              <a:gd name="connsiteX7" fmla="*/ 213144 w 9667345"/>
              <a:gd name="connsiteY7" fmla="*/ 6857592 h 6858889"/>
              <a:gd name="connsiteX8" fmla="*/ 70519 w 9667345"/>
              <a:gd name="connsiteY8" fmla="*/ 6747384 h 6858889"/>
              <a:gd name="connsiteX9" fmla="*/ 0 w 9667345"/>
              <a:gd name="connsiteY9" fmla="*/ 6686879 h 6858889"/>
              <a:gd name="connsiteX10" fmla="*/ 0 w 9667345"/>
              <a:gd name="connsiteY10" fmla="*/ 6527854 h 6858889"/>
              <a:gd name="connsiteX11" fmla="*/ 2977 w 9667345"/>
              <a:gd name="connsiteY11" fmla="*/ 6530761 h 6858889"/>
              <a:gd name="connsiteX12" fmla="*/ 194126 w 9667345"/>
              <a:gd name="connsiteY12" fmla="*/ 6695952 h 6858889"/>
              <a:gd name="connsiteX13" fmla="*/ 404173 w 9667345"/>
              <a:gd name="connsiteY13" fmla="*/ 6858024 h 6858889"/>
              <a:gd name="connsiteX14" fmla="*/ 386452 w 9667345"/>
              <a:gd name="connsiteY14" fmla="*/ 6858024 h 6858889"/>
              <a:gd name="connsiteX15" fmla="*/ 180728 w 9667345"/>
              <a:gd name="connsiteY15" fmla="*/ 6702435 h 6858889"/>
              <a:gd name="connsiteX16" fmla="*/ 0 w 9667345"/>
              <a:gd name="connsiteY16" fmla="*/ 6545608 h 6858889"/>
              <a:gd name="connsiteX17" fmla="*/ 0 w 9667345"/>
              <a:gd name="connsiteY17" fmla="*/ 6370764 h 6858889"/>
              <a:gd name="connsiteX18" fmla="*/ 116037 w 9667345"/>
              <a:gd name="connsiteY18" fmla="*/ 6485384 h 6858889"/>
              <a:gd name="connsiteX19" fmla="*/ 304768 w 9667345"/>
              <a:gd name="connsiteY19" fmla="*/ 6650572 h 6858889"/>
              <a:gd name="connsiteX20" fmla="*/ 578345 w 9667345"/>
              <a:gd name="connsiteY20" fmla="*/ 6858024 h 6858889"/>
              <a:gd name="connsiteX21" fmla="*/ 559329 w 9667345"/>
              <a:gd name="connsiteY21" fmla="*/ 6858024 h 6858889"/>
              <a:gd name="connsiteX22" fmla="*/ 294395 w 9667345"/>
              <a:gd name="connsiteY22" fmla="*/ 6657055 h 6858889"/>
              <a:gd name="connsiteX23" fmla="*/ 104541 w 9667345"/>
              <a:gd name="connsiteY23" fmla="*/ 6491293 h 6858889"/>
              <a:gd name="connsiteX24" fmla="*/ 0 w 9667345"/>
              <a:gd name="connsiteY24" fmla="*/ 6388228 h 6858889"/>
              <a:gd name="connsiteX25" fmla="*/ 0 w 9667345"/>
              <a:gd name="connsiteY25" fmla="*/ 6202503 h 6858889"/>
              <a:gd name="connsiteX26" fmla="*/ 55211 w 9667345"/>
              <a:gd name="connsiteY26" fmla="*/ 6264794 h 6858889"/>
              <a:gd name="connsiteX27" fmla="*/ 418434 w 9667345"/>
              <a:gd name="connsiteY27" fmla="*/ 6605192 h 6858889"/>
              <a:gd name="connsiteX28" fmla="*/ 754680 w 9667345"/>
              <a:gd name="connsiteY28" fmla="*/ 6857592 h 6858889"/>
              <a:gd name="connsiteX29" fmla="*/ 735663 w 9667345"/>
              <a:gd name="connsiteY29" fmla="*/ 6857592 h 6858889"/>
              <a:gd name="connsiteX30" fmla="*/ 408494 w 9667345"/>
              <a:gd name="connsiteY30" fmla="*/ 6611243 h 6858889"/>
              <a:gd name="connsiteX31" fmla="*/ 43521 w 9667345"/>
              <a:gd name="connsiteY31" fmla="*/ 6269568 h 6858889"/>
              <a:gd name="connsiteX32" fmla="*/ 0 w 9667345"/>
              <a:gd name="connsiteY32" fmla="*/ 6220508 h 6858889"/>
              <a:gd name="connsiteX33" fmla="*/ 0 w 9667345"/>
              <a:gd name="connsiteY33" fmla="*/ 6024018 h 6858889"/>
              <a:gd name="connsiteX34" fmla="*/ 8034 w 9667345"/>
              <a:gd name="connsiteY34" fmla="*/ 6034410 h 6858889"/>
              <a:gd name="connsiteX35" fmla="*/ 529076 w 9667345"/>
              <a:gd name="connsiteY35" fmla="*/ 6559812 h 6858889"/>
              <a:gd name="connsiteX36" fmla="*/ 932743 w 9667345"/>
              <a:gd name="connsiteY36" fmla="*/ 6858024 h 6858889"/>
              <a:gd name="connsiteX37" fmla="*/ 913294 w 9667345"/>
              <a:gd name="connsiteY37" fmla="*/ 6858024 h 6858889"/>
              <a:gd name="connsiteX38" fmla="*/ 519135 w 9667345"/>
              <a:gd name="connsiteY38" fmla="*/ 6564134 h 6858889"/>
              <a:gd name="connsiteX39" fmla="*/ 158491 w 9667345"/>
              <a:gd name="connsiteY39" fmla="*/ 6223702 h 6858889"/>
              <a:gd name="connsiteX40" fmla="*/ 0 w 9667345"/>
              <a:gd name="connsiteY40" fmla="*/ 6043322 h 6858889"/>
              <a:gd name="connsiteX41" fmla="*/ 0 w 9667345"/>
              <a:gd name="connsiteY41" fmla="*/ 5825690 h 6858889"/>
              <a:gd name="connsiteX42" fmla="*/ 125453 w 9667345"/>
              <a:gd name="connsiteY42" fmla="*/ 5989143 h 6858889"/>
              <a:gd name="connsiteX43" fmla="*/ 642743 w 9667345"/>
              <a:gd name="connsiteY43" fmla="*/ 6514432 h 6858889"/>
              <a:gd name="connsiteX44" fmla="*/ 1051163 w 9667345"/>
              <a:gd name="connsiteY44" fmla="*/ 6819992 h 6858889"/>
              <a:gd name="connsiteX45" fmla="*/ 1109942 w 9667345"/>
              <a:gd name="connsiteY45" fmla="*/ 6858456 h 6858889"/>
              <a:gd name="connsiteX46" fmla="*/ 1090062 w 9667345"/>
              <a:gd name="connsiteY46" fmla="*/ 6858456 h 6858889"/>
              <a:gd name="connsiteX47" fmla="*/ 1040791 w 9667345"/>
              <a:gd name="connsiteY47" fmla="*/ 6826907 h 6858889"/>
              <a:gd name="connsiteX48" fmla="*/ 632370 w 9667345"/>
              <a:gd name="connsiteY48" fmla="*/ 6519185 h 6858889"/>
              <a:gd name="connsiteX49" fmla="*/ 112604 w 9667345"/>
              <a:gd name="connsiteY49" fmla="*/ 5993214 h 6858889"/>
              <a:gd name="connsiteX50" fmla="*/ 0 w 9667345"/>
              <a:gd name="connsiteY50" fmla="*/ 5846530 h 6858889"/>
              <a:gd name="connsiteX51" fmla="*/ 0 w 9667345"/>
              <a:gd name="connsiteY51" fmla="*/ 5604549 h 6858889"/>
              <a:gd name="connsiteX52" fmla="*/ 95478 w 9667345"/>
              <a:gd name="connsiteY52" fmla="*/ 5747885 h 6858889"/>
              <a:gd name="connsiteX53" fmla="*/ 756408 w 9667345"/>
              <a:gd name="connsiteY53" fmla="*/ 6469052 h 6858889"/>
              <a:gd name="connsiteX54" fmla="*/ 1161372 w 9667345"/>
              <a:gd name="connsiteY54" fmla="*/ 6774611 h 6858889"/>
              <a:gd name="connsiteX55" fmla="*/ 1289734 w 9667345"/>
              <a:gd name="connsiteY55" fmla="*/ 6857592 h 6858889"/>
              <a:gd name="connsiteX56" fmla="*/ 1271150 w 9667345"/>
              <a:gd name="connsiteY56" fmla="*/ 6857592 h 6858889"/>
              <a:gd name="connsiteX57" fmla="*/ 1151432 w 9667345"/>
              <a:gd name="connsiteY57" fmla="*/ 6780662 h 6858889"/>
              <a:gd name="connsiteX58" fmla="*/ 743010 w 9667345"/>
              <a:gd name="connsiteY58" fmla="*/ 6472941 h 6858889"/>
              <a:gd name="connsiteX59" fmla="*/ 81919 w 9667345"/>
              <a:gd name="connsiteY59" fmla="*/ 5752315 h 6858889"/>
              <a:gd name="connsiteX60" fmla="*/ 0 w 9667345"/>
              <a:gd name="connsiteY60" fmla="*/ 5628996 h 6858889"/>
              <a:gd name="connsiteX61" fmla="*/ 0 w 9667345"/>
              <a:gd name="connsiteY61" fmla="*/ 5359076 h 6858889"/>
              <a:gd name="connsiteX62" fmla="*/ 78670 w 9667345"/>
              <a:gd name="connsiteY62" fmla="*/ 5496155 h 6858889"/>
              <a:gd name="connsiteX63" fmla="*/ 867049 w 9667345"/>
              <a:gd name="connsiteY63" fmla="*/ 6423672 h 6858889"/>
              <a:gd name="connsiteX64" fmla="*/ 1272015 w 9667345"/>
              <a:gd name="connsiteY64" fmla="*/ 6729231 h 6858889"/>
              <a:gd name="connsiteX65" fmla="*/ 1469526 w 9667345"/>
              <a:gd name="connsiteY65" fmla="*/ 6857592 h 6858889"/>
              <a:gd name="connsiteX66" fmla="*/ 1450509 w 9667345"/>
              <a:gd name="connsiteY66" fmla="*/ 6857592 h 6858889"/>
              <a:gd name="connsiteX67" fmla="*/ 1258184 w 9667345"/>
              <a:gd name="connsiteY67" fmla="*/ 6735282 h 6858889"/>
              <a:gd name="connsiteX68" fmla="*/ 856678 w 9667345"/>
              <a:gd name="connsiteY68" fmla="*/ 6427561 h 6858889"/>
              <a:gd name="connsiteX69" fmla="*/ 65196 w 9667345"/>
              <a:gd name="connsiteY69" fmla="*/ 5499518 h 6858889"/>
              <a:gd name="connsiteX70" fmla="*/ 0 w 9667345"/>
              <a:gd name="connsiteY70" fmla="*/ 5386698 h 6858889"/>
              <a:gd name="connsiteX71" fmla="*/ 0 w 9667345"/>
              <a:gd name="connsiteY71" fmla="*/ 5079907 h 6858889"/>
              <a:gd name="connsiteX72" fmla="*/ 75746 w 9667345"/>
              <a:gd name="connsiteY72" fmla="*/ 5232455 h 6858889"/>
              <a:gd name="connsiteX73" fmla="*/ 980716 w 9667345"/>
              <a:gd name="connsiteY73" fmla="*/ 6377859 h 6858889"/>
              <a:gd name="connsiteX74" fmla="*/ 1378765 w 9667345"/>
              <a:gd name="connsiteY74" fmla="*/ 6683419 h 6858889"/>
              <a:gd name="connsiteX75" fmla="*/ 1652775 w 9667345"/>
              <a:gd name="connsiteY75" fmla="*/ 6858024 h 6858889"/>
              <a:gd name="connsiteX76" fmla="*/ 1631165 w 9667345"/>
              <a:gd name="connsiteY76" fmla="*/ 6858024 h 6858889"/>
              <a:gd name="connsiteX77" fmla="*/ 1368824 w 9667345"/>
              <a:gd name="connsiteY77" fmla="*/ 6690334 h 6858889"/>
              <a:gd name="connsiteX78" fmla="*/ 967318 w 9667345"/>
              <a:gd name="connsiteY78" fmla="*/ 6382614 h 6858889"/>
              <a:gd name="connsiteX79" fmla="*/ 62592 w 9667345"/>
              <a:gd name="connsiteY79" fmla="*/ 5235569 h 6858889"/>
              <a:gd name="connsiteX80" fmla="*/ 0 w 9667345"/>
              <a:gd name="connsiteY80" fmla="*/ 5109615 h 6858889"/>
              <a:gd name="connsiteX81" fmla="*/ 0 w 9667345"/>
              <a:gd name="connsiteY81" fmla="*/ 4754262 h 6858889"/>
              <a:gd name="connsiteX82" fmla="*/ 86287 w 9667345"/>
              <a:gd name="connsiteY82" fmla="*/ 4958028 h 6858889"/>
              <a:gd name="connsiteX83" fmla="*/ 1091358 w 9667345"/>
              <a:gd name="connsiteY83" fmla="*/ 6332479 h 6858889"/>
              <a:gd name="connsiteX84" fmla="*/ 1489406 w 9667345"/>
              <a:gd name="connsiteY84" fmla="*/ 6638039 h 6858889"/>
              <a:gd name="connsiteX85" fmla="*/ 1836889 w 9667345"/>
              <a:gd name="connsiteY85" fmla="*/ 6857592 h 6858889"/>
              <a:gd name="connsiteX86" fmla="*/ 1816575 w 9667345"/>
              <a:gd name="connsiteY86" fmla="*/ 6857592 h 6858889"/>
              <a:gd name="connsiteX87" fmla="*/ 1479466 w 9667345"/>
              <a:gd name="connsiteY87" fmla="*/ 6644089 h 6858889"/>
              <a:gd name="connsiteX88" fmla="*/ 1081417 w 9667345"/>
              <a:gd name="connsiteY88" fmla="*/ 6336369 h 6858889"/>
              <a:gd name="connsiteX89" fmla="*/ 73038 w 9667345"/>
              <a:gd name="connsiteY89" fmla="*/ 4959848 h 6858889"/>
              <a:gd name="connsiteX90" fmla="*/ 0 w 9667345"/>
              <a:gd name="connsiteY90" fmla="*/ 4787554 h 6858889"/>
              <a:gd name="connsiteX91" fmla="*/ 0 w 9667345"/>
              <a:gd name="connsiteY91" fmla="*/ 4357497 h 6858889"/>
              <a:gd name="connsiteX92" fmla="*/ 3590 w 9667345"/>
              <a:gd name="connsiteY92" fmla="*/ 4371077 h 6858889"/>
              <a:gd name="connsiteX93" fmla="*/ 107256 w 9667345"/>
              <a:gd name="connsiteY93" fmla="*/ 4670269 h 6858889"/>
              <a:gd name="connsiteX94" fmla="*/ 1205024 w 9667345"/>
              <a:gd name="connsiteY94" fmla="*/ 6287099 h 6858889"/>
              <a:gd name="connsiteX95" fmla="*/ 1600048 w 9667345"/>
              <a:gd name="connsiteY95" fmla="*/ 6592659 h 6858889"/>
              <a:gd name="connsiteX96" fmla="*/ 2023165 w 9667345"/>
              <a:gd name="connsiteY96" fmla="*/ 6858024 h 6858889"/>
              <a:gd name="connsiteX97" fmla="*/ 2001554 w 9667345"/>
              <a:gd name="connsiteY97" fmla="*/ 6858024 h 6858889"/>
              <a:gd name="connsiteX98" fmla="*/ 1587082 w 9667345"/>
              <a:gd name="connsiteY98" fmla="*/ 6599142 h 6858889"/>
              <a:gd name="connsiteX99" fmla="*/ 1192058 w 9667345"/>
              <a:gd name="connsiteY99" fmla="*/ 6291421 h 6858889"/>
              <a:gd name="connsiteX100" fmla="*/ 94290 w 9667345"/>
              <a:gd name="connsiteY100" fmla="*/ 4672429 h 6858889"/>
              <a:gd name="connsiteX101" fmla="*/ 0 w 9667345"/>
              <a:gd name="connsiteY101" fmla="*/ 4400852 h 6858889"/>
              <a:gd name="connsiteX102" fmla="*/ 0 w 9667345"/>
              <a:gd name="connsiteY102" fmla="*/ 3631903 h 6858889"/>
              <a:gd name="connsiteX103" fmla="*/ 10844 w 9667345"/>
              <a:gd name="connsiteY103" fmla="*/ 3768898 h 6858889"/>
              <a:gd name="connsiteX104" fmla="*/ 234320 w 9667345"/>
              <a:gd name="connsiteY104" fmla="*/ 4624456 h 6858889"/>
              <a:gd name="connsiteX105" fmla="*/ 1315233 w 9667345"/>
              <a:gd name="connsiteY105" fmla="*/ 6239558 h 6858889"/>
              <a:gd name="connsiteX106" fmla="*/ 1706800 w 9667345"/>
              <a:gd name="connsiteY106" fmla="*/ 6547278 h 6858889"/>
              <a:gd name="connsiteX107" fmla="*/ 2205549 w 9667345"/>
              <a:gd name="connsiteY107" fmla="*/ 6857592 h 6858889"/>
              <a:gd name="connsiteX108" fmla="*/ 2183507 w 9667345"/>
              <a:gd name="connsiteY108" fmla="*/ 6857592 h 6858889"/>
              <a:gd name="connsiteX109" fmla="*/ 1696860 w 9667345"/>
              <a:gd name="connsiteY109" fmla="*/ 6553329 h 6858889"/>
              <a:gd name="connsiteX110" fmla="*/ 1305292 w 9667345"/>
              <a:gd name="connsiteY110" fmla="*/ 6245609 h 6858889"/>
              <a:gd name="connsiteX111" fmla="*/ 220923 w 9667345"/>
              <a:gd name="connsiteY111" fmla="*/ 4626617 h 6858889"/>
              <a:gd name="connsiteX112" fmla="*/ 42265 w 9667345"/>
              <a:gd name="connsiteY112" fmla="*/ 4041321 h 6858889"/>
              <a:gd name="connsiteX113" fmla="*/ 0 w 9667345"/>
              <a:gd name="connsiteY113" fmla="*/ 3795139 h 6858889"/>
              <a:gd name="connsiteX114" fmla="*/ 5434888 w 9667345"/>
              <a:gd name="connsiteY114" fmla="*/ 1729 h 6858889"/>
              <a:gd name="connsiteX115" fmla="*/ 5448286 w 9667345"/>
              <a:gd name="connsiteY115" fmla="*/ 1729 h 6858889"/>
              <a:gd name="connsiteX116" fmla="*/ 5227436 w 9667345"/>
              <a:gd name="connsiteY116" fmla="*/ 893774 h 6858889"/>
              <a:gd name="connsiteX117" fmla="*/ 5060177 w 9667345"/>
              <a:gd name="connsiteY117" fmla="*/ 1269781 h 6858889"/>
              <a:gd name="connsiteX118" fmla="*/ 4785736 w 9667345"/>
              <a:gd name="connsiteY118" fmla="*/ 1963449 h 6858889"/>
              <a:gd name="connsiteX119" fmla="*/ 4768880 w 9667345"/>
              <a:gd name="connsiteY119" fmla="*/ 3010651 h 6858889"/>
              <a:gd name="connsiteX120" fmla="*/ 5361416 w 9667345"/>
              <a:gd name="connsiteY120" fmla="*/ 4600686 h 6858889"/>
              <a:gd name="connsiteX121" fmla="*/ 5642341 w 9667345"/>
              <a:gd name="connsiteY121" fmla="*/ 4920939 h 6858889"/>
              <a:gd name="connsiteX122" fmla="*/ 6990779 w 9667345"/>
              <a:gd name="connsiteY122" fmla="*/ 5817306 h 6858889"/>
              <a:gd name="connsiteX123" fmla="*/ 7425997 w 9667345"/>
              <a:gd name="connsiteY123" fmla="*/ 6003148 h 6858889"/>
              <a:gd name="connsiteX124" fmla="*/ 8717818 w 9667345"/>
              <a:gd name="connsiteY124" fmla="*/ 6393418 h 6858889"/>
              <a:gd name="connsiteX125" fmla="*/ 9666913 w 9667345"/>
              <a:gd name="connsiteY125" fmla="*/ 6567592 h 6858889"/>
              <a:gd name="connsiteX126" fmla="*/ 9666913 w 9667345"/>
              <a:gd name="connsiteY126" fmla="*/ 6576236 h 6858889"/>
              <a:gd name="connsiteX127" fmla="*/ 8714362 w 9667345"/>
              <a:gd name="connsiteY127" fmla="*/ 6401198 h 6858889"/>
              <a:gd name="connsiteX128" fmla="*/ 7416056 w 9667345"/>
              <a:gd name="connsiteY128" fmla="*/ 6008767 h 6858889"/>
              <a:gd name="connsiteX129" fmla="*/ 6984296 w 9667345"/>
              <a:gd name="connsiteY129" fmla="*/ 5822924 h 6858889"/>
              <a:gd name="connsiteX130" fmla="*/ 5632400 w 9667345"/>
              <a:gd name="connsiteY130" fmla="*/ 4924397 h 6858889"/>
              <a:gd name="connsiteX131" fmla="*/ 5348018 w 9667345"/>
              <a:gd name="connsiteY131" fmla="*/ 4604143 h 6858889"/>
              <a:gd name="connsiteX132" fmla="*/ 4755482 w 9667345"/>
              <a:gd name="connsiteY132" fmla="*/ 3009786 h 6858889"/>
              <a:gd name="connsiteX133" fmla="*/ 4772337 w 9667345"/>
              <a:gd name="connsiteY133" fmla="*/ 1962585 h 6858889"/>
              <a:gd name="connsiteX134" fmla="*/ 5043322 w 9667345"/>
              <a:gd name="connsiteY134" fmla="*/ 1266755 h 6858889"/>
              <a:gd name="connsiteX135" fmla="*/ 5210581 w 9667345"/>
              <a:gd name="connsiteY135" fmla="*/ 890749 h 6858889"/>
              <a:gd name="connsiteX136" fmla="*/ 5434888 w 9667345"/>
              <a:gd name="connsiteY136" fmla="*/ 1729 h 6858889"/>
              <a:gd name="connsiteX137" fmla="*/ 5575783 w 9667345"/>
              <a:gd name="connsiteY137" fmla="*/ 1297 h 6858889"/>
              <a:gd name="connsiteX138" fmla="*/ 5589181 w 9667345"/>
              <a:gd name="connsiteY138" fmla="*/ 1297 h 6858889"/>
              <a:gd name="connsiteX139" fmla="*/ 5368330 w 9667345"/>
              <a:gd name="connsiteY139" fmla="*/ 854012 h 6858889"/>
              <a:gd name="connsiteX140" fmla="*/ 5197614 w 9667345"/>
              <a:gd name="connsiteY140" fmla="*/ 1231748 h 6858889"/>
              <a:gd name="connsiteX141" fmla="*/ 4919715 w 9667345"/>
              <a:gd name="connsiteY141" fmla="*/ 1921527 h 6858889"/>
              <a:gd name="connsiteX142" fmla="*/ 4896376 w 9667345"/>
              <a:gd name="connsiteY142" fmla="*/ 2964406 h 6858889"/>
              <a:gd name="connsiteX143" fmla="*/ 5472057 w 9667345"/>
              <a:gd name="connsiteY143" fmla="*/ 4554441 h 6858889"/>
              <a:gd name="connsiteX144" fmla="*/ 5752981 w 9667345"/>
              <a:gd name="connsiteY144" fmla="*/ 4874695 h 6858889"/>
              <a:gd name="connsiteX145" fmla="*/ 7094937 w 9667345"/>
              <a:gd name="connsiteY145" fmla="*/ 5773223 h 6858889"/>
              <a:gd name="connsiteX146" fmla="*/ 7526698 w 9667345"/>
              <a:gd name="connsiteY146" fmla="*/ 5956904 h 6858889"/>
              <a:gd name="connsiteX147" fmla="*/ 8818519 w 9667345"/>
              <a:gd name="connsiteY147" fmla="*/ 6343283 h 6858889"/>
              <a:gd name="connsiteX148" fmla="*/ 9666913 w 9667345"/>
              <a:gd name="connsiteY148" fmla="*/ 6500602 h 6858889"/>
              <a:gd name="connsiteX149" fmla="*/ 9666913 w 9667345"/>
              <a:gd name="connsiteY149" fmla="*/ 6509246 h 6858889"/>
              <a:gd name="connsiteX150" fmla="*/ 8811605 w 9667345"/>
              <a:gd name="connsiteY150" fmla="*/ 6351496 h 6858889"/>
              <a:gd name="connsiteX151" fmla="*/ 7516324 w 9667345"/>
              <a:gd name="connsiteY151" fmla="*/ 5965116 h 6858889"/>
              <a:gd name="connsiteX152" fmla="*/ 7084564 w 9667345"/>
              <a:gd name="connsiteY152" fmla="*/ 5779273 h 6858889"/>
              <a:gd name="connsiteX153" fmla="*/ 5739151 w 9667345"/>
              <a:gd name="connsiteY153" fmla="*/ 4879017 h 6858889"/>
              <a:gd name="connsiteX154" fmla="*/ 5458226 w 9667345"/>
              <a:gd name="connsiteY154" fmla="*/ 4558762 h 6858889"/>
              <a:gd name="connsiteX155" fmla="*/ 4882546 w 9667345"/>
              <a:gd name="connsiteY155" fmla="*/ 2966567 h 6858889"/>
              <a:gd name="connsiteX156" fmla="*/ 4905886 w 9667345"/>
              <a:gd name="connsiteY156" fmla="*/ 1919366 h 6858889"/>
              <a:gd name="connsiteX157" fmla="*/ 5180327 w 9667345"/>
              <a:gd name="connsiteY157" fmla="*/ 1229587 h 6858889"/>
              <a:gd name="connsiteX158" fmla="*/ 5354501 w 9667345"/>
              <a:gd name="connsiteY158" fmla="*/ 851851 h 6858889"/>
              <a:gd name="connsiteX159" fmla="*/ 5575783 w 9667345"/>
              <a:gd name="connsiteY159" fmla="*/ 1297 h 6858889"/>
              <a:gd name="connsiteX160" fmla="*/ 5293994 w 9667345"/>
              <a:gd name="connsiteY160" fmla="*/ 1297 h 6858889"/>
              <a:gd name="connsiteX161" fmla="*/ 5307392 w 9667345"/>
              <a:gd name="connsiteY161" fmla="*/ 1297 h 6858889"/>
              <a:gd name="connsiteX162" fmla="*/ 5083083 w 9667345"/>
              <a:gd name="connsiteY162" fmla="*/ 930511 h 6858889"/>
              <a:gd name="connsiteX163" fmla="*/ 4919283 w 9667345"/>
              <a:gd name="connsiteY163" fmla="*/ 1306517 h 6858889"/>
              <a:gd name="connsiteX164" fmla="*/ 4651756 w 9667345"/>
              <a:gd name="connsiteY164" fmla="*/ 2006668 h 6858889"/>
              <a:gd name="connsiteX165" fmla="*/ 4645273 w 9667345"/>
              <a:gd name="connsiteY165" fmla="*/ 3055599 h 6858889"/>
              <a:gd name="connsiteX166" fmla="*/ 5247749 w 9667345"/>
              <a:gd name="connsiteY166" fmla="*/ 4645633 h 6858889"/>
              <a:gd name="connsiteX167" fmla="*/ 5535589 w 9667345"/>
              <a:gd name="connsiteY167" fmla="*/ 4965888 h 6858889"/>
              <a:gd name="connsiteX168" fmla="*/ 6890942 w 9667345"/>
              <a:gd name="connsiteY168" fmla="*/ 5862254 h 6858889"/>
              <a:gd name="connsiteX169" fmla="*/ 7326160 w 9667345"/>
              <a:gd name="connsiteY169" fmla="*/ 6045935 h 6858889"/>
              <a:gd name="connsiteX170" fmla="*/ 8617983 w 9667345"/>
              <a:gd name="connsiteY170" fmla="*/ 6440527 h 6858889"/>
              <a:gd name="connsiteX171" fmla="*/ 9667345 w 9667345"/>
              <a:gd name="connsiteY171" fmla="*/ 6632852 h 6858889"/>
              <a:gd name="connsiteX172" fmla="*/ 9667345 w 9667345"/>
              <a:gd name="connsiteY172" fmla="*/ 6642793 h 6858889"/>
              <a:gd name="connsiteX173" fmla="*/ 8614525 w 9667345"/>
              <a:gd name="connsiteY173" fmla="*/ 6448739 h 6858889"/>
              <a:gd name="connsiteX174" fmla="*/ 7316220 w 9667345"/>
              <a:gd name="connsiteY174" fmla="*/ 6054147 h 6858889"/>
              <a:gd name="connsiteX175" fmla="*/ 6884460 w 9667345"/>
              <a:gd name="connsiteY175" fmla="*/ 5868305 h 6858889"/>
              <a:gd name="connsiteX176" fmla="*/ 5522623 w 9667345"/>
              <a:gd name="connsiteY176" fmla="*/ 4969778 h 6858889"/>
              <a:gd name="connsiteX177" fmla="*/ 5234783 w 9667345"/>
              <a:gd name="connsiteY177" fmla="*/ 4649523 h 6858889"/>
              <a:gd name="connsiteX178" fmla="*/ 4628850 w 9667345"/>
              <a:gd name="connsiteY178" fmla="*/ 3055167 h 6858889"/>
              <a:gd name="connsiteX179" fmla="*/ 4638790 w 9667345"/>
              <a:gd name="connsiteY179" fmla="*/ 2004076 h 6858889"/>
              <a:gd name="connsiteX180" fmla="*/ 4906318 w 9667345"/>
              <a:gd name="connsiteY180" fmla="*/ 1303924 h 6858889"/>
              <a:gd name="connsiteX181" fmla="*/ 5070118 w 9667345"/>
              <a:gd name="connsiteY181" fmla="*/ 927917 h 6858889"/>
              <a:gd name="connsiteX182" fmla="*/ 5293994 w 9667345"/>
              <a:gd name="connsiteY182" fmla="*/ 1297 h 6858889"/>
              <a:gd name="connsiteX183" fmla="*/ 5150073 w 9667345"/>
              <a:gd name="connsiteY183" fmla="*/ 1297 h 6858889"/>
              <a:gd name="connsiteX184" fmla="*/ 5163472 w 9667345"/>
              <a:gd name="connsiteY184" fmla="*/ 1297 h 6858889"/>
              <a:gd name="connsiteX185" fmla="*/ 4942621 w 9667345"/>
              <a:gd name="connsiteY185" fmla="*/ 969840 h 6858889"/>
              <a:gd name="connsiteX186" fmla="*/ 4781845 w 9667345"/>
              <a:gd name="connsiteY186" fmla="*/ 1343686 h 6858889"/>
              <a:gd name="connsiteX187" fmla="*/ 4517344 w 9667345"/>
              <a:gd name="connsiteY187" fmla="*/ 2049888 h 6858889"/>
              <a:gd name="connsiteX188" fmla="*/ 4517344 w 9667345"/>
              <a:gd name="connsiteY188" fmla="*/ 3098818 h 6858889"/>
              <a:gd name="connsiteX189" fmla="*/ 5136243 w 9667345"/>
              <a:gd name="connsiteY189" fmla="*/ 4691014 h 6858889"/>
              <a:gd name="connsiteX190" fmla="*/ 5424084 w 9667345"/>
              <a:gd name="connsiteY190" fmla="*/ 5011268 h 6858889"/>
              <a:gd name="connsiteX191" fmla="*/ 6789377 w 9667345"/>
              <a:gd name="connsiteY191" fmla="*/ 5905473 h 6858889"/>
              <a:gd name="connsiteX192" fmla="*/ 7224595 w 9667345"/>
              <a:gd name="connsiteY192" fmla="*/ 6091316 h 6858889"/>
              <a:gd name="connsiteX193" fmla="*/ 8519875 w 9667345"/>
              <a:gd name="connsiteY193" fmla="*/ 6487636 h 6858889"/>
              <a:gd name="connsiteX194" fmla="*/ 9666480 w 9667345"/>
              <a:gd name="connsiteY194" fmla="*/ 6699411 h 6858889"/>
              <a:gd name="connsiteX195" fmla="*/ 9666480 w 9667345"/>
              <a:gd name="connsiteY195" fmla="*/ 6708918 h 6858889"/>
              <a:gd name="connsiteX196" fmla="*/ 8513393 w 9667345"/>
              <a:gd name="connsiteY196" fmla="*/ 6495848 h 6858889"/>
              <a:gd name="connsiteX197" fmla="*/ 7218112 w 9667345"/>
              <a:gd name="connsiteY197" fmla="*/ 6099527 h 6858889"/>
              <a:gd name="connsiteX198" fmla="*/ 6779869 w 9667345"/>
              <a:gd name="connsiteY198" fmla="*/ 5911524 h 6858889"/>
              <a:gd name="connsiteX199" fmla="*/ 5411118 w 9667345"/>
              <a:gd name="connsiteY199" fmla="*/ 5015158 h 6858889"/>
              <a:gd name="connsiteX200" fmla="*/ 5123278 w 9667345"/>
              <a:gd name="connsiteY200" fmla="*/ 4694903 h 6858889"/>
              <a:gd name="connsiteX201" fmla="*/ 4504379 w 9667345"/>
              <a:gd name="connsiteY201" fmla="*/ 3100547 h 6858889"/>
              <a:gd name="connsiteX202" fmla="*/ 4504379 w 9667345"/>
              <a:gd name="connsiteY202" fmla="*/ 2047294 h 6858889"/>
              <a:gd name="connsiteX203" fmla="*/ 4768880 w 9667345"/>
              <a:gd name="connsiteY203" fmla="*/ 1341093 h 6858889"/>
              <a:gd name="connsiteX204" fmla="*/ 4929656 w 9667345"/>
              <a:gd name="connsiteY204" fmla="*/ 967246 h 6858889"/>
              <a:gd name="connsiteX205" fmla="*/ 5150073 w 9667345"/>
              <a:gd name="connsiteY205" fmla="*/ 1297 h 6858889"/>
              <a:gd name="connsiteX206" fmla="*/ 5008747 w 9667345"/>
              <a:gd name="connsiteY206" fmla="*/ 1297 h 6858889"/>
              <a:gd name="connsiteX207" fmla="*/ 5022145 w 9667345"/>
              <a:gd name="connsiteY207" fmla="*/ 1297 h 6858889"/>
              <a:gd name="connsiteX208" fmla="*/ 4801294 w 9667345"/>
              <a:gd name="connsiteY208" fmla="*/ 1009169 h 6858889"/>
              <a:gd name="connsiteX209" fmla="*/ 4643977 w 9667345"/>
              <a:gd name="connsiteY209" fmla="*/ 1378694 h 6858889"/>
              <a:gd name="connsiteX210" fmla="*/ 4386390 w 9667345"/>
              <a:gd name="connsiteY210" fmla="*/ 2093107 h 6858889"/>
              <a:gd name="connsiteX211" fmla="*/ 4389848 w 9667345"/>
              <a:gd name="connsiteY211" fmla="*/ 3144198 h 6858889"/>
              <a:gd name="connsiteX212" fmla="*/ 5022145 w 9667345"/>
              <a:gd name="connsiteY212" fmla="*/ 4736393 h 6858889"/>
              <a:gd name="connsiteX213" fmla="*/ 5313442 w 9667345"/>
              <a:gd name="connsiteY213" fmla="*/ 5056648 h 6858889"/>
              <a:gd name="connsiteX214" fmla="*/ 6688676 w 9667345"/>
              <a:gd name="connsiteY214" fmla="*/ 5948692 h 6858889"/>
              <a:gd name="connsiteX215" fmla="*/ 7123895 w 9667345"/>
              <a:gd name="connsiteY215" fmla="*/ 6136696 h 6858889"/>
              <a:gd name="connsiteX216" fmla="*/ 8419174 w 9667345"/>
              <a:gd name="connsiteY216" fmla="*/ 6537339 h 6858889"/>
              <a:gd name="connsiteX217" fmla="*/ 9666049 w 9667345"/>
              <a:gd name="connsiteY217" fmla="*/ 6767264 h 6858889"/>
              <a:gd name="connsiteX218" fmla="*/ 9666049 w 9667345"/>
              <a:gd name="connsiteY218" fmla="*/ 6775908 h 6858889"/>
              <a:gd name="connsiteX219" fmla="*/ 8412691 w 9667345"/>
              <a:gd name="connsiteY219" fmla="*/ 6545550 h 6858889"/>
              <a:gd name="connsiteX220" fmla="*/ 7117412 w 9667345"/>
              <a:gd name="connsiteY220" fmla="*/ 6142747 h 6858889"/>
              <a:gd name="connsiteX221" fmla="*/ 6679169 w 9667345"/>
              <a:gd name="connsiteY221" fmla="*/ 5956904 h 6858889"/>
              <a:gd name="connsiteX222" fmla="*/ 5303934 w 9667345"/>
              <a:gd name="connsiteY222" fmla="*/ 5060537 h 6858889"/>
              <a:gd name="connsiteX223" fmla="*/ 5009611 w 9667345"/>
              <a:gd name="connsiteY223" fmla="*/ 4740283 h 6858889"/>
              <a:gd name="connsiteX224" fmla="*/ 4377314 w 9667345"/>
              <a:gd name="connsiteY224" fmla="*/ 3145926 h 6858889"/>
              <a:gd name="connsiteX225" fmla="*/ 4370831 w 9667345"/>
              <a:gd name="connsiteY225" fmla="*/ 2090514 h 6858889"/>
              <a:gd name="connsiteX226" fmla="*/ 4631875 w 9667345"/>
              <a:gd name="connsiteY226" fmla="*/ 1376100 h 6858889"/>
              <a:gd name="connsiteX227" fmla="*/ 4789193 w 9667345"/>
              <a:gd name="connsiteY227" fmla="*/ 1006575 h 6858889"/>
              <a:gd name="connsiteX228" fmla="*/ 5008747 w 9667345"/>
              <a:gd name="connsiteY228" fmla="*/ 1297 h 6858889"/>
              <a:gd name="connsiteX229" fmla="*/ 4865691 w 9667345"/>
              <a:gd name="connsiteY229" fmla="*/ 1297 h 6858889"/>
              <a:gd name="connsiteX230" fmla="*/ 4879089 w 9667345"/>
              <a:gd name="connsiteY230" fmla="*/ 1297 h 6858889"/>
              <a:gd name="connsiteX231" fmla="*/ 4661697 w 9667345"/>
              <a:gd name="connsiteY231" fmla="*/ 1048499 h 6858889"/>
              <a:gd name="connsiteX232" fmla="*/ 4507836 w 9667345"/>
              <a:gd name="connsiteY232" fmla="*/ 1416295 h 6858889"/>
              <a:gd name="connsiteX233" fmla="*/ 4253707 w 9667345"/>
              <a:gd name="connsiteY233" fmla="*/ 2135030 h 6858889"/>
              <a:gd name="connsiteX234" fmla="*/ 4267105 w 9667345"/>
              <a:gd name="connsiteY234" fmla="*/ 3190442 h 6858889"/>
              <a:gd name="connsiteX235" fmla="*/ 4909775 w 9667345"/>
              <a:gd name="connsiteY235" fmla="*/ 4782638 h 6858889"/>
              <a:gd name="connsiteX236" fmla="*/ 5207555 w 9667345"/>
              <a:gd name="connsiteY236" fmla="*/ 5102893 h 6858889"/>
              <a:gd name="connsiteX237" fmla="*/ 6586247 w 9667345"/>
              <a:gd name="connsiteY237" fmla="*/ 5994937 h 6858889"/>
              <a:gd name="connsiteX238" fmla="*/ 7024491 w 9667345"/>
              <a:gd name="connsiteY238" fmla="*/ 6180779 h 6858889"/>
              <a:gd name="connsiteX239" fmla="*/ 8319770 w 9667345"/>
              <a:gd name="connsiteY239" fmla="*/ 6585744 h 6858889"/>
              <a:gd name="connsiteX240" fmla="*/ 9666913 w 9667345"/>
              <a:gd name="connsiteY240" fmla="*/ 6835982 h 6858889"/>
              <a:gd name="connsiteX241" fmla="*/ 9666913 w 9667345"/>
              <a:gd name="connsiteY241" fmla="*/ 6844626 h 6858889"/>
              <a:gd name="connsiteX242" fmla="*/ 8316312 w 9667345"/>
              <a:gd name="connsiteY242" fmla="*/ 6593955 h 6858889"/>
              <a:gd name="connsiteX243" fmla="*/ 7018008 w 9667345"/>
              <a:gd name="connsiteY243" fmla="*/ 6188992 h 6858889"/>
              <a:gd name="connsiteX244" fmla="*/ 6579764 w 9667345"/>
              <a:gd name="connsiteY244" fmla="*/ 6000988 h 6858889"/>
              <a:gd name="connsiteX245" fmla="*/ 5194157 w 9667345"/>
              <a:gd name="connsiteY245" fmla="*/ 5106782 h 6858889"/>
              <a:gd name="connsiteX246" fmla="*/ 4899835 w 9667345"/>
              <a:gd name="connsiteY246" fmla="*/ 4786528 h 6858889"/>
              <a:gd name="connsiteX247" fmla="*/ 4254139 w 9667345"/>
              <a:gd name="connsiteY247" fmla="*/ 3190010 h 6858889"/>
              <a:gd name="connsiteX248" fmla="*/ 4240741 w 9667345"/>
              <a:gd name="connsiteY248" fmla="*/ 2134598 h 6858889"/>
              <a:gd name="connsiteX249" fmla="*/ 4494870 w 9667345"/>
              <a:gd name="connsiteY249" fmla="*/ 1413701 h 6858889"/>
              <a:gd name="connsiteX250" fmla="*/ 4645273 w 9667345"/>
              <a:gd name="connsiteY250" fmla="*/ 1045906 h 6858889"/>
              <a:gd name="connsiteX251" fmla="*/ 4865691 w 9667345"/>
              <a:gd name="connsiteY251" fmla="*/ 1297 h 6858889"/>
              <a:gd name="connsiteX252" fmla="*/ 4438253 w 9667345"/>
              <a:gd name="connsiteY252" fmla="*/ 1297 h 6858889"/>
              <a:gd name="connsiteX253" fmla="*/ 4451652 w 9667345"/>
              <a:gd name="connsiteY253" fmla="*/ 1297 h 6858889"/>
              <a:gd name="connsiteX254" fmla="*/ 4237284 w 9667345"/>
              <a:gd name="connsiteY254" fmla="*/ 1163894 h 6858889"/>
              <a:gd name="connsiteX255" fmla="*/ 4096821 w 9667345"/>
              <a:gd name="connsiteY255" fmla="*/ 1525207 h 6858889"/>
              <a:gd name="connsiteX256" fmla="*/ 3852633 w 9667345"/>
              <a:gd name="connsiteY256" fmla="*/ 2264687 h 6858889"/>
              <a:gd name="connsiteX257" fmla="*/ 3889369 w 9667345"/>
              <a:gd name="connsiteY257" fmla="*/ 3323990 h 6858889"/>
              <a:gd name="connsiteX258" fmla="*/ 4575258 w 9667345"/>
              <a:gd name="connsiteY258" fmla="*/ 4918347 h 6858889"/>
              <a:gd name="connsiteX259" fmla="*/ 4879953 w 9667345"/>
              <a:gd name="connsiteY259" fmla="*/ 5236440 h 6858889"/>
              <a:gd name="connsiteX260" fmla="*/ 6285442 w 9667345"/>
              <a:gd name="connsiteY260" fmla="*/ 6126323 h 6858889"/>
              <a:gd name="connsiteX261" fmla="*/ 6723685 w 9667345"/>
              <a:gd name="connsiteY261" fmla="*/ 6314327 h 6858889"/>
              <a:gd name="connsiteX262" fmla="*/ 8021989 w 9667345"/>
              <a:gd name="connsiteY262" fmla="*/ 6729231 h 6858889"/>
              <a:gd name="connsiteX263" fmla="*/ 8590321 w 9667345"/>
              <a:gd name="connsiteY263" fmla="*/ 6858456 h 6858889"/>
              <a:gd name="connsiteX264" fmla="*/ 8546671 w 9667345"/>
              <a:gd name="connsiteY264" fmla="*/ 6858456 h 6858889"/>
              <a:gd name="connsiteX265" fmla="*/ 8018964 w 9667345"/>
              <a:gd name="connsiteY265" fmla="*/ 6737876 h 6858889"/>
              <a:gd name="connsiteX266" fmla="*/ 6717202 w 9667345"/>
              <a:gd name="connsiteY266" fmla="*/ 6322971 h 6858889"/>
              <a:gd name="connsiteX267" fmla="*/ 6275502 w 9667345"/>
              <a:gd name="connsiteY267" fmla="*/ 6134968 h 6858889"/>
              <a:gd name="connsiteX268" fmla="*/ 4866555 w 9667345"/>
              <a:gd name="connsiteY268" fmla="*/ 5242923 h 6858889"/>
              <a:gd name="connsiteX269" fmla="*/ 4561860 w 9667345"/>
              <a:gd name="connsiteY269" fmla="*/ 4922669 h 6858889"/>
              <a:gd name="connsiteX270" fmla="*/ 3875971 w 9667345"/>
              <a:gd name="connsiteY270" fmla="*/ 3326151 h 6858889"/>
              <a:gd name="connsiteX271" fmla="*/ 3839235 w 9667345"/>
              <a:gd name="connsiteY271" fmla="*/ 2262526 h 6858889"/>
              <a:gd name="connsiteX272" fmla="*/ 4083423 w 9667345"/>
              <a:gd name="connsiteY272" fmla="*/ 1523045 h 6858889"/>
              <a:gd name="connsiteX273" fmla="*/ 4223886 w 9667345"/>
              <a:gd name="connsiteY273" fmla="*/ 1161733 h 6858889"/>
              <a:gd name="connsiteX274" fmla="*/ 4438253 w 9667345"/>
              <a:gd name="connsiteY274" fmla="*/ 1297 h 6858889"/>
              <a:gd name="connsiteX275" fmla="*/ 3715197 w 9667345"/>
              <a:gd name="connsiteY275" fmla="*/ 1297 h 6858889"/>
              <a:gd name="connsiteX276" fmla="*/ 3728595 w 9667345"/>
              <a:gd name="connsiteY276" fmla="*/ 1297 h 6858889"/>
              <a:gd name="connsiteX277" fmla="*/ 3531083 w 9667345"/>
              <a:gd name="connsiteY277" fmla="*/ 1357948 h 6858889"/>
              <a:gd name="connsiteX278" fmla="*/ 3410501 w 9667345"/>
              <a:gd name="connsiteY278" fmla="*/ 1704998 h 6858889"/>
              <a:gd name="connsiteX279" fmla="*/ 3186194 w 9667345"/>
              <a:gd name="connsiteY279" fmla="*/ 2479486 h 6858889"/>
              <a:gd name="connsiteX280" fmla="*/ 3259665 w 9667345"/>
              <a:gd name="connsiteY280" fmla="*/ 3549162 h 6858889"/>
              <a:gd name="connsiteX281" fmla="*/ 4012544 w 9667345"/>
              <a:gd name="connsiteY281" fmla="*/ 5147409 h 6858889"/>
              <a:gd name="connsiteX282" fmla="*/ 4330638 w 9667345"/>
              <a:gd name="connsiteY282" fmla="*/ 5463341 h 6858889"/>
              <a:gd name="connsiteX283" fmla="*/ 5776320 w 9667345"/>
              <a:gd name="connsiteY283" fmla="*/ 6347174 h 6858889"/>
              <a:gd name="connsiteX284" fmla="*/ 6221478 w 9667345"/>
              <a:gd name="connsiteY284" fmla="*/ 6539067 h 6858889"/>
              <a:gd name="connsiteX285" fmla="*/ 7132106 w 9667345"/>
              <a:gd name="connsiteY285" fmla="*/ 6858889 h 6858889"/>
              <a:gd name="connsiteX286" fmla="*/ 7102285 w 9667345"/>
              <a:gd name="connsiteY286" fmla="*/ 6858889 h 6858889"/>
              <a:gd name="connsiteX287" fmla="*/ 6214995 w 9667345"/>
              <a:gd name="connsiteY287" fmla="*/ 6546414 h 6858889"/>
              <a:gd name="connsiteX288" fmla="*/ 5769837 w 9667345"/>
              <a:gd name="connsiteY288" fmla="*/ 6356249 h 6858889"/>
              <a:gd name="connsiteX289" fmla="*/ 4320697 w 9667345"/>
              <a:gd name="connsiteY289" fmla="*/ 5468095 h 6858889"/>
              <a:gd name="connsiteX290" fmla="*/ 3999578 w 9667345"/>
              <a:gd name="connsiteY290" fmla="*/ 5152162 h 6858889"/>
              <a:gd name="connsiteX291" fmla="*/ 3243243 w 9667345"/>
              <a:gd name="connsiteY291" fmla="*/ 3549594 h 6858889"/>
              <a:gd name="connsiteX292" fmla="*/ 3172796 w 9667345"/>
              <a:gd name="connsiteY292" fmla="*/ 2477758 h 6858889"/>
              <a:gd name="connsiteX293" fmla="*/ 3397102 w 9667345"/>
              <a:gd name="connsiteY293" fmla="*/ 1703270 h 6858889"/>
              <a:gd name="connsiteX294" fmla="*/ 3514226 w 9667345"/>
              <a:gd name="connsiteY294" fmla="*/ 1356220 h 6858889"/>
              <a:gd name="connsiteX295" fmla="*/ 3715197 w 9667345"/>
              <a:gd name="connsiteY295" fmla="*/ 1297 h 6858889"/>
              <a:gd name="connsiteX296" fmla="*/ 3566955 w 9667345"/>
              <a:gd name="connsiteY296" fmla="*/ 1297 h 6858889"/>
              <a:gd name="connsiteX297" fmla="*/ 3583809 w 9667345"/>
              <a:gd name="connsiteY297" fmla="*/ 1297 h 6858889"/>
              <a:gd name="connsiteX298" fmla="*/ 3386299 w 9667345"/>
              <a:gd name="connsiteY298" fmla="*/ 1395117 h 6858889"/>
              <a:gd name="connsiteX299" fmla="*/ 3272631 w 9667345"/>
              <a:gd name="connsiteY299" fmla="*/ 1740006 h 6858889"/>
              <a:gd name="connsiteX300" fmla="*/ 3055239 w 9667345"/>
              <a:gd name="connsiteY300" fmla="*/ 2520545 h 6858889"/>
              <a:gd name="connsiteX301" fmla="*/ 3132169 w 9667345"/>
              <a:gd name="connsiteY301" fmla="*/ 3592381 h 6858889"/>
              <a:gd name="connsiteX302" fmla="*/ 3898445 w 9667345"/>
              <a:gd name="connsiteY302" fmla="*/ 5192789 h 6858889"/>
              <a:gd name="connsiteX303" fmla="*/ 4223022 w 9667345"/>
              <a:gd name="connsiteY303" fmla="*/ 5508721 h 6858889"/>
              <a:gd name="connsiteX304" fmla="*/ 5675619 w 9667345"/>
              <a:gd name="connsiteY304" fmla="*/ 6392554 h 6858889"/>
              <a:gd name="connsiteX305" fmla="*/ 6120777 w 9667345"/>
              <a:gd name="connsiteY305" fmla="*/ 6584447 h 6858889"/>
              <a:gd name="connsiteX306" fmla="*/ 6884460 w 9667345"/>
              <a:gd name="connsiteY306" fmla="*/ 6858024 h 6858889"/>
              <a:gd name="connsiteX307" fmla="*/ 6853343 w 9667345"/>
              <a:gd name="connsiteY307" fmla="*/ 6858024 h 6858889"/>
              <a:gd name="connsiteX308" fmla="*/ 6113862 w 9667345"/>
              <a:gd name="connsiteY308" fmla="*/ 6590931 h 6858889"/>
              <a:gd name="connsiteX309" fmla="*/ 5665247 w 9667345"/>
              <a:gd name="connsiteY309" fmla="*/ 6399037 h 6858889"/>
              <a:gd name="connsiteX310" fmla="*/ 4209623 w 9667345"/>
              <a:gd name="connsiteY310" fmla="*/ 5513043 h 6858889"/>
              <a:gd name="connsiteX311" fmla="*/ 3888505 w 9667345"/>
              <a:gd name="connsiteY311" fmla="*/ 5197111 h 6858889"/>
              <a:gd name="connsiteX312" fmla="*/ 3118771 w 9667345"/>
              <a:gd name="connsiteY312" fmla="*/ 3594543 h 6858889"/>
              <a:gd name="connsiteX313" fmla="*/ 3038384 w 9667345"/>
              <a:gd name="connsiteY313" fmla="*/ 2520545 h 6858889"/>
              <a:gd name="connsiteX314" fmla="*/ 3259234 w 9667345"/>
              <a:gd name="connsiteY314" fmla="*/ 1737845 h 6858889"/>
              <a:gd name="connsiteX315" fmla="*/ 3372899 w 9667345"/>
              <a:gd name="connsiteY315" fmla="*/ 1395117 h 6858889"/>
              <a:gd name="connsiteX316" fmla="*/ 3566955 w 9667345"/>
              <a:gd name="connsiteY316" fmla="*/ 1297 h 6858889"/>
              <a:gd name="connsiteX317" fmla="*/ 3423467 w 9667345"/>
              <a:gd name="connsiteY317" fmla="*/ 1297 h 6858889"/>
              <a:gd name="connsiteX318" fmla="*/ 3436865 w 9667345"/>
              <a:gd name="connsiteY318" fmla="*/ 1297 h 6858889"/>
              <a:gd name="connsiteX319" fmla="*/ 3246268 w 9667345"/>
              <a:gd name="connsiteY319" fmla="*/ 1434446 h 6858889"/>
              <a:gd name="connsiteX320" fmla="*/ 3135627 w 9667345"/>
              <a:gd name="connsiteY320" fmla="*/ 1775013 h 6858889"/>
              <a:gd name="connsiteX321" fmla="*/ 2921258 w 9667345"/>
              <a:gd name="connsiteY321" fmla="*/ 2563764 h 6858889"/>
              <a:gd name="connsiteX322" fmla="*/ 3005104 w 9667345"/>
              <a:gd name="connsiteY322" fmla="*/ 3637761 h 6858889"/>
              <a:gd name="connsiteX323" fmla="*/ 3788238 w 9667345"/>
              <a:gd name="connsiteY323" fmla="*/ 5238168 h 6858889"/>
              <a:gd name="connsiteX324" fmla="*/ 4112813 w 9667345"/>
              <a:gd name="connsiteY324" fmla="*/ 5554101 h 6858889"/>
              <a:gd name="connsiteX325" fmla="*/ 5575351 w 9667345"/>
              <a:gd name="connsiteY325" fmla="*/ 6435773 h 6858889"/>
              <a:gd name="connsiteX326" fmla="*/ 6020509 w 9667345"/>
              <a:gd name="connsiteY326" fmla="*/ 6627666 h 6858889"/>
              <a:gd name="connsiteX327" fmla="*/ 6644161 w 9667345"/>
              <a:gd name="connsiteY327" fmla="*/ 6857592 h 6858889"/>
              <a:gd name="connsiteX328" fmla="*/ 6615637 w 9667345"/>
              <a:gd name="connsiteY328" fmla="*/ 6857592 h 6858889"/>
              <a:gd name="connsiteX329" fmla="*/ 6014025 w 9667345"/>
              <a:gd name="connsiteY329" fmla="*/ 6635877 h 6858889"/>
              <a:gd name="connsiteX330" fmla="*/ 5565410 w 9667345"/>
              <a:gd name="connsiteY330" fmla="*/ 6443985 h 6858889"/>
              <a:gd name="connsiteX331" fmla="*/ 4102871 w 9667345"/>
              <a:gd name="connsiteY331" fmla="*/ 5557991 h 6858889"/>
              <a:gd name="connsiteX332" fmla="*/ 3774838 w 9667345"/>
              <a:gd name="connsiteY332" fmla="*/ 5242058 h 6858889"/>
              <a:gd name="connsiteX333" fmla="*/ 2991707 w 9667345"/>
              <a:gd name="connsiteY333" fmla="*/ 3639491 h 6858889"/>
              <a:gd name="connsiteX334" fmla="*/ 2907861 w 9667345"/>
              <a:gd name="connsiteY334" fmla="*/ 2563764 h 6858889"/>
              <a:gd name="connsiteX335" fmla="*/ 3122227 w 9667345"/>
              <a:gd name="connsiteY335" fmla="*/ 1775013 h 6858889"/>
              <a:gd name="connsiteX336" fmla="*/ 3232870 w 9667345"/>
              <a:gd name="connsiteY336" fmla="*/ 1432286 h 6858889"/>
              <a:gd name="connsiteX337" fmla="*/ 3423467 w 9667345"/>
              <a:gd name="connsiteY337" fmla="*/ 1297 h 6858889"/>
              <a:gd name="connsiteX338" fmla="*/ 3276521 w 9667345"/>
              <a:gd name="connsiteY338" fmla="*/ 1297 h 6858889"/>
              <a:gd name="connsiteX339" fmla="*/ 3293377 w 9667345"/>
              <a:gd name="connsiteY339" fmla="*/ 1297 h 6858889"/>
              <a:gd name="connsiteX340" fmla="*/ 3105805 w 9667345"/>
              <a:gd name="connsiteY340" fmla="*/ 1473776 h 6858889"/>
              <a:gd name="connsiteX341" fmla="*/ 2998622 w 9667345"/>
              <a:gd name="connsiteY341" fmla="*/ 1812614 h 6858889"/>
              <a:gd name="connsiteX342" fmla="*/ 2787713 w 9667345"/>
              <a:gd name="connsiteY342" fmla="*/ 2607848 h 6858889"/>
              <a:gd name="connsiteX343" fmla="*/ 2881497 w 9667345"/>
              <a:gd name="connsiteY343" fmla="*/ 3683573 h 6858889"/>
              <a:gd name="connsiteX344" fmla="*/ 3674571 w 9667345"/>
              <a:gd name="connsiteY344" fmla="*/ 5283981 h 6858889"/>
              <a:gd name="connsiteX345" fmla="*/ 4002604 w 9667345"/>
              <a:gd name="connsiteY345" fmla="*/ 5599913 h 6858889"/>
              <a:gd name="connsiteX346" fmla="*/ 5471625 w 9667345"/>
              <a:gd name="connsiteY346" fmla="*/ 6481585 h 6858889"/>
              <a:gd name="connsiteX347" fmla="*/ 5920240 w 9667345"/>
              <a:gd name="connsiteY347" fmla="*/ 6673478 h 6858889"/>
              <a:gd name="connsiteX348" fmla="*/ 6409913 w 9667345"/>
              <a:gd name="connsiteY348" fmla="*/ 6858024 h 6858889"/>
              <a:gd name="connsiteX349" fmla="*/ 6380956 w 9667345"/>
              <a:gd name="connsiteY349" fmla="*/ 6858024 h 6858889"/>
              <a:gd name="connsiteX350" fmla="*/ 5913757 w 9667345"/>
              <a:gd name="connsiteY350" fmla="*/ 6679961 h 6858889"/>
              <a:gd name="connsiteX351" fmla="*/ 5465142 w 9667345"/>
              <a:gd name="connsiteY351" fmla="*/ 6488068 h 6858889"/>
              <a:gd name="connsiteX352" fmla="*/ 3992663 w 9667345"/>
              <a:gd name="connsiteY352" fmla="*/ 5604236 h 6858889"/>
              <a:gd name="connsiteX353" fmla="*/ 3664629 w 9667345"/>
              <a:gd name="connsiteY353" fmla="*/ 5288303 h 6858889"/>
              <a:gd name="connsiteX354" fmla="*/ 2864642 w 9667345"/>
              <a:gd name="connsiteY354" fmla="*/ 3685734 h 6858889"/>
              <a:gd name="connsiteX355" fmla="*/ 2774314 w 9667345"/>
              <a:gd name="connsiteY355" fmla="*/ 2605687 h 6858889"/>
              <a:gd name="connsiteX356" fmla="*/ 2981766 w 9667345"/>
              <a:gd name="connsiteY356" fmla="*/ 1810454 h 6858889"/>
              <a:gd name="connsiteX357" fmla="*/ 3092408 w 9667345"/>
              <a:gd name="connsiteY357" fmla="*/ 1471615 h 6858889"/>
              <a:gd name="connsiteX358" fmla="*/ 3276521 w 9667345"/>
              <a:gd name="connsiteY358" fmla="*/ 1297 h 6858889"/>
              <a:gd name="connsiteX359" fmla="*/ 3132169 w 9667345"/>
              <a:gd name="connsiteY359" fmla="*/ 1297 h 6858889"/>
              <a:gd name="connsiteX360" fmla="*/ 3145566 w 9667345"/>
              <a:gd name="connsiteY360" fmla="*/ 1297 h 6858889"/>
              <a:gd name="connsiteX361" fmla="*/ 2964911 w 9667345"/>
              <a:gd name="connsiteY361" fmla="*/ 1513105 h 6858889"/>
              <a:gd name="connsiteX362" fmla="*/ 2857726 w 9667345"/>
              <a:gd name="connsiteY362" fmla="*/ 1845461 h 6858889"/>
              <a:gd name="connsiteX363" fmla="*/ 2653732 w 9667345"/>
              <a:gd name="connsiteY363" fmla="*/ 2651066 h 6858889"/>
              <a:gd name="connsiteX364" fmla="*/ 2754001 w 9667345"/>
              <a:gd name="connsiteY364" fmla="*/ 3728954 h 6858889"/>
              <a:gd name="connsiteX365" fmla="*/ 3563930 w 9667345"/>
              <a:gd name="connsiteY365" fmla="*/ 5329361 h 6858889"/>
              <a:gd name="connsiteX366" fmla="*/ 3895420 w 9667345"/>
              <a:gd name="connsiteY366" fmla="*/ 5643133 h 6858889"/>
              <a:gd name="connsiteX367" fmla="*/ 5371356 w 9667345"/>
              <a:gd name="connsiteY367" fmla="*/ 6524804 h 6858889"/>
              <a:gd name="connsiteX368" fmla="*/ 5819971 w 9667345"/>
              <a:gd name="connsiteY368" fmla="*/ 6718859 h 6858889"/>
              <a:gd name="connsiteX369" fmla="*/ 6183877 w 9667345"/>
              <a:gd name="connsiteY369" fmla="*/ 6858024 h 6858889"/>
              <a:gd name="connsiteX370" fmla="*/ 6156648 w 9667345"/>
              <a:gd name="connsiteY370" fmla="*/ 6858024 h 6858889"/>
              <a:gd name="connsiteX371" fmla="*/ 5813056 w 9667345"/>
              <a:gd name="connsiteY371" fmla="*/ 6725342 h 6858889"/>
              <a:gd name="connsiteX372" fmla="*/ 5364441 w 9667345"/>
              <a:gd name="connsiteY372" fmla="*/ 6531288 h 6858889"/>
              <a:gd name="connsiteX373" fmla="*/ 3882022 w 9667345"/>
              <a:gd name="connsiteY373" fmla="*/ 5649616 h 6858889"/>
              <a:gd name="connsiteX374" fmla="*/ 3550532 w 9667345"/>
              <a:gd name="connsiteY374" fmla="*/ 5333683 h 6858889"/>
              <a:gd name="connsiteX375" fmla="*/ 2740603 w 9667345"/>
              <a:gd name="connsiteY375" fmla="*/ 3728954 h 6858889"/>
              <a:gd name="connsiteX376" fmla="*/ 2640334 w 9667345"/>
              <a:gd name="connsiteY376" fmla="*/ 2648906 h 6858889"/>
              <a:gd name="connsiteX377" fmla="*/ 2844328 w 9667345"/>
              <a:gd name="connsiteY377" fmla="*/ 1845461 h 6858889"/>
              <a:gd name="connsiteX378" fmla="*/ 2948056 w 9667345"/>
              <a:gd name="connsiteY378" fmla="*/ 1510944 h 6858889"/>
              <a:gd name="connsiteX379" fmla="*/ 3132169 w 9667345"/>
              <a:gd name="connsiteY379" fmla="*/ 1297 h 6858889"/>
              <a:gd name="connsiteX380" fmla="*/ 1666605 w 9667345"/>
              <a:gd name="connsiteY380" fmla="*/ 1297 h 6858889"/>
              <a:gd name="connsiteX381" fmla="*/ 1680003 w 9667345"/>
              <a:gd name="connsiteY381" fmla="*/ 1297 h 6858889"/>
              <a:gd name="connsiteX382" fmla="*/ 1680003 w 9667345"/>
              <a:gd name="connsiteY382" fmla="*/ 19882 h 6858889"/>
              <a:gd name="connsiteX383" fmla="*/ 1549482 w 9667345"/>
              <a:gd name="connsiteY383" fmla="*/ 1899053 h 6858889"/>
              <a:gd name="connsiteX384" fmla="*/ 1482491 w 9667345"/>
              <a:gd name="connsiteY384" fmla="*/ 2186028 h 6858889"/>
              <a:gd name="connsiteX385" fmla="*/ 1321715 w 9667345"/>
              <a:gd name="connsiteY385" fmla="*/ 3078073 h 6858889"/>
              <a:gd name="connsiteX386" fmla="*/ 1495889 w 9667345"/>
              <a:gd name="connsiteY386" fmla="*/ 4176705 h 6858889"/>
              <a:gd name="connsiteX387" fmla="*/ 2439797 w 9667345"/>
              <a:gd name="connsiteY387" fmla="*/ 5785324 h 6858889"/>
              <a:gd name="connsiteX388" fmla="*/ 2801111 w 9667345"/>
              <a:gd name="connsiteY388" fmla="*/ 6095205 h 6858889"/>
              <a:gd name="connsiteX389" fmla="*/ 4120160 w 9667345"/>
              <a:gd name="connsiteY389" fmla="*/ 6858024 h 6858889"/>
              <a:gd name="connsiteX390" fmla="*/ 4095092 w 9667345"/>
              <a:gd name="connsiteY390" fmla="*/ 6858024 h 6858889"/>
              <a:gd name="connsiteX391" fmla="*/ 2790738 w 9667345"/>
              <a:gd name="connsiteY391" fmla="*/ 6101688 h 6858889"/>
              <a:gd name="connsiteX392" fmla="*/ 2425967 w 9667345"/>
              <a:gd name="connsiteY392" fmla="*/ 5789646 h 6858889"/>
              <a:gd name="connsiteX393" fmla="*/ 1479034 w 9667345"/>
              <a:gd name="connsiteY393" fmla="*/ 4178866 h 6858889"/>
              <a:gd name="connsiteX394" fmla="*/ 1308318 w 9667345"/>
              <a:gd name="connsiteY394" fmla="*/ 3078073 h 6858889"/>
              <a:gd name="connsiteX395" fmla="*/ 1469093 w 9667345"/>
              <a:gd name="connsiteY395" fmla="*/ 2183867 h 6858889"/>
              <a:gd name="connsiteX396" fmla="*/ 1536083 w 9667345"/>
              <a:gd name="connsiteY396" fmla="*/ 1899053 h 6858889"/>
              <a:gd name="connsiteX397" fmla="*/ 1666605 w 9667345"/>
              <a:gd name="connsiteY397" fmla="*/ 19882 h 6858889"/>
              <a:gd name="connsiteX398" fmla="*/ 1666605 w 9667345"/>
              <a:gd name="connsiteY398" fmla="*/ 1297 h 6858889"/>
              <a:gd name="connsiteX399" fmla="*/ 5716245 w 9667345"/>
              <a:gd name="connsiteY399" fmla="*/ 865 h 6858889"/>
              <a:gd name="connsiteX400" fmla="*/ 5729643 w 9667345"/>
              <a:gd name="connsiteY400" fmla="*/ 865 h 6858889"/>
              <a:gd name="connsiteX401" fmla="*/ 5508793 w 9667345"/>
              <a:gd name="connsiteY401" fmla="*/ 814683 h 6858889"/>
              <a:gd name="connsiteX402" fmla="*/ 5334619 w 9667345"/>
              <a:gd name="connsiteY402" fmla="*/ 1194580 h 6858889"/>
              <a:gd name="connsiteX403" fmla="*/ 5053695 w 9667345"/>
              <a:gd name="connsiteY403" fmla="*/ 1878739 h 6858889"/>
              <a:gd name="connsiteX404" fmla="*/ 5023441 w 9667345"/>
              <a:gd name="connsiteY404" fmla="*/ 2919458 h 6858889"/>
              <a:gd name="connsiteX405" fmla="*/ 5585723 w 9667345"/>
              <a:gd name="connsiteY405" fmla="*/ 4509493 h 6858889"/>
              <a:gd name="connsiteX406" fmla="*/ 7626966 w 9667345"/>
              <a:gd name="connsiteY406" fmla="*/ 5911524 h 6858889"/>
              <a:gd name="connsiteX407" fmla="*/ 9666913 w 9667345"/>
              <a:gd name="connsiteY407" fmla="*/ 6434908 h 6858889"/>
              <a:gd name="connsiteX408" fmla="*/ 9666913 w 9667345"/>
              <a:gd name="connsiteY408" fmla="*/ 6443985 h 6858889"/>
              <a:gd name="connsiteX409" fmla="*/ 7617025 w 9667345"/>
              <a:gd name="connsiteY409" fmla="*/ 5919736 h 6858889"/>
              <a:gd name="connsiteX410" fmla="*/ 6425472 w 9667345"/>
              <a:gd name="connsiteY410" fmla="*/ 5306455 h 6858889"/>
              <a:gd name="connsiteX411" fmla="*/ 5572325 w 9667345"/>
              <a:gd name="connsiteY411" fmla="*/ 4513383 h 6858889"/>
              <a:gd name="connsiteX412" fmla="*/ 5006586 w 9667345"/>
              <a:gd name="connsiteY412" fmla="*/ 2921188 h 6858889"/>
              <a:gd name="connsiteX413" fmla="*/ 5036839 w 9667345"/>
              <a:gd name="connsiteY413" fmla="*/ 1876146 h 6858889"/>
              <a:gd name="connsiteX414" fmla="*/ 5321221 w 9667345"/>
              <a:gd name="connsiteY414" fmla="*/ 1192419 h 6858889"/>
              <a:gd name="connsiteX415" fmla="*/ 5495395 w 9667345"/>
              <a:gd name="connsiteY415" fmla="*/ 812521 h 6858889"/>
              <a:gd name="connsiteX416" fmla="*/ 5716245 w 9667345"/>
              <a:gd name="connsiteY416" fmla="*/ 865 h 6858889"/>
              <a:gd name="connsiteX417" fmla="*/ 4726525 w 9667345"/>
              <a:gd name="connsiteY417" fmla="*/ 865 h 6858889"/>
              <a:gd name="connsiteX418" fmla="*/ 4739923 w 9667345"/>
              <a:gd name="connsiteY418" fmla="*/ 865 h 6858889"/>
              <a:gd name="connsiteX419" fmla="*/ 4519073 w 9667345"/>
              <a:gd name="connsiteY419" fmla="*/ 1085235 h 6858889"/>
              <a:gd name="connsiteX420" fmla="*/ 4371695 w 9667345"/>
              <a:gd name="connsiteY420" fmla="*/ 1453030 h 6858889"/>
              <a:gd name="connsiteX421" fmla="*/ 4120592 w 9667345"/>
              <a:gd name="connsiteY421" fmla="*/ 2177816 h 6858889"/>
              <a:gd name="connsiteX422" fmla="*/ 4140473 w 9667345"/>
              <a:gd name="connsiteY422" fmla="*/ 3234958 h 6858889"/>
              <a:gd name="connsiteX423" fmla="*/ 4799566 w 9667345"/>
              <a:gd name="connsiteY423" fmla="*/ 4827154 h 6858889"/>
              <a:gd name="connsiteX424" fmla="*/ 5097346 w 9667345"/>
              <a:gd name="connsiteY424" fmla="*/ 5145247 h 6858889"/>
              <a:gd name="connsiteX425" fmla="*/ 6485979 w 9667345"/>
              <a:gd name="connsiteY425" fmla="*/ 6037292 h 6858889"/>
              <a:gd name="connsiteX426" fmla="*/ 6924221 w 9667345"/>
              <a:gd name="connsiteY426" fmla="*/ 6225295 h 6858889"/>
              <a:gd name="connsiteX427" fmla="*/ 8222527 w 9667345"/>
              <a:gd name="connsiteY427" fmla="*/ 6631988 h 6858889"/>
              <a:gd name="connsiteX428" fmla="*/ 9362217 w 9667345"/>
              <a:gd name="connsiteY428" fmla="*/ 6858024 h 6858889"/>
              <a:gd name="connsiteX429" fmla="*/ 9306465 w 9667345"/>
              <a:gd name="connsiteY429" fmla="*/ 6858024 h 6858889"/>
              <a:gd name="connsiteX430" fmla="*/ 8216044 w 9667345"/>
              <a:gd name="connsiteY430" fmla="*/ 6640632 h 6858889"/>
              <a:gd name="connsiteX431" fmla="*/ 6917738 w 9667345"/>
              <a:gd name="connsiteY431" fmla="*/ 6233939 h 6858889"/>
              <a:gd name="connsiteX432" fmla="*/ 6479496 w 9667345"/>
              <a:gd name="connsiteY432" fmla="*/ 6045935 h 6858889"/>
              <a:gd name="connsiteX433" fmla="*/ 5083948 w 9667345"/>
              <a:gd name="connsiteY433" fmla="*/ 5151730 h 6858889"/>
              <a:gd name="connsiteX434" fmla="*/ 4786168 w 9667345"/>
              <a:gd name="connsiteY434" fmla="*/ 4831476 h 6858889"/>
              <a:gd name="connsiteX435" fmla="*/ 4127075 w 9667345"/>
              <a:gd name="connsiteY435" fmla="*/ 3234958 h 6858889"/>
              <a:gd name="connsiteX436" fmla="*/ 4107194 w 9667345"/>
              <a:gd name="connsiteY436" fmla="*/ 2177816 h 6858889"/>
              <a:gd name="connsiteX437" fmla="*/ 4358298 w 9667345"/>
              <a:gd name="connsiteY437" fmla="*/ 1450869 h 6858889"/>
              <a:gd name="connsiteX438" fmla="*/ 4505676 w 9667345"/>
              <a:gd name="connsiteY438" fmla="*/ 1083075 h 6858889"/>
              <a:gd name="connsiteX439" fmla="*/ 4726525 w 9667345"/>
              <a:gd name="connsiteY439" fmla="*/ 865 h 6858889"/>
              <a:gd name="connsiteX440" fmla="*/ 4581741 w 9667345"/>
              <a:gd name="connsiteY440" fmla="*/ 865 h 6858889"/>
              <a:gd name="connsiteX441" fmla="*/ 4595139 w 9667345"/>
              <a:gd name="connsiteY441" fmla="*/ 865 h 6858889"/>
              <a:gd name="connsiteX442" fmla="*/ 4377746 w 9667345"/>
              <a:gd name="connsiteY442" fmla="*/ 1124132 h 6858889"/>
              <a:gd name="connsiteX443" fmla="*/ 4233826 w 9667345"/>
              <a:gd name="connsiteY443" fmla="*/ 1489767 h 6858889"/>
              <a:gd name="connsiteX444" fmla="*/ 3986180 w 9667345"/>
              <a:gd name="connsiteY444" fmla="*/ 2221036 h 6858889"/>
              <a:gd name="connsiteX445" fmla="*/ 4012976 w 9667345"/>
              <a:gd name="connsiteY445" fmla="*/ 3278178 h 6858889"/>
              <a:gd name="connsiteX446" fmla="*/ 4685467 w 9667345"/>
              <a:gd name="connsiteY446" fmla="*/ 4872534 h 6858889"/>
              <a:gd name="connsiteX447" fmla="*/ 4986705 w 9667345"/>
              <a:gd name="connsiteY447" fmla="*/ 5190628 h 6858889"/>
              <a:gd name="connsiteX448" fmla="*/ 6385711 w 9667345"/>
              <a:gd name="connsiteY448" fmla="*/ 6082672 h 6858889"/>
              <a:gd name="connsiteX449" fmla="*/ 6823953 w 9667345"/>
              <a:gd name="connsiteY449" fmla="*/ 6270675 h 6858889"/>
              <a:gd name="connsiteX450" fmla="*/ 8122259 w 9667345"/>
              <a:gd name="connsiteY450" fmla="*/ 6681690 h 6858889"/>
              <a:gd name="connsiteX451" fmla="*/ 8951634 w 9667345"/>
              <a:gd name="connsiteY451" fmla="*/ 6858456 h 6858889"/>
              <a:gd name="connsiteX452" fmla="*/ 8900205 w 9667345"/>
              <a:gd name="connsiteY452" fmla="*/ 6858456 h 6858889"/>
              <a:gd name="connsiteX453" fmla="*/ 8115776 w 9667345"/>
              <a:gd name="connsiteY453" fmla="*/ 6690766 h 6858889"/>
              <a:gd name="connsiteX454" fmla="*/ 6817470 w 9667345"/>
              <a:gd name="connsiteY454" fmla="*/ 6277591 h 6858889"/>
              <a:gd name="connsiteX455" fmla="*/ 6375770 w 9667345"/>
              <a:gd name="connsiteY455" fmla="*/ 6089588 h 6858889"/>
              <a:gd name="connsiteX456" fmla="*/ 4976765 w 9667345"/>
              <a:gd name="connsiteY456" fmla="*/ 5197543 h 6858889"/>
              <a:gd name="connsiteX457" fmla="*/ 4675527 w 9667345"/>
              <a:gd name="connsiteY457" fmla="*/ 4877289 h 6858889"/>
              <a:gd name="connsiteX458" fmla="*/ 3999578 w 9667345"/>
              <a:gd name="connsiteY458" fmla="*/ 3280771 h 6858889"/>
              <a:gd name="connsiteX459" fmla="*/ 3972783 w 9667345"/>
              <a:gd name="connsiteY459" fmla="*/ 2219307 h 6858889"/>
              <a:gd name="connsiteX460" fmla="*/ 4220429 w 9667345"/>
              <a:gd name="connsiteY460" fmla="*/ 1488038 h 6858889"/>
              <a:gd name="connsiteX461" fmla="*/ 4364348 w 9667345"/>
              <a:gd name="connsiteY461" fmla="*/ 1122404 h 6858889"/>
              <a:gd name="connsiteX462" fmla="*/ 4581741 w 9667345"/>
              <a:gd name="connsiteY462" fmla="*/ 865 h 6858889"/>
              <a:gd name="connsiteX463" fmla="*/ 4293901 w 9667345"/>
              <a:gd name="connsiteY463" fmla="*/ 865 h 6858889"/>
              <a:gd name="connsiteX464" fmla="*/ 4307299 w 9667345"/>
              <a:gd name="connsiteY464" fmla="*/ 865 h 6858889"/>
              <a:gd name="connsiteX465" fmla="*/ 4096389 w 9667345"/>
              <a:gd name="connsiteY465" fmla="*/ 1202791 h 6858889"/>
              <a:gd name="connsiteX466" fmla="*/ 3959384 w 9667345"/>
              <a:gd name="connsiteY466" fmla="*/ 1561942 h 6858889"/>
              <a:gd name="connsiteX467" fmla="*/ 3721679 w 9667345"/>
              <a:gd name="connsiteY467" fmla="*/ 2305314 h 6858889"/>
              <a:gd name="connsiteX468" fmla="*/ 3761872 w 9667345"/>
              <a:gd name="connsiteY468" fmla="*/ 3368937 h 6858889"/>
              <a:gd name="connsiteX469" fmla="*/ 4461159 w 9667345"/>
              <a:gd name="connsiteY469" fmla="*/ 4965455 h 6858889"/>
              <a:gd name="connsiteX470" fmla="*/ 4768880 w 9667345"/>
              <a:gd name="connsiteY470" fmla="*/ 5281388 h 6858889"/>
              <a:gd name="connsiteX471" fmla="*/ 6181283 w 9667345"/>
              <a:gd name="connsiteY471" fmla="*/ 6171271 h 6858889"/>
              <a:gd name="connsiteX472" fmla="*/ 6622984 w 9667345"/>
              <a:gd name="connsiteY472" fmla="*/ 6359275 h 6858889"/>
              <a:gd name="connsiteX473" fmla="*/ 7921289 w 9667345"/>
              <a:gd name="connsiteY473" fmla="*/ 6776340 h 6858889"/>
              <a:gd name="connsiteX474" fmla="*/ 8257533 w 9667345"/>
              <a:gd name="connsiteY474" fmla="*/ 6857592 h 6858889"/>
              <a:gd name="connsiteX475" fmla="*/ 8219501 w 9667345"/>
              <a:gd name="connsiteY475" fmla="*/ 6857592 h 6858889"/>
              <a:gd name="connsiteX476" fmla="*/ 7917399 w 9667345"/>
              <a:gd name="connsiteY476" fmla="*/ 6784552 h 6858889"/>
              <a:gd name="connsiteX477" fmla="*/ 6615637 w 9667345"/>
              <a:gd name="connsiteY477" fmla="*/ 6367487 h 6858889"/>
              <a:gd name="connsiteX478" fmla="*/ 6173937 w 9667345"/>
              <a:gd name="connsiteY478" fmla="*/ 6177322 h 6858889"/>
              <a:gd name="connsiteX479" fmla="*/ 4755050 w 9667345"/>
              <a:gd name="connsiteY479" fmla="*/ 5287439 h 6858889"/>
              <a:gd name="connsiteX480" fmla="*/ 4447329 w 9667345"/>
              <a:gd name="connsiteY480" fmla="*/ 4967184 h 6858889"/>
              <a:gd name="connsiteX481" fmla="*/ 3748043 w 9667345"/>
              <a:gd name="connsiteY481" fmla="*/ 3368937 h 6858889"/>
              <a:gd name="connsiteX482" fmla="*/ 3704392 w 9667345"/>
              <a:gd name="connsiteY482" fmla="*/ 2305314 h 6858889"/>
              <a:gd name="connsiteX483" fmla="*/ 3945554 w 9667345"/>
              <a:gd name="connsiteY483" fmla="*/ 1559782 h 6858889"/>
              <a:gd name="connsiteX484" fmla="*/ 4079533 w 9667345"/>
              <a:gd name="connsiteY484" fmla="*/ 1200631 h 6858889"/>
              <a:gd name="connsiteX485" fmla="*/ 4293901 w 9667345"/>
              <a:gd name="connsiteY485" fmla="*/ 865 h 6858889"/>
              <a:gd name="connsiteX486" fmla="*/ 3858684 w 9667345"/>
              <a:gd name="connsiteY486" fmla="*/ 865 h 6858889"/>
              <a:gd name="connsiteX487" fmla="*/ 3872082 w 9667345"/>
              <a:gd name="connsiteY487" fmla="*/ 865 h 6858889"/>
              <a:gd name="connsiteX488" fmla="*/ 3671113 w 9667345"/>
              <a:gd name="connsiteY488" fmla="*/ 1318619 h 6858889"/>
              <a:gd name="connsiteX489" fmla="*/ 3547506 w 9667345"/>
              <a:gd name="connsiteY489" fmla="*/ 1669558 h 6858889"/>
              <a:gd name="connsiteX490" fmla="*/ 3319740 w 9667345"/>
              <a:gd name="connsiteY490" fmla="*/ 2435835 h 6858889"/>
              <a:gd name="connsiteX491" fmla="*/ 3383272 w 9667345"/>
              <a:gd name="connsiteY491" fmla="*/ 3503350 h 6858889"/>
              <a:gd name="connsiteX492" fmla="*/ 4126211 w 9667345"/>
              <a:gd name="connsiteY492" fmla="*/ 5101596 h 6858889"/>
              <a:gd name="connsiteX493" fmla="*/ 4440846 w 9667345"/>
              <a:gd name="connsiteY493" fmla="*/ 5417529 h 6858889"/>
              <a:gd name="connsiteX494" fmla="*/ 5876588 w 9667345"/>
              <a:gd name="connsiteY494" fmla="*/ 6303522 h 6858889"/>
              <a:gd name="connsiteX495" fmla="*/ 6321746 w 9667345"/>
              <a:gd name="connsiteY495" fmla="*/ 6493687 h 6858889"/>
              <a:gd name="connsiteX496" fmla="*/ 7390557 w 9667345"/>
              <a:gd name="connsiteY496" fmla="*/ 6857592 h 6858889"/>
              <a:gd name="connsiteX497" fmla="*/ 7359439 w 9667345"/>
              <a:gd name="connsiteY497" fmla="*/ 6857592 h 6858889"/>
              <a:gd name="connsiteX498" fmla="*/ 6314831 w 9667345"/>
              <a:gd name="connsiteY498" fmla="*/ 6501898 h 6858889"/>
              <a:gd name="connsiteX499" fmla="*/ 5869673 w 9667345"/>
              <a:gd name="connsiteY499" fmla="*/ 6310005 h 6858889"/>
              <a:gd name="connsiteX500" fmla="*/ 4427449 w 9667345"/>
              <a:gd name="connsiteY500" fmla="*/ 5421850 h 6858889"/>
              <a:gd name="connsiteX501" fmla="*/ 4112813 w 9667345"/>
              <a:gd name="connsiteY501" fmla="*/ 5105917 h 6858889"/>
              <a:gd name="connsiteX502" fmla="*/ 3369875 w 9667345"/>
              <a:gd name="connsiteY502" fmla="*/ 3505511 h 6858889"/>
              <a:gd name="connsiteX503" fmla="*/ 3306342 w 9667345"/>
              <a:gd name="connsiteY503" fmla="*/ 2433674 h 6858889"/>
              <a:gd name="connsiteX504" fmla="*/ 3534108 w 9667345"/>
              <a:gd name="connsiteY504" fmla="*/ 1667398 h 6858889"/>
              <a:gd name="connsiteX505" fmla="*/ 3657715 w 9667345"/>
              <a:gd name="connsiteY505" fmla="*/ 1316458 h 6858889"/>
              <a:gd name="connsiteX506" fmla="*/ 3858684 w 9667345"/>
              <a:gd name="connsiteY506" fmla="*/ 865 h 6858889"/>
              <a:gd name="connsiteX507" fmla="*/ 2985225 w 9667345"/>
              <a:gd name="connsiteY507" fmla="*/ 865 h 6858889"/>
              <a:gd name="connsiteX508" fmla="*/ 2998622 w 9667345"/>
              <a:gd name="connsiteY508" fmla="*/ 865 h 6858889"/>
              <a:gd name="connsiteX509" fmla="*/ 2821423 w 9667345"/>
              <a:gd name="connsiteY509" fmla="*/ 1551570 h 6858889"/>
              <a:gd name="connsiteX510" fmla="*/ 2721154 w 9667345"/>
              <a:gd name="connsiteY510" fmla="*/ 1880037 h 6858889"/>
              <a:gd name="connsiteX511" fmla="*/ 2520184 w 9667345"/>
              <a:gd name="connsiteY511" fmla="*/ 2691693 h 6858889"/>
              <a:gd name="connsiteX512" fmla="*/ 2627369 w 9667345"/>
              <a:gd name="connsiteY512" fmla="*/ 3771741 h 6858889"/>
              <a:gd name="connsiteX513" fmla="*/ 3450694 w 9667345"/>
              <a:gd name="connsiteY513" fmla="*/ 5374309 h 6858889"/>
              <a:gd name="connsiteX514" fmla="*/ 3785211 w 9667345"/>
              <a:gd name="connsiteY514" fmla="*/ 5688081 h 6858889"/>
              <a:gd name="connsiteX515" fmla="*/ 5271088 w 9667345"/>
              <a:gd name="connsiteY515" fmla="*/ 6568024 h 6858889"/>
              <a:gd name="connsiteX516" fmla="*/ 5722728 w 9667345"/>
              <a:gd name="connsiteY516" fmla="*/ 6762078 h 6858889"/>
              <a:gd name="connsiteX517" fmla="*/ 5963890 w 9667345"/>
              <a:gd name="connsiteY517" fmla="*/ 6858024 h 6858889"/>
              <a:gd name="connsiteX518" fmla="*/ 5935798 w 9667345"/>
              <a:gd name="connsiteY518" fmla="*/ 6858024 h 6858889"/>
              <a:gd name="connsiteX519" fmla="*/ 5712788 w 9667345"/>
              <a:gd name="connsiteY519" fmla="*/ 6770722 h 6858889"/>
              <a:gd name="connsiteX520" fmla="*/ 5261147 w 9667345"/>
              <a:gd name="connsiteY520" fmla="*/ 6576668 h 6858889"/>
              <a:gd name="connsiteX521" fmla="*/ 3775272 w 9667345"/>
              <a:gd name="connsiteY521" fmla="*/ 5694996 h 6858889"/>
              <a:gd name="connsiteX522" fmla="*/ 3437296 w 9667345"/>
              <a:gd name="connsiteY522" fmla="*/ 5379064 h 6858889"/>
              <a:gd name="connsiteX523" fmla="*/ 2613972 w 9667345"/>
              <a:gd name="connsiteY523" fmla="*/ 3774334 h 6858889"/>
              <a:gd name="connsiteX524" fmla="*/ 2506787 w 9667345"/>
              <a:gd name="connsiteY524" fmla="*/ 2692125 h 6858889"/>
              <a:gd name="connsiteX525" fmla="*/ 2707756 w 9667345"/>
              <a:gd name="connsiteY525" fmla="*/ 1878307 h 6858889"/>
              <a:gd name="connsiteX526" fmla="*/ 2808025 w 9667345"/>
              <a:gd name="connsiteY526" fmla="*/ 1549842 h 6858889"/>
              <a:gd name="connsiteX527" fmla="*/ 2985225 w 9667345"/>
              <a:gd name="connsiteY527" fmla="*/ 865 h 6858889"/>
              <a:gd name="connsiteX528" fmla="*/ 2838710 w 9667345"/>
              <a:gd name="connsiteY528" fmla="*/ 865 h 6858889"/>
              <a:gd name="connsiteX529" fmla="*/ 2855567 w 9667345"/>
              <a:gd name="connsiteY529" fmla="*/ 865 h 6858889"/>
              <a:gd name="connsiteX530" fmla="*/ 2681392 w 9667345"/>
              <a:gd name="connsiteY530" fmla="*/ 1588739 h 6858889"/>
              <a:gd name="connsiteX531" fmla="*/ 2584149 w 9667345"/>
              <a:gd name="connsiteY531" fmla="*/ 1915044 h 6858889"/>
              <a:gd name="connsiteX532" fmla="*/ 2390096 w 9667345"/>
              <a:gd name="connsiteY532" fmla="*/ 2734912 h 6858889"/>
              <a:gd name="connsiteX533" fmla="*/ 2503762 w 9667345"/>
              <a:gd name="connsiteY533" fmla="*/ 3817122 h 6858889"/>
              <a:gd name="connsiteX534" fmla="*/ 3340485 w 9667345"/>
              <a:gd name="connsiteY534" fmla="*/ 5419690 h 6858889"/>
              <a:gd name="connsiteX535" fmla="*/ 3675002 w 9667345"/>
              <a:gd name="connsiteY535" fmla="*/ 5733461 h 6858889"/>
              <a:gd name="connsiteX536" fmla="*/ 5170819 w 9667345"/>
              <a:gd name="connsiteY536" fmla="*/ 6613403 h 6858889"/>
              <a:gd name="connsiteX537" fmla="*/ 5622459 w 9667345"/>
              <a:gd name="connsiteY537" fmla="*/ 6807459 h 6858889"/>
              <a:gd name="connsiteX538" fmla="*/ 5747363 w 9667345"/>
              <a:gd name="connsiteY538" fmla="*/ 6858024 h 6858889"/>
              <a:gd name="connsiteX539" fmla="*/ 5722728 w 9667345"/>
              <a:gd name="connsiteY539" fmla="*/ 6858024 h 6858889"/>
              <a:gd name="connsiteX540" fmla="*/ 5612519 w 9667345"/>
              <a:gd name="connsiteY540" fmla="*/ 6813941 h 6858889"/>
              <a:gd name="connsiteX541" fmla="*/ 5160879 w 9667345"/>
              <a:gd name="connsiteY541" fmla="*/ 6619886 h 6858889"/>
              <a:gd name="connsiteX542" fmla="*/ 3665063 w 9667345"/>
              <a:gd name="connsiteY542" fmla="*/ 5739943 h 6858889"/>
              <a:gd name="connsiteX543" fmla="*/ 3327087 w 9667345"/>
              <a:gd name="connsiteY543" fmla="*/ 5424011 h 6858889"/>
              <a:gd name="connsiteX544" fmla="*/ 2490364 w 9667345"/>
              <a:gd name="connsiteY544" fmla="*/ 3819282 h 6858889"/>
              <a:gd name="connsiteX545" fmla="*/ 2373240 w 9667345"/>
              <a:gd name="connsiteY545" fmla="*/ 2734912 h 6858889"/>
              <a:gd name="connsiteX546" fmla="*/ 2570751 w 9667345"/>
              <a:gd name="connsiteY546" fmla="*/ 1912883 h 6858889"/>
              <a:gd name="connsiteX547" fmla="*/ 2667995 w 9667345"/>
              <a:gd name="connsiteY547" fmla="*/ 1588739 h 6858889"/>
              <a:gd name="connsiteX548" fmla="*/ 2838710 w 9667345"/>
              <a:gd name="connsiteY548" fmla="*/ 865 h 6858889"/>
              <a:gd name="connsiteX549" fmla="*/ 2693495 w 9667345"/>
              <a:gd name="connsiteY549" fmla="*/ 865 h 6858889"/>
              <a:gd name="connsiteX550" fmla="*/ 2706893 w 9667345"/>
              <a:gd name="connsiteY550" fmla="*/ 865 h 6858889"/>
              <a:gd name="connsiteX551" fmla="*/ 2539633 w 9667345"/>
              <a:gd name="connsiteY551" fmla="*/ 1628068 h 6858889"/>
              <a:gd name="connsiteX552" fmla="*/ 2445847 w 9667345"/>
              <a:gd name="connsiteY552" fmla="*/ 1950052 h 6858889"/>
              <a:gd name="connsiteX553" fmla="*/ 2255252 w 9667345"/>
              <a:gd name="connsiteY553" fmla="*/ 2778131 h 6858889"/>
              <a:gd name="connsiteX554" fmla="*/ 2375833 w 9667345"/>
              <a:gd name="connsiteY554" fmla="*/ 3862501 h 6858889"/>
              <a:gd name="connsiteX555" fmla="*/ 3225955 w 9667345"/>
              <a:gd name="connsiteY555" fmla="*/ 5465070 h 6858889"/>
              <a:gd name="connsiteX556" fmla="*/ 3567387 w 9667345"/>
              <a:gd name="connsiteY556" fmla="*/ 5778841 h 6858889"/>
              <a:gd name="connsiteX557" fmla="*/ 5066660 w 9667345"/>
              <a:gd name="connsiteY557" fmla="*/ 6656623 h 6858889"/>
              <a:gd name="connsiteX558" fmla="*/ 5521759 w 9667345"/>
              <a:gd name="connsiteY558" fmla="*/ 6852838 h 6858889"/>
              <a:gd name="connsiteX559" fmla="*/ 5533428 w 9667345"/>
              <a:gd name="connsiteY559" fmla="*/ 6857592 h 6858889"/>
              <a:gd name="connsiteX560" fmla="*/ 5507928 w 9667345"/>
              <a:gd name="connsiteY560" fmla="*/ 6857592 h 6858889"/>
              <a:gd name="connsiteX561" fmla="*/ 5059745 w 9667345"/>
              <a:gd name="connsiteY561" fmla="*/ 6664835 h 6858889"/>
              <a:gd name="connsiteX562" fmla="*/ 3553989 w 9667345"/>
              <a:gd name="connsiteY562" fmla="*/ 5784892 h 6858889"/>
              <a:gd name="connsiteX563" fmla="*/ 3212557 w 9667345"/>
              <a:gd name="connsiteY563" fmla="*/ 5468959 h 6858889"/>
              <a:gd name="connsiteX564" fmla="*/ 2362435 w 9667345"/>
              <a:gd name="connsiteY564" fmla="*/ 3862501 h 6858889"/>
              <a:gd name="connsiteX565" fmla="*/ 2241852 w 9667345"/>
              <a:gd name="connsiteY565" fmla="*/ 2778131 h 6858889"/>
              <a:gd name="connsiteX566" fmla="*/ 2432449 w 9667345"/>
              <a:gd name="connsiteY566" fmla="*/ 1947890 h 6858889"/>
              <a:gd name="connsiteX567" fmla="*/ 2526235 w 9667345"/>
              <a:gd name="connsiteY567" fmla="*/ 1625908 h 6858889"/>
              <a:gd name="connsiteX568" fmla="*/ 2693495 w 9667345"/>
              <a:gd name="connsiteY568" fmla="*/ 865 h 6858889"/>
              <a:gd name="connsiteX569" fmla="*/ 2546980 w 9667345"/>
              <a:gd name="connsiteY569" fmla="*/ 865 h 6858889"/>
              <a:gd name="connsiteX570" fmla="*/ 2560380 w 9667345"/>
              <a:gd name="connsiteY570" fmla="*/ 865 h 6858889"/>
              <a:gd name="connsiteX571" fmla="*/ 2399604 w 9667345"/>
              <a:gd name="connsiteY571" fmla="*/ 1667398 h 6858889"/>
              <a:gd name="connsiteX572" fmla="*/ 2309276 w 9667345"/>
              <a:gd name="connsiteY572" fmla="*/ 1983330 h 6858889"/>
              <a:gd name="connsiteX573" fmla="*/ 2121704 w 9667345"/>
              <a:gd name="connsiteY573" fmla="*/ 2821783 h 6858889"/>
              <a:gd name="connsiteX574" fmla="*/ 2248768 w 9667345"/>
              <a:gd name="connsiteY574" fmla="*/ 3907881 h 6858889"/>
              <a:gd name="connsiteX575" fmla="*/ 3112289 w 9667345"/>
              <a:gd name="connsiteY575" fmla="*/ 5510450 h 6858889"/>
              <a:gd name="connsiteX576" fmla="*/ 3457178 w 9667345"/>
              <a:gd name="connsiteY576" fmla="*/ 5824221 h 6858889"/>
              <a:gd name="connsiteX577" fmla="*/ 4966392 w 9667345"/>
              <a:gd name="connsiteY577" fmla="*/ 6702003 h 6858889"/>
              <a:gd name="connsiteX578" fmla="*/ 5328136 w 9667345"/>
              <a:gd name="connsiteY578" fmla="*/ 6857160 h 6858889"/>
              <a:gd name="connsiteX579" fmla="*/ 5299612 w 9667345"/>
              <a:gd name="connsiteY579" fmla="*/ 6857160 h 6858889"/>
              <a:gd name="connsiteX580" fmla="*/ 4959910 w 9667345"/>
              <a:gd name="connsiteY580" fmla="*/ 6708054 h 6858889"/>
              <a:gd name="connsiteX581" fmla="*/ 3447237 w 9667345"/>
              <a:gd name="connsiteY581" fmla="*/ 5830272 h 6858889"/>
              <a:gd name="connsiteX582" fmla="*/ 3102348 w 9667345"/>
              <a:gd name="connsiteY582" fmla="*/ 5514339 h 6858889"/>
              <a:gd name="connsiteX583" fmla="*/ 2235803 w 9667345"/>
              <a:gd name="connsiteY583" fmla="*/ 3907881 h 6858889"/>
              <a:gd name="connsiteX584" fmla="*/ 2108737 w 9667345"/>
              <a:gd name="connsiteY584" fmla="*/ 2819622 h 6858889"/>
              <a:gd name="connsiteX585" fmla="*/ 2296308 w 9667345"/>
              <a:gd name="connsiteY585" fmla="*/ 1983330 h 6858889"/>
              <a:gd name="connsiteX586" fmla="*/ 2383181 w 9667345"/>
              <a:gd name="connsiteY586" fmla="*/ 1665237 h 6858889"/>
              <a:gd name="connsiteX587" fmla="*/ 2546980 w 9667345"/>
              <a:gd name="connsiteY587" fmla="*/ 865 h 6858889"/>
              <a:gd name="connsiteX588" fmla="*/ 2400036 w 9667345"/>
              <a:gd name="connsiteY588" fmla="*/ 865 h 6858889"/>
              <a:gd name="connsiteX589" fmla="*/ 2413434 w 9667345"/>
              <a:gd name="connsiteY589" fmla="*/ 865 h 6858889"/>
              <a:gd name="connsiteX590" fmla="*/ 2256115 w 9667345"/>
              <a:gd name="connsiteY590" fmla="*/ 1706727 h 6858889"/>
              <a:gd name="connsiteX591" fmla="*/ 2172271 w 9667345"/>
              <a:gd name="connsiteY591" fmla="*/ 2018770 h 6858889"/>
              <a:gd name="connsiteX592" fmla="*/ 1988157 w 9667345"/>
              <a:gd name="connsiteY592" fmla="*/ 2863273 h 6858889"/>
              <a:gd name="connsiteX593" fmla="*/ 2125161 w 9667345"/>
              <a:gd name="connsiteY593" fmla="*/ 3951533 h 6858889"/>
              <a:gd name="connsiteX594" fmla="*/ 3002080 w 9667345"/>
              <a:gd name="connsiteY594" fmla="*/ 5556263 h 6858889"/>
              <a:gd name="connsiteX595" fmla="*/ 3346969 w 9667345"/>
              <a:gd name="connsiteY595" fmla="*/ 5870033 h 6858889"/>
              <a:gd name="connsiteX596" fmla="*/ 4866123 w 9667345"/>
              <a:gd name="connsiteY596" fmla="*/ 6745655 h 6858889"/>
              <a:gd name="connsiteX597" fmla="*/ 5120684 w 9667345"/>
              <a:gd name="connsiteY597" fmla="*/ 6857592 h 6858889"/>
              <a:gd name="connsiteX598" fmla="*/ 5091296 w 9667345"/>
              <a:gd name="connsiteY598" fmla="*/ 6857592 h 6858889"/>
              <a:gd name="connsiteX599" fmla="*/ 4855751 w 9667345"/>
              <a:gd name="connsiteY599" fmla="*/ 6753867 h 6858889"/>
              <a:gd name="connsiteX600" fmla="*/ 3336595 w 9667345"/>
              <a:gd name="connsiteY600" fmla="*/ 5876084 h 6858889"/>
              <a:gd name="connsiteX601" fmla="*/ 2988682 w 9667345"/>
              <a:gd name="connsiteY601" fmla="*/ 5562313 h 6858889"/>
              <a:gd name="connsiteX602" fmla="*/ 2111764 w 9667345"/>
              <a:gd name="connsiteY602" fmla="*/ 3953694 h 6858889"/>
              <a:gd name="connsiteX603" fmla="*/ 1974759 w 9667345"/>
              <a:gd name="connsiteY603" fmla="*/ 2863273 h 6858889"/>
              <a:gd name="connsiteX604" fmla="*/ 2158874 w 9667345"/>
              <a:gd name="connsiteY604" fmla="*/ 2016609 h 6858889"/>
              <a:gd name="connsiteX605" fmla="*/ 2242718 w 9667345"/>
              <a:gd name="connsiteY605" fmla="*/ 1704566 h 6858889"/>
              <a:gd name="connsiteX606" fmla="*/ 2400036 w 9667345"/>
              <a:gd name="connsiteY606" fmla="*/ 865 h 6858889"/>
              <a:gd name="connsiteX607" fmla="*/ 2252226 w 9667345"/>
              <a:gd name="connsiteY607" fmla="*/ 865 h 6858889"/>
              <a:gd name="connsiteX608" fmla="*/ 2265624 w 9667345"/>
              <a:gd name="connsiteY608" fmla="*/ 865 h 6858889"/>
              <a:gd name="connsiteX609" fmla="*/ 2115221 w 9667345"/>
              <a:gd name="connsiteY609" fmla="*/ 1743896 h 6858889"/>
              <a:gd name="connsiteX610" fmla="*/ 2034834 w 9667345"/>
              <a:gd name="connsiteY610" fmla="*/ 2051617 h 6858889"/>
              <a:gd name="connsiteX611" fmla="*/ 1854176 w 9667345"/>
              <a:gd name="connsiteY611" fmla="*/ 2906493 h 6858889"/>
              <a:gd name="connsiteX612" fmla="*/ 1998098 w 9667345"/>
              <a:gd name="connsiteY612" fmla="*/ 3996913 h 6858889"/>
              <a:gd name="connsiteX613" fmla="*/ 2888413 w 9667345"/>
              <a:gd name="connsiteY613" fmla="*/ 5601642 h 6858889"/>
              <a:gd name="connsiteX614" fmla="*/ 3239786 w 9667345"/>
              <a:gd name="connsiteY614" fmla="*/ 5915414 h 6858889"/>
              <a:gd name="connsiteX615" fmla="*/ 4765854 w 9667345"/>
              <a:gd name="connsiteY615" fmla="*/ 6791034 h 6858889"/>
              <a:gd name="connsiteX616" fmla="*/ 4915393 w 9667345"/>
              <a:gd name="connsiteY616" fmla="*/ 6858024 h 6858889"/>
              <a:gd name="connsiteX617" fmla="*/ 4892055 w 9667345"/>
              <a:gd name="connsiteY617" fmla="*/ 6858024 h 6858889"/>
              <a:gd name="connsiteX618" fmla="*/ 4755482 w 9667345"/>
              <a:gd name="connsiteY618" fmla="*/ 6797517 h 6858889"/>
              <a:gd name="connsiteX619" fmla="*/ 3225955 w 9667345"/>
              <a:gd name="connsiteY619" fmla="*/ 5919736 h 6858889"/>
              <a:gd name="connsiteX620" fmla="*/ 2878041 w 9667345"/>
              <a:gd name="connsiteY620" fmla="*/ 5607693 h 6858889"/>
              <a:gd name="connsiteX621" fmla="*/ 1984699 w 9667345"/>
              <a:gd name="connsiteY621" fmla="*/ 3999074 h 6858889"/>
              <a:gd name="connsiteX622" fmla="*/ 1840778 w 9667345"/>
              <a:gd name="connsiteY622" fmla="*/ 2906493 h 6858889"/>
              <a:gd name="connsiteX623" fmla="*/ 2017978 w 9667345"/>
              <a:gd name="connsiteY623" fmla="*/ 2051617 h 6858889"/>
              <a:gd name="connsiteX624" fmla="*/ 2101823 w 9667345"/>
              <a:gd name="connsiteY624" fmla="*/ 1743896 h 6858889"/>
              <a:gd name="connsiteX625" fmla="*/ 2252226 w 9667345"/>
              <a:gd name="connsiteY625" fmla="*/ 865 h 6858889"/>
              <a:gd name="connsiteX626" fmla="*/ 2105282 w 9667345"/>
              <a:gd name="connsiteY626" fmla="*/ 865 h 6858889"/>
              <a:gd name="connsiteX627" fmla="*/ 2122137 w 9667345"/>
              <a:gd name="connsiteY627" fmla="*/ 865 h 6858889"/>
              <a:gd name="connsiteX628" fmla="*/ 1974759 w 9667345"/>
              <a:gd name="connsiteY628" fmla="*/ 1783225 h 6858889"/>
              <a:gd name="connsiteX629" fmla="*/ 1894371 w 9667345"/>
              <a:gd name="connsiteY629" fmla="*/ 2086624 h 6858889"/>
              <a:gd name="connsiteX630" fmla="*/ 1723655 w 9667345"/>
              <a:gd name="connsiteY630" fmla="*/ 2949711 h 6858889"/>
              <a:gd name="connsiteX631" fmla="*/ 1874058 w 9667345"/>
              <a:gd name="connsiteY631" fmla="*/ 4042292 h 6858889"/>
              <a:gd name="connsiteX632" fmla="*/ 2777772 w 9667345"/>
              <a:gd name="connsiteY632" fmla="*/ 5648752 h 6858889"/>
              <a:gd name="connsiteX633" fmla="*/ 3129144 w 9667345"/>
              <a:gd name="connsiteY633" fmla="*/ 5960794 h 6858889"/>
              <a:gd name="connsiteX634" fmla="*/ 4661697 w 9667345"/>
              <a:gd name="connsiteY634" fmla="*/ 6834254 h 6858889"/>
              <a:gd name="connsiteX635" fmla="*/ 4712694 w 9667345"/>
              <a:gd name="connsiteY635" fmla="*/ 6858024 h 6858889"/>
              <a:gd name="connsiteX636" fmla="*/ 4691518 w 9667345"/>
              <a:gd name="connsiteY636" fmla="*/ 6858024 h 6858889"/>
              <a:gd name="connsiteX637" fmla="*/ 4654782 w 9667345"/>
              <a:gd name="connsiteY637" fmla="*/ 6840737 h 6858889"/>
              <a:gd name="connsiteX638" fmla="*/ 3118771 w 9667345"/>
              <a:gd name="connsiteY638" fmla="*/ 5965116 h 6858889"/>
              <a:gd name="connsiteX639" fmla="*/ 2763942 w 9667345"/>
              <a:gd name="connsiteY639" fmla="*/ 5653073 h 6858889"/>
              <a:gd name="connsiteX640" fmla="*/ 1857203 w 9667345"/>
              <a:gd name="connsiteY640" fmla="*/ 4042292 h 6858889"/>
              <a:gd name="connsiteX641" fmla="*/ 1706800 w 9667345"/>
              <a:gd name="connsiteY641" fmla="*/ 2949711 h 6858889"/>
              <a:gd name="connsiteX642" fmla="*/ 1880974 w 9667345"/>
              <a:gd name="connsiteY642" fmla="*/ 2084463 h 6858889"/>
              <a:gd name="connsiteX643" fmla="*/ 1961361 w 9667345"/>
              <a:gd name="connsiteY643" fmla="*/ 1781064 h 6858889"/>
              <a:gd name="connsiteX644" fmla="*/ 2105282 w 9667345"/>
              <a:gd name="connsiteY644" fmla="*/ 865 h 6858889"/>
              <a:gd name="connsiteX645" fmla="*/ 1957472 w 9667345"/>
              <a:gd name="connsiteY645" fmla="*/ 865 h 6858889"/>
              <a:gd name="connsiteX646" fmla="*/ 1974327 w 9667345"/>
              <a:gd name="connsiteY646" fmla="*/ 865 h 6858889"/>
              <a:gd name="connsiteX647" fmla="*/ 1833865 w 9667345"/>
              <a:gd name="connsiteY647" fmla="*/ 1822122 h 6858889"/>
              <a:gd name="connsiteX648" fmla="*/ 1756935 w 9667345"/>
              <a:gd name="connsiteY648" fmla="*/ 2119471 h 6858889"/>
              <a:gd name="connsiteX649" fmla="*/ 1589675 w 9667345"/>
              <a:gd name="connsiteY649" fmla="*/ 2992931 h 6858889"/>
              <a:gd name="connsiteX650" fmla="*/ 1746993 w 9667345"/>
              <a:gd name="connsiteY650" fmla="*/ 4085512 h 6858889"/>
              <a:gd name="connsiteX651" fmla="*/ 2664105 w 9667345"/>
              <a:gd name="connsiteY651" fmla="*/ 5694131 h 6858889"/>
              <a:gd name="connsiteX652" fmla="*/ 3018935 w 9667345"/>
              <a:gd name="connsiteY652" fmla="*/ 6006174 h 6858889"/>
              <a:gd name="connsiteX653" fmla="*/ 4516912 w 9667345"/>
              <a:gd name="connsiteY653" fmla="*/ 6858024 h 6858889"/>
              <a:gd name="connsiteX654" fmla="*/ 4491845 w 9667345"/>
              <a:gd name="connsiteY654" fmla="*/ 6858024 h 6858889"/>
              <a:gd name="connsiteX655" fmla="*/ 3008562 w 9667345"/>
              <a:gd name="connsiteY655" fmla="*/ 6010496 h 6858889"/>
              <a:gd name="connsiteX656" fmla="*/ 2653732 w 9667345"/>
              <a:gd name="connsiteY656" fmla="*/ 5698453 h 6858889"/>
              <a:gd name="connsiteX657" fmla="*/ 1733596 w 9667345"/>
              <a:gd name="connsiteY657" fmla="*/ 4087673 h 6858889"/>
              <a:gd name="connsiteX658" fmla="*/ 1576277 w 9667345"/>
              <a:gd name="connsiteY658" fmla="*/ 2993363 h 6858889"/>
              <a:gd name="connsiteX659" fmla="*/ 1743537 w 9667345"/>
              <a:gd name="connsiteY659" fmla="*/ 2117741 h 6858889"/>
              <a:gd name="connsiteX660" fmla="*/ 1817009 w 9667345"/>
              <a:gd name="connsiteY660" fmla="*/ 1820394 h 6858889"/>
              <a:gd name="connsiteX661" fmla="*/ 1957472 w 9667345"/>
              <a:gd name="connsiteY661" fmla="*/ 865 h 6858889"/>
              <a:gd name="connsiteX662" fmla="*/ 1813983 w 9667345"/>
              <a:gd name="connsiteY662" fmla="*/ 865 h 6858889"/>
              <a:gd name="connsiteX663" fmla="*/ 1827381 w 9667345"/>
              <a:gd name="connsiteY663" fmla="*/ 865 h 6858889"/>
              <a:gd name="connsiteX664" fmla="*/ 1690376 w 9667345"/>
              <a:gd name="connsiteY664" fmla="*/ 1861452 h 6858889"/>
              <a:gd name="connsiteX665" fmla="*/ 1619928 w 9667345"/>
              <a:gd name="connsiteY665" fmla="*/ 2152749 h 6858889"/>
              <a:gd name="connsiteX666" fmla="*/ 1456128 w 9667345"/>
              <a:gd name="connsiteY666" fmla="*/ 3034421 h 6858889"/>
              <a:gd name="connsiteX667" fmla="*/ 1619928 w 9667345"/>
              <a:gd name="connsiteY667" fmla="*/ 4130892 h 6858889"/>
              <a:gd name="connsiteX668" fmla="*/ 2553464 w 9667345"/>
              <a:gd name="connsiteY668" fmla="*/ 5739511 h 6858889"/>
              <a:gd name="connsiteX669" fmla="*/ 2911750 w 9667345"/>
              <a:gd name="connsiteY669" fmla="*/ 6051554 h 6858889"/>
              <a:gd name="connsiteX670" fmla="*/ 4316807 w 9667345"/>
              <a:gd name="connsiteY670" fmla="*/ 6857592 h 6858889"/>
              <a:gd name="connsiteX671" fmla="*/ 4293901 w 9667345"/>
              <a:gd name="connsiteY671" fmla="*/ 6857592 h 6858889"/>
              <a:gd name="connsiteX672" fmla="*/ 2898352 w 9667345"/>
              <a:gd name="connsiteY672" fmla="*/ 6055876 h 6858889"/>
              <a:gd name="connsiteX673" fmla="*/ 2540066 w 9667345"/>
              <a:gd name="connsiteY673" fmla="*/ 5743834 h 6858889"/>
              <a:gd name="connsiteX674" fmla="*/ 1606530 w 9667345"/>
              <a:gd name="connsiteY674" fmla="*/ 4133053 h 6858889"/>
              <a:gd name="connsiteX675" fmla="*/ 1442730 w 9667345"/>
              <a:gd name="connsiteY675" fmla="*/ 3034421 h 6858889"/>
              <a:gd name="connsiteX676" fmla="*/ 1606530 w 9667345"/>
              <a:gd name="connsiteY676" fmla="*/ 2150589 h 6858889"/>
              <a:gd name="connsiteX677" fmla="*/ 1676978 w 9667345"/>
              <a:gd name="connsiteY677" fmla="*/ 1859291 h 6858889"/>
              <a:gd name="connsiteX678" fmla="*/ 1813983 w 9667345"/>
              <a:gd name="connsiteY678" fmla="*/ 865 h 6858889"/>
              <a:gd name="connsiteX679" fmla="*/ 1519660 w 9667345"/>
              <a:gd name="connsiteY679" fmla="*/ 865 h 6858889"/>
              <a:gd name="connsiteX680" fmla="*/ 1533058 w 9667345"/>
              <a:gd name="connsiteY680" fmla="*/ 865 h 6858889"/>
              <a:gd name="connsiteX681" fmla="*/ 1536516 w 9667345"/>
              <a:gd name="connsiteY681" fmla="*/ 52296 h 6858889"/>
              <a:gd name="connsiteX682" fmla="*/ 1409451 w 9667345"/>
              <a:gd name="connsiteY682" fmla="*/ 1937950 h 6858889"/>
              <a:gd name="connsiteX683" fmla="*/ 1342461 w 9667345"/>
              <a:gd name="connsiteY683" fmla="*/ 2218875 h 6858889"/>
              <a:gd name="connsiteX684" fmla="*/ 1188601 w 9667345"/>
              <a:gd name="connsiteY684" fmla="*/ 3121292 h 6858889"/>
              <a:gd name="connsiteX685" fmla="*/ 1369256 w 9667345"/>
              <a:gd name="connsiteY685" fmla="*/ 4222085 h 6858889"/>
              <a:gd name="connsiteX686" fmla="*/ 2329588 w 9667345"/>
              <a:gd name="connsiteY686" fmla="*/ 5830704 h 6858889"/>
              <a:gd name="connsiteX687" fmla="*/ 2690902 w 9667345"/>
              <a:gd name="connsiteY687" fmla="*/ 6140585 h 6858889"/>
              <a:gd name="connsiteX688" fmla="*/ 3923512 w 9667345"/>
              <a:gd name="connsiteY688" fmla="*/ 6858024 h 6858889"/>
              <a:gd name="connsiteX689" fmla="*/ 3900606 w 9667345"/>
              <a:gd name="connsiteY689" fmla="*/ 6858024 h 6858889"/>
              <a:gd name="connsiteX690" fmla="*/ 2680528 w 9667345"/>
              <a:gd name="connsiteY690" fmla="*/ 6147068 h 6858889"/>
              <a:gd name="connsiteX691" fmla="*/ 2315758 w 9667345"/>
              <a:gd name="connsiteY691" fmla="*/ 5835026 h 6858889"/>
              <a:gd name="connsiteX692" fmla="*/ 1355426 w 9667345"/>
              <a:gd name="connsiteY692" fmla="*/ 4222085 h 6858889"/>
              <a:gd name="connsiteX693" fmla="*/ 1174770 w 9667345"/>
              <a:gd name="connsiteY693" fmla="*/ 3121292 h 6858889"/>
              <a:gd name="connsiteX694" fmla="*/ 1329063 w 9667345"/>
              <a:gd name="connsiteY694" fmla="*/ 2216714 h 6858889"/>
              <a:gd name="connsiteX695" fmla="*/ 1396053 w 9667345"/>
              <a:gd name="connsiteY695" fmla="*/ 1937950 h 6858889"/>
              <a:gd name="connsiteX696" fmla="*/ 1523118 w 9667345"/>
              <a:gd name="connsiteY696" fmla="*/ 52296 h 6858889"/>
              <a:gd name="connsiteX697" fmla="*/ 1519660 w 9667345"/>
              <a:gd name="connsiteY697" fmla="*/ 865 h 6858889"/>
              <a:gd name="connsiteX698" fmla="*/ 927556 w 9667345"/>
              <a:gd name="connsiteY698" fmla="*/ 865 h 6858889"/>
              <a:gd name="connsiteX699" fmla="*/ 940955 w 9667345"/>
              <a:gd name="connsiteY699" fmla="*/ 865 h 6858889"/>
              <a:gd name="connsiteX700" fmla="*/ 960836 w 9667345"/>
              <a:gd name="connsiteY700" fmla="*/ 182386 h 6858889"/>
              <a:gd name="connsiteX701" fmla="*/ 843711 w 9667345"/>
              <a:gd name="connsiteY701" fmla="*/ 2092675 h 6858889"/>
              <a:gd name="connsiteX702" fmla="*/ 790119 w 9667345"/>
              <a:gd name="connsiteY702" fmla="*/ 2346804 h 6858889"/>
              <a:gd name="connsiteX703" fmla="*/ 656141 w 9667345"/>
              <a:gd name="connsiteY703" fmla="*/ 3292440 h 6858889"/>
              <a:gd name="connsiteX704" fmla="*/ 863592 w 9667345"/>
              <a:gd name="connsiteY704" fmla="*/ 4401445 h 6858889"/>
              <a:gd name="connsiteX705" fmla="*/ 1877515 w 9667345"/>
              <a:gd name="connsiteY705" fmla="*/ 6012225 h 6858889"/>
              <a:gd name="connsiteX706" fmla="*/ 2255684 w 9667345"/>
              <a:gd name="connsiteY706" fmla="*/ 6322107 h 6858889"/>
              <a:gd name="connsiteX707" fmla="*/ 3150753 w 9667345"/>
              <a:gd name="connsiteY707" fmla="*/ 6858024 h 6858889"/>
              <a:gd name="connsiteX708" fmla="*/ 3127414 w 9667345"/>
              <a:gd name="connsiteY708" fmla="*/ 6858024 h 6858889"/>
              <a:gd name="connsiteX709" fmla="*/ 2242284 w 9667345"/>
              <a:gd name="connsiteY709" fmla="*/ 6328590 h 6858889"/>
              <a:gd name="connsiteX710" fmla="*/ 1867576 w 9667345"/>
              <a:gd name="connsiteY710" fmla="*/ 6016547 h 6858889"/>
              <a:gd name="connsiteX711" fmla="*/ 850194 w 9667345"/>
              <a:gd name="connsiteY711" fmla="*/ 4401445 h 6858889"/>
              <a:gd name="connsiteX712" fmla="*/ 642743 w 9667345"/>
              <a:gd name="connsiteY712" fmla="*/ 3292440 h 6858889"/>
              <a:gd name="connsiteX713" fmla="*/ 776722 w 9667345"/>
              <a:gd name="connsiteY713" fmla="*/ 2344643 h 6858889"/>
              <a:gd name="connsiteX714" fmla="*/ 830313 w 9667345"/>
              <a:gd name="connsiteY714" fmla="*/ 2092675 h 6858889"/>
              <a:gd name="connsiteX715" fmla="*/ 947438 w 9667345"/>
              <a:gd name="connsiteY715" fmla="*/ 182386 h 6858889"/>
              <a:gd name="connsiteX716" fmla="*/ 927556 w 9667345"/>
              <a:gd name="connsiteY716" fmla="*/ 865 h 6858889"/>
              <a:gd name="connsiteX717" fmla="*/ 482400 w 9667345"/>
              <a:gd name="connsiteY717" fmla="*/ 865 h 6858889"/>
              <a:gd name="connsiteX718" fmla="*/ 495797 w 9667345"/>
              <a:gd name="connsiteY718" fmla="*/ 865 h 6858889"/>
              <a:gd name="connsiteX719" fmla="*/ 529076 w 9667345"/>
              <a:gd name="connsiteY719" fmla="*/ 279629 h 6858889"/>
              <a:gd name="connsiteX720" fmla="*/ 418434 w 9667345"/>
              <a:gd name="connsiteY720" fmla="*/ 2208502 h 6858889"/>
              <a:gd name="connsiteX721" fmla="*/ 374782 w 9667345"/>
              <a:gd name="connsiteY721" fmla="*/ 2439725 h 6858889"/>
              <a:gd name="connsiteX722" fmla="*/ 257659 w 9667345"/>
              <a:gd name="connsiteY722" fmla="*/ 3420801 h 6858889"/>
              <a:gd name="connsiteX723" fmla="*/ 485424 w 9667345"/>
              <a:gd name="connsiteY723" fmla="*/ 4535856 h 6858889"/>
              <a:gd name="connsiteX724" fmla="*/ 1542998 w 9667345"/>
              <a:gd name="connsiteY724" fmla="*/ 6148797 h 6858889"/>
              <a:gd name="connsiteX725" fmla="*/ 1927651 w 9667345"/>
              <a:gd name="connsiteY725" fmla="*/ 6458678 h 6858889"/>
              <a:gd name="connsiteX726" fmla="*/ 2581556 w 9667345"/>
              <a:gd name="connsiteY726" fmla="*/ 6857592 h 6858889"/>
              <a:gd name="connsiteX727" fmla="*/ 2559515 w 9667345"/>
              <a:gd name="connsiteY727" fmla="*/ 6857592 h 6858889"/>
              <a:gd name="connsiteX728" fmla="*/ 1914251 w 9667345"/>
              <a:gd name="connsiteY728" fmla="*/ 6462569 h 6858889"/>
              <a:gd name="connsiteX729" fmla="*/ 1529600 w 9667345"/>
              <a:gd name="connsiteY729" fmla="*/ 6154848 h 6858889"/>
              <a:gd name="connsiteX730" fmla="*/ 472026 w 9667345"/>
              <a:gd name="connsiteY730" fmla="*/ 4538018 h 6858889"/>
              <a:gd name="connsiteX731" fmla="*/ 244261 w 9667345"/>
              <a:gd name="connsiteY731" fmla="*/ 3420801 h 6858889"/>
              <a:gd name="connsiteX732" fmla="*/ 361385 w 9667345"/>
              <a:gd name="connsiteY732" fmla="*/ 2439725 h 6858889"/>
              <a:gd name="connsiteX733" fmla="*/ 405036 w 9667345"/>
              <a:gd name="connsiteY733" fmla="*/ 2208502 h 6858889"/>
              <a:gd name="connsiteX734" fmla="*/ 515678 w 9667345"/>
              <a:gd name="connsiteY734" fmla="*/ 279629 h 6858889"/>
              <a:gd name="connsiteX735" fmla="*/ 482400 w 9667345"/>
              <a:gd name="connsiteY735" fmla="*/ 865 h 6858889"/>
              <a:gd name="connsiteX736" fmla="*/ 331564 w 9667345"/>
              <a:gd name="connsiteY736" fmla="*/ 865 h 6858889"/>
              <a:gd name="connsiteX737" fmla="*/ 344962 w 9667345"/>
              <a:gd name="connsiteY737" fmla="*/ 865 h 6858889"/>
              <a:gd name="connsiteX738" fmla="*/ 385156 w 9667345"/>
              <a:gd name="connsiteY738" fmla="*/ 312908 h 6858889"/>
              <a:gd name="connsiteX739" fmla="*/ 277973 w 9667345"/>
              <a:gd name="connsiteY739" fmla="*/ 2247832 h 6858889"/>
              <a:gd name="connsiteX740" fmla="*/ 237778 w 9667345"/>
              <a:gd name="connsiteY740" fmla="*/ 2470843 h 6858889"/>
              <a:gd name="connsiteX741" fmla="*/ 124111 w 9667345"/>
              <a:gd name="connsiteY741" fmla="*/ 3464020 h 6858889"/>
              <a:gd name="connsiteX742" fmla="*/ 361817 w 9667345"/>
              <a:gd name="connsiteY742" fmla="*/ 4579076 h 6858889"/>
              <a:gd name="connsiteX743" fmla="*/ 1429331 w 9667345"/>
              <a:gd name="connsiteY743" fmla="*/ 6194177 h 6858889"/>
              <a:gd name="connsiteX744" fmla="*/ 1817441 w 9667345"/>
              <a:gd name="connsiteY744" fmla="*/ 6504059 h 6858889"/>
              <a:gd name="connsiteX745" fmla="*/ 2394850 w 9667345"/>
              <a:gd name="connsiteY745" fmla="*/ 6857592 h 6858889"/>
              <a:gd name="connsiteX746" fmla="*/ 2373240 w 9667345"/>
              <a:gd name="connsiteY746" fmla="*/ 6857592 h 6858889"/>
              <a:gd name="connsiteX747" fmla="*/ 1807501 w 9667345"/>
              <a:gd name="connsiteY747" fmla="*/ 6507949 h 6858889"/>
              <a:gd name="connsiteX748" fmla="*/ 1415933 w 9667345"/>
              <a:gd name="connsiteY748" fmla="*/ 6200228 h 6858889"/>
              <a:gd name="connsiteX749" fmla="*/ 348419 w 9667345"/>
              <a:gd name="connsiteY749" fmla="*/ 4581237 h 6858889"/>
              <a:gd name="connsiteX750" fmla="*/ 110713 w 9667345"/>
              <a:gd name="connsiteY750" fmla="*/ 3464020 h 6858889"/>
              <a:gd name="connsiteX751" fmla="*/ 224380 w 9667345"/>
              <a:gd name="connsiteY751" fmla="*/ 2470843 h 6858889"/>
              <a:gd name="connsiteX752" fmla="*/ 264575 w 9667345"/>
              <a:gd name="connsiteY752" fmla="*/ 2247832 h 6858889"/>
              <a:gd name="connsiteX753" fmla="*/ 371757 w 9667345"/>
              <a:gd name="connsiteY753" fmla="*/ 312908 h 6858889"/>
              <a:gd name="connsiteX754" fmla="*/ 331564 w 9667345"/>
              <a:gd name="connsiteY754" fmla="*/ 865 h 6858889"/>
              <a:gd name="connsiteX755" fmla="*/ 177272 w 9667345"/>
              <a:gd name="connsiteY755" fmla="*/ 865 h 6858889"/>
              <a:gd name="connsiteX756" fmla="*/ 194126 w 9667345"/>
              <a:gd name="connsiteY756" fmla="*/ 865 h 6858889"/>
              <a:gd name="connsiteX757" fmla="*/ 241235 w 9667345"/>
              <a:gd name="connsiteY757" fmla="*/ 343594 h 6858889"/>
              <a:gd name="connsiteX758" fmla="*/ 137509 w 9667345"/>
              <a:gd name="connsiteY758" fmla="*/ 2286729 h 6858889"/>
              <a:gd name="connsiteX759" fmla="*/ 100773 w 9667345"/>
              <a:gd name="connsiteY759" fmla="*/ 2501528 h 6858889"/>
              <a:gd name="connsiteX760" fmla="*/ 21628 w 9667345"/>
              <a:gd name="connsiteY760" fmla="*/ 3001305 h 6858889"/>
              <a:gd name="connsiteX761" fmla="*/ 0 w 9667345"/>
              <a:gd name="connsiteY761" fmla="*/ 3220433 h 6858889"/>
              <a:gd name="connsiteX762" fmla="*/ 0 w 9667345"/>
              <a:gd name="connsiteY762" fmla="*/ 3069197 h 6858889"/>
              <a:gd name="connsiteX763" fmla="*/ 6448 w 9667345"/>
              <a:gd name="connsiteY763" fmla="*/ 3000440 h 6858889"/>
              <a:gd name="connsiteX764" fmla="*/ 83485 w 9667345"/>
              <a:gd name="connsiteY764" fmla="*/ 2499800 h 6858889"/>
              <a:gd name="connsiteX765" fmla="*/ 120222 w 9667345"/>
              <a:gd name="connsiteY765" fmla="*/ 2285000 h 6858889"/>
              <a:gd name="connsiteX766" fmla="*/ 227406 w 9667345"/>
              <a:gd name="connsiteY766" fmla="*/ 343594 h 6858889"/>
              <a:gd name="connsiteX767" fmla="*/ 177272 w 9667345"/>
              <a:gd name="connsiteY767" fmla="*/ 865 h 6858889"/>
              <a:gd name="connsiteX768" fmla="*/ 26870 w 9667345"/>
              <a:gd name="connsiteY768" fmla="*/ 865 h 6858889"/>
              <a:gd name="connsiteX769" fmla="*/ 39834 w 9667345"/>
              <a:gd name="connsiteY769" fmla="*/ 865 h 6858889"/>
              <a:gd name="connsiteX770" fmla="*/ 96883 w 9667345"/>
              <a:gd name="connsiteY770" fmla="*/ 376872 h 6858889"/>
              <a:gd name="connsiteX771" fmla="*/ 62180 w 9667345"/>
              <a:gd name="connsiteY771" fmla="*/ 1813458 h 6858889"/>
              <a:gd name="connsiteX772" fmla="*/ 0 w 9667345"/>
              <a:gd name="connsiteY772" fmla="*/ 2275627 h 6858889"/>
              <a:gd name="connsiteX773" fmla="*/ 0 w 9667345"/>
              <a:gd name="connsiteY773" fmla="*/ 2177011 h 6858889"/>
              <a:gd name="connsiteX774" fmla="*/ 49031 w 9667345"/>
              <a:gd name="connsiteY774" fmla="*/ 1812364 h 6858889"/>
              <a:gd name="connsiteX775" fmla="*/ 83918 w 9667345"/>
              <a:gd name="connsiteY775" fmla="*/ 376872 h 6858889"/>
              <a:gd name="connsiteX776" fmla="*/ 26870 w 9667345"/>
              <a:gd name="connsiteY776" fmla="*/ 865 h 6858889"/>
              <a:gd name="connsiteX777" fmla="*/ 4005629 w 9667345"/>
              <a:gd name="connsiteY777" fmla="*/ 433 h 6858889"/>
              <a:gd name="connsiteX778" fmla="*/ 4019027 w 9667345"/>
              <a:gd name="connsiteY778" fmla="*/ 433 h 6858889"/>
              <a:gd name="connsiteX779" fmla="*/ 3811575 w 9667345"/>
              <a:gd name="connsiteY779" fmla="*/ 1278857 h 6858889"/>
              <a:gd name="connsiteX780" fmla="*/ 3684510 w 9667345"/>
              <a:gd name="connsiteY780" fmla="*/ 1634119 h 6858889"/>
              <a:gd name="connsiteX781" fmla="*/ 3453720 w 9667345"/>
              <a:gd name="connsiteY781" fmla="*/ 2392184 h 6858889"/>
              <a:gd name="connsiteX782" fmla="*/ 3510769 w 9667345"/>
              <a:gd name="connsiteY782" fmla="*/ 3457970 h 6858889"/>
              <a:gd name="connsiteX783" fmla="*/ 4236852 w 9667345"/>
              <a:gd name="connsiteY783" fmla="*/ 5056216 h 6858889"/>
              <a:gd name="connsiteX784" fmla="*/ 4551488 w 9667345"/>
              <a:gd name="connsiteY784" fmla="*/ 5372149 h 6858889"/>
              <a:gd name="connsiteX785" fmla="*/ 5980314 w 9667345"/>
              <a:gd name="connsiteY785" fmla="*/ 6258142 h 6858889"/>
              <a:gd name="connsiteX786" fmla="*/ 6422015 w 9667345"/>
              <a:gd name="connsiteY786" fmla="*/ 6447010 h 6858889"/>
              <a:gd name="connsiteX787" fmla="*/ 7663269 w 9667345"/>
              <a:gd name="connsiteY787" fmla="*/ 6856728 h 6858889"/>
              <a:gd name="connsiteX788" fmla="*/ 7626102 w 9667345"/>
              <a:gd name="connsiteY788" fmla="*/ 6856728 h 6858889"/>
              <a:gd name="connsiteX789" fmla="*/ 6415531 w 9667345"/>
              <a:gd name="connsiteY789" fmla="*/ 6455654 h 6858889"/>
              <a:gd name="connsiteX790" fmla="*/ 5970373 w 9667345"/>
              <a:gd name="connsiteY790" fmla="*/ 6265489 h 6858889"/>
              <a:gd name="connsiteX791" fmla="*/ 4538090 w 9667345"/>
              <a:gd name="connsiteY791" fmla="*/ 5375605 h 6858889"/>
              <a:gd name="connsiteX792" fmla="*/ 4223454 w 9667345"/>
              <a:gd name="connsiteY792" fmla="*/ 5059673 h 6858889"/>
              <a:gd name="connsiteX793" fmla="*/ 3497371 w 9667345"/>
              <a:gd name="connsiteY793" fmla="*/ 3459266 h 6858889"/>
              <a:gd name="connsiteX794" fmla="*/ 3440323 w 9667345"/>
              <a:gd name="connsiteY794" fmla="*/ 2391752 h 6858889"/>
              <a:gd name="connsiteX795" fmla="*/ 3671113 w 9667345"/>
              <a:gd name="connsiteY795" fmla="*/ 1631957 h 6858889"/>
              <a:gd name="connsiteX796" fmla="*/ 3798177 w 9667345"/>
              <a:gd name="connsiteY796" fmla="*/ 1276696 h 6858889"/>
              <a:gd name="connsiteX797" fmla="*/ 4005629 w 9667345"/>
              <a:gd name="connsiteY797" fmla="*/ 433 h 6858889"/>
              <a:gd name="connsiteX798" fmla="*/ 1372282 w 9667345"/>
              <a:gd name="connsiteY798" fmla="*/ 433 h 6858889"/>
              <a:gd name="connsiteX799" fmla="*/ 1385681 w 9667345"/>
              <a:gd name="connsiteY799" fmla="*/ 433 h 6858889"/>
              <a:gd name="connsiteX800" fmla="*/ 1392163 w 9667345"/>
              <a:gd name="connsiteY800" fmla="*/ 85142 h 6858889"/>
              <a:gd name="connsiteX801" fmla="*/ 1268556 w 9667345"/>
              <a:gd name="connsiteY801" fmla="*/ 1976847 h 6858889"/>
              <a:gd name="connsiteX802" fmla="*/ 1205024 w 9667345"/>
              <a:gd name="connsiteY802" fmla="*/ 2251722 h 6858889"/>
              <a:gd name="connsiteX803" fmla="*/ 1057646 w 9667345"/>
              <a:gd name="connsiteY803" fmla="*/ 3164511 h 6858889"/>
              <a:gd name="connsiteX804" fmla="*/ 1241760 w 9667345"/>
              <a:gd name="connsiteY804" fmla="*/ 4265304 h 6858889"/>
              <a:gd name="connsiteX805" fmla="*/ 2215489 w 9667345"/>
              <a:gd name="connsiteY805" fmla="*/ 5876084 h 6858889"/>
              <a:gd name="connsiteX806" fmla="*/ 2583717 w 9667345"/>
              <a:gd name="connsiteY806" fmla="*/ 6185966 h 6858889"/>
              <a:gd name="connsiteX807" fmla="*/ 3730323 w 9667345"/>
              <a:gd name="connsiteY807" fmla="*/ 6858024 h 6858889"/>
              <a:gd name="connsiteX808" fmla="*/ 3705687 w 9667345"/>
              <a:gd name="connsiteY808" fmla="*/ 6858024 h 6858889"/>
              <a:gd name="connsiteX809" fmla="*/ 2570320 w 9667345"/>
              <a:gd name="connsiteY809" fmla="*/ 6192449 h 6858889"/>
              <a:gd name="connsiteX810" fmla="*/ 2202091 w 9667345"/>
              <a:gd name="connsiteY810" fmla="*/ 5880407 h 6858889"/>
              <a:gd name="connsiteX811" fmla="*/ 1228362 w 9667345"/>
              <a:gd name="connsiteY811" fmla="*/ 4267466 h 6858889"/>
              <a:gd name="connsiteX812" fmla="*/ 1040791 w 9667345"/>
              <a:gd name="connsiteY812" fmla="*/ 3164511 h 6858889"/>
              <a:gd name="connsiteX813" fmla="*/ 1191627 w 9667345"/>
              <a:gd name="connsiteY813" fmla="*/ 2249561 h 6858889"/>
              <a:gd name="connsiteX814" fmla="*/ 1251701 w 9667345"/>
              <a:gd name="connsiteY814" fmla="*/ 1974686 h 6858889"/>
              <a:gd name="connsiteX815" fmla="*/ 1378765 w 9667345"/>
              <a:gd name="connsiteY815" fmla="*/ 85142 h 6858889"/>
              <a:gd name="connsiteX816" fmla="*/ 1372282 w 9667345"/>
              <a:gd name="connsiteY816" fmla="*/ 433 h 6858889"/>
              <a:gd name="connsiteX817" fmla="*/ 1225337 w 9667345"/>
              <a:gd name="connsiteY817" fmla="*/ 433 h 6858889"/>
              <a:gd name="connsiteX818" fmla="*/ 1238734 w 9667345"/>
              <a:gd name="connsiteY818" fmla="*/ 433 h 6858889"/>
              <a:gd name="connsiteX819" fmla="*/ 1248676 w 9667345"/>
              <a:gd name="connsiteY819" fmla="*/ 116260 h 6858889"/>
              <a:gd name="connsiteX820" fmla="*/ 1125069 w 9667345"/>
              <a:gd name="connsiteY820" fmla="*/ 2016176 h 6858889"/>
              <a:gd name="connsiteX821" fmla="*/ 1068020 w 9667345"/>
              <a:gd name="connsiteY821" fmla="*/ 2282407 h 6858889"/>
              <a:gd name="connsiteX822" fmla="*/ 924099 w 9667345"/>
              <a:gd name="connsiteY822" fmla="*/ 3207730 h 6858889"/>
              <a:gd name="connsiteX823" fmla="*/ 1118153 w 9667345"/>
              <a:gd name="connsiteY823" fmla="*/ 4310684 h 6858889"/>
              <a:gd name="connsiteX824" fmla="*/ 2101823 w 9667345"/>
              <a:gd name="connsiteY824" fmla="*/ 5921465 h 6858889"/>
              <a:gd name="connsiteX825" fmla="*/ 2473076 w 9667345"/>
              <a:gd name="connsiteY825" fmla="*/ 6231346 h 6858889"/>
              <a:gd name="connsiteX826" fmla="*/ 3536701 w 9667345"/>
              <a:gd name="connsiteY826" fmla="*/ 6857592 h 6858889"/>
              <a:gd name="connsiteX827" fmla="*/ 3511634 w 9667345"/>
              <a:gd name="connsiteY827" fmla="*/ 6857592 h 6858889"/>
              <a:gd name="connsiteX828" fmla="*/ 2463136 w 9667345"/>
              <a:gd name="connsiteY828" fmla="*/ 6237397 h 6858889"/>
              <a:gd name="connsiteX829" fmla="*/ 2091882 w 9667345"/>
              <a:gd name="connsiteY829" fmla="*/ 5925354 h 6858889"/>
              <a:gd name="connsiteX830" fmla="*/ 1101298 w 9667345"/>
              <a:gd name="connsiteY830" fmla="*/ 4312414 h 6858889"/>
              <a:gd name="connsiteX831" fmla="*/ 910701 w 9667345"/>
              <a:gd name="connsiteY831" fmla="*/ 3205569 h 6858889"/>
              <a:gd name="connsiteX832" fmla="*/ 1054621 w 9667345"/>
              <a:gd name="connsiteY832" fmla="*/ 2282407 h 6858889"/>
              <a:gd name="connsiteX833" fmla="*/ 1111671 w 9667345"/>
              <a:gd name="connsiteY833" fmla="*/ 2014016 h 6858889"/>
              <a:gd name="connsiteX834" fmla="*/ 1235277 w 9667345"/>
              <a:gd name="connsiteY834" fmla="*/ 116260 h 6858889"/>
              <a:gd name="connsiteX835" fmla="*/ 1225337 w 9667345"/>
              <a:gd name="connsiteY835" fmla="*/ 433 h 6858889"/>
              <a:gd name="connsiteX836" fmla="*/ 1074069 w 9667345"/>
              <a:gd name="connsiteY836" fmla="*/ 433 h 6858889"/>
              <a:gd name="connsiteX837" fmla="*/ 1090925 w 9667345"/>
              <a:gd name="connsiteY837" fmla="*/ 433 h 6858889"/>
              <a:gd name="connsiteX838" fmla="*/ 1104323 w 9667345"/>
              <a:gd name="connsiteY838" fmla="*/ 149107 h 6858889"/>
              <a:gd name="connsiteX839" fmla="*/ 983741 w 9667345"/>
              <a:gd name="connsiteY839" fmla="*/ 2053345 h 6858889"/>
              <a:gd name="connsiteX840" fmla="*/ 930150 w 9667345"/>
              <a:gd name="connsiteY840" fmla="*/ 2315686 h 6858889"/>
              <a:gd name="connsiteX841" fmla="*/ 789687 w 9667345"/>
              <a:gd name="connsiteY841" fmla="*/ 3249221 h 6858889"/>
              <a:gd name="connsiteX842" fmla="*/ 990657 w 9667345"/>
              <a:gd name="connsiteY842" fmla="*/ 4356065 h 6858889"/>
              <a:gd name="connsiteX843" fmla="*/ 1991614 w 9667345"/>
              <a:gd name="connsiteY843" fmla="*/ 5966845 h 6858889"/>
              <a:gd name="connsiteX844" fmla="*/ 2362867 w 9667345"/>
              <a:gd name="connsiteY844" fmla="*/ 6276726 h 6858889"/>
              <a:gd name="connsiteX845" fmla="*/ 3342214 w 9667345"/>
              <a:gd name="connsiteY845" fmla="*/ 6858024 h 6858889"/>
              <a:gd name="connsiteX846" fmla="*/ 3320605 w 9667345"/>
              <a:gd name="connsiteY846" fmla="*/ 6858024 h 6858889"/>
              <a:gd name="connsiteX847" fmla="*/ 2352927 w 9667345"/>
              <a:gd name="connsiteY847" fmla="*/ 6283209 h 6858889"/>
              <a:gd name="connsiteX848" fmla="*/ 1978216 w 9667345"/>
              <a:gd name="connsiteY848" fmla="*/ 5971166 h 6858889"/>
              <a:gd name="connsiteX849" fmla="*/ 977691 w 9667345"/>
              <a:gd name="connsiteY849" fmla="*/ 4358225 h 6858889"/>
              <a:gd name="connsiteX850" fmla="*/ 776722 w 9667345"/>
              <a:gd name="connsiteY850" fmla="*/ 3249221 h 6858889"/>
              <a:gd name="connsiteX851" fmla="*/ 913294 w 9667345"/>
              <a:gd name="connsiteY851" fmla="*/ 2313525 h 6858889"/>
              <a:gd name="connsiteX852" fmla="*/ 970344 w 9667345"/>
              <a:gd name="connsiteY852" fmla="*/ 2053345 h 6858889"/>
              <a:gd name="connsiteX853" fmla="*/ 1090925 w 9667345"/>
              <a:gd name="connsiteY853" fmla="*/ 149107 h 6858889"/>
              <a:gd name="connsiteX854" fmla="*/ 1074069 w 9667345"/>
              <a:gd name="connsiteY854" fmla="*/ 433 h 6858889"/>
              <a:gd name="connsiteX855" fmla="*/ 780179 w 9667345"/>
              <a:gd name="connsiteY855" fmla="*/ 433 h 6858889"/>
              <a:gd name="connsiteX856" fmla="*/ 793577 w 9667345"/>
              <a:gd name="connsiteY856" fmla="*/ 433 h 6858889"/>
              <a:gd name="connsiteX857" fmla="*/ 816915 w 9667345"/>
              <a:gd name="connsiteY857" fmla="*/ 213072 h 6858889"/>
              <a:gd name="connsiteX858" fmla="*/ 703249 w 9667345"/>
              <a:gd name="connsiteY858" fmla="*/ 2131572 h 6858889"/>
              <a:gd name="connsiteX859" fmla="*/ 653115 w 9667345"/>
              <a:gd name="connsiteY859" fmla="*/ 2377489 h 6858889"/>
              <a:gd name="connsiteX860" fmla="*/ 522593 w 9667345"/>
              <a:gd name="connsiteY860" fmla="*/ 3335659 h 6858889"/>
              <a:gd name="connsiteX861" fmla="*/ 739985 w 9667345"/>
              <a:gd name="connsiteY861" fmla="*/ 4444664 h 6858889"/>
              <a:gd name="connsiteX862" fmla="*/ 1767306 w 9667345"/>
              <a:gd name="connsiteY862" fmla="*/ 6057605 h 6858889"/>
              <a:gd name="connsiteX863" fmla="*/ 2145475 w 9667345"/>
              <a:gd name="connsiteY863" fmla="*/ 6367487 h 6858889"/>
              <a:gd name="connsiteX864" fmla="*/ 2960590 w 9667345"/>
              <a:gd name="connsiteY864" fmla="*/ 6857160 h 6858889"/>
              <a:gd name="connsiteX865" fmla="*/ 2936818 w 9667345"/>
              <a:gd name="connsiteY865" fmla="*/ 6857160 h 6858889"/>
              <a:gd name="connsiteX866" fmla="*/ 2135535 w 9667345"/>
              <a:gd name="connsiteY866" fmla="*/ 6373105 h 6858889"/>
              <a:gd name="connsiteX867" fmla="*/ 1753909 w 9667345"/>
              <a:gd name="connsiteY867" fmla="*/ 6063223 h 6858889"/>
              <a:gd name="connsiteX868" fmla="*/ 726587 w 9667345"/>
              <a:gd name="connsiteY868" fmla="*/ 4446393 h 6858889"/>
              <a:gd name="connsiteX869" fmla="*/ 509195 w 9667345"/>
              <a:gd name="connsiteY869" fmla="*/ 3335227 h 6858889"/>
              <a:gd name="connsiteX870" fmla="*/ 639717 w 9667345"/>
              <a:gd name="connsiteY870" fmla="*/ 2377057 h 6858889"/>
              <a:gd name="connsiteX871" fmla="*/ 686393 w 9667345"/>
              <a:gd name="connsiteY871" fmla="*/ 2129411 h 6858889"/>
              <a:gd name="connsiteX872" fmla="*/ 803517 w 9667345"/>
              <a:gd name="connsiteY872" fmla="*/ 215232 h 6858889"/>
              <a:gd name="connsiteX873" fmla="*/ 780179 w 9667345"/>
              <a:gd name="connsiteY873" fmla="*/ 433 h 6858889"/>
              <a:gd name="connsiteX874" fmla="*/ 628912 w 9667345"/>
              <a:gd name="connsiteY874" fmla="*/ 433 h 6858889"/>
              <a:gd name="connsiteX875" fmla="*/ 645768 w 9667345"/>
              <a:gd name="connsiteY875" fmla="*/ 433 h 6858889"/>
              <a:gd name="connsiteX876" fmla="*/ 672563 w 9667345"/>
              <a:gd name="connsiteY876" fmla="*/ 246350 h 6858889"/>
              <a:gd name="connsiteX877" fmla="*/ 558897 w 9667345"/>
              <a:gd name="connsiteY877" fmla="*/ 2170901 h 6858889"/>
              <a:gd name="connsiteX878" fmla="*/ 515245 w 9667345"/>
              <a:gd name="connsiteY878" fmla="*/ 2408175 h 6858889"/>
              <a:gd name="connsiteX879" fmla="*/ 391639 w 9667345"/>
              <a:gd name="connsiteY879" fmla="*/ 3378879 h 6858889"/>
              <a:gd name="connsiteX880" fmla="*/ 612488 w 9667345"/>
              <a:gd name="connsiteY880" fmla="*/ 4490044 h 6858889"/>
              <a:gd name="connsiteX881" fmla="*/ 1653207 w 9667345"/>
              <a:gd name="connsiteY881" fmla="*/ 6102985 h 6858889"/>
              <a:gd name="connsiteX882" fmla="*/ 2034834 w 9667345"/>
              <a:gd name="connsiteY882" fmla="*/ 6412867 h 6858889"/>
              <a:gd name="connsiteX883" fmla="*/ 2768696 w 9667345"/>
              <a:gd name="connsiteY883" fmla="*/ 6857592 h 6858889"/>
              <a:gd name="connsiteX884" fmla="*/ 2748382 w 9667345"/>
              <a:gd name="connsiteY884" fmla="*/ 6857592 h 6858889"/>
              <a:gd name="connsiteX885" fmla="*/ 2024893 w 9667345"/>
              <a:gd name="connsiteY885" fmla="*/ 6419349 h 6858889"/>
              <a:gd name="connsiteX886" fmla="*/ 1643267 w 9667345"/>
              <a:gd name="connsiteY886" fmla="*/ 6109468 h 6858889"/>
              <a:gd name="connsiteX887" fmla="*/ 599091 w 9667345"/>
              <a:gd name="connsiteY887" fmla="*/ 4492205 h 6858889"/>
              <a:gd name="connsiteX888" fmla="*/ 374782 w 9667345"/>
              <a:gd name="connsiteY888" fmla="*/ 3379311 h 6858889"/>
              <a:gd name="connsiteX889" fmla="*/ 501847 w 9667345"/>
              <a:gd name="connsiteY889" fmla="*/ 2408607 h 6858889"/>
              <a:gd name="connsiteX890" fmla="*/ 545499 w 9667345"/>
              <a:gd name="connsiteY890" fmla="*/ 2169173 h 6858889"/>
              <a:gd name="connsiteX891" fmla="*/ 659165 w 9667345"/>
              <a:gd name="connsiteY891" fmla="*/ 246350 h 6858889"/>
              <a:gd name="connsiteX892" fmla="*/ 628912 w 9667345"/>
              <a:gd name="connsiteY892" fmla="*/ 433 h 6858889"/>
              <a:gd name="connsiteX893" fmla="*/ 4150413 w 9667345"/>
              <a:gd name="connsiteY893" fmla="*/ 0 h 6858889"/>
              <a:gd name="connsiteX894" fmla="*/ 4163811 w 9667345"/>
              <a:gd name="connsiteY894" fmla="*/ 0 h 6858889"/>
              <a:gd name="connsiteX895" fmla="*/ 3952901 w 9667345"/>
              <a:gd name="connsiteY895" fmla="*/ 1239096 h 6858889"/>
              <a:gd name="connsiteX896" fmla="*/ 3822380 w 9667345"/>
              <a:gd name="connsiteY896" fmla="*/ 1596518 h 6858889"/>
              <a:gd name="connsiteX897" fmla="*/ 3588131 w 9667345"/>
              <a:gd name="connsiteY897" fmla="*/ 2348100 h 6858889"/>
              <a:gd name="connsiteX898" fmla="*/ 3638265 w 9667345"/>
              <a:gd name="connsiteY898" fmla="*/ 3413886 h 6858889"/>
              <a:gd name="connsiteX899" fmla="*/ 4350951 w 9667345"/>
              <a:gd name="connsiteY899" fmla="*/ 5010403 h 6858889"/>
              <a:gd name="connsiteX900" fmla="*/ 4658670 w 9667345"/>
              <a:gd name="connsiteY900" fmla="*/ 5326336 h 6858889"/>
              <a:gd name="connsiteX901" fmla="*/ 6081015 w 9667345"/>
              <a:gd name="connsiteY901" fmla="*/ 6214491 h 6858889"/>
              <a:gd name="connsiteX902" fmla="*/ 6522715 w 9667345"/>
              <a:gd name="connsiteY902" fmla="*/ 6404654 h 6858889"/>
              <a:gd name="connsiteX903" fmla="*/ 7824477 w 9667345"/>
              <a:gd name="connsiteY903" fmla="*/ 6826042 h 6858889"/>
              <a:gd name="connsiteX904" fmla="*/ 7951543 w 9667345"/>
              <a:gd name="connsiteY904" fmla="*/ 6857160 h 6858889"/>
              <a:gd name="connsiteX905" fmla="*/ 7910051 w 9667345"/>
              <a:gd name="connsiteY905" fmla="*/ 6857160 h 6858889"/>
              <a:gd name="connsiteX906" fmla="*/ 7817994 w 9667345"/>
              <a:gd name="connsiteY906" fmla="*/ 6833822 h 6858889"/>
              <a:gd name="connsiteX907" fmla="*/ 6516232 w 9667345"/>
              <a:gd name="connsiteY907" fmla="*/ 6410273 h 6858889"/>
              <a:gd name="connsiteX908" fmla="*/ 6071074 w 9667345"/>
              <a:gd name="connsiteY908" fmla="*/ 6220110 h 6858889"/>
              <a:gd name="connsiteX909" fmla="*/ 4648731 w 9667345"/>
              <a:gd name="connsiteY909" fmla="*/ 5330225 h 6858889"/>
              <a:gd name="connsiteX910" fmla="*/ 4337553 w 9667345"/>
              <a:gd name="connsiteY910" fmla="*/ 5014293 h 6858889"/>
              <a:gd name="connsiteX911" fmla="*/ 3621411 w 9667345"/>
              <a:gd name="connsiteY911" fmla="*/ 3413886 h 6858889"/>
              <a:gd name="connsiteX912" fmla="*/ 3574733 w 9667345"/>
              <a:gd name="connsiteY912" fmla="*/ 2348100 h 6858889"/>
              <a:gd name="connsiteX913" fmla="*/ 3808982 w 9667345"/>
              <a:gd name="connsiteY913" fmla="*/ 1594358 h 6858889"/>
              <a:gd name="connsiteX914" fmla="*/ 3939503 w 9667345"/>
              <a:gd name="connsiteY914" fmla="*/ 1239096 h 6858889"/>
              <a:gd name="connsiteX915" fmla="*/ 4150413 w 9667345"/>
              <a:gd name="connsiteY915" fmla="*/ 0 h 68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</a:cxnLst>
            <a:rect l="l" t="t" r="r" b="b"/>
            <a:pathLst>
              <a:path w="9667345" h="6858889">
                <a:moveTo>
                  <a:pt x="0" y="6810685"/>
                </a:moveTo>
                <a:lnTo>
                  <a:pt x="59283" y="6858456"/>
                </a:lnTo>
                <a:lnTo>
                  <a:pt x="39402" y="6858456"/>
                </a:lnTo>
                <a:lnTo>
                  <a:pt x="0" y="6827674"/>
                </a:lnTo>
                <a:close/>
                <a:moveTo>
                  <a:pt x="0" y="6672270"/>
                </a:moveTo>
                <a:lnTo>
                  <a:pt x="80461" y="6741333"/>
                </a:lnTo>
                <a:cubicBezTo>
                  <a:pt x="130162" y="6780662"/>
                  <a:pt x="180728" y="6819559"/>
                  <a:pt x="232159" y="6857592"/>
                </a:cubicBezTo>
                <a:lnTo>
                  <a:pt x="213144" y="6857592"/>
                </a:lnTo>
                <a:cubicBezTo>
                  <a:pt x="164738" y="6821288"/>
                  <a:pt x="117197" y="6784552"/>
                  <a:pt x="70519" y="6747384"/>
                </a:cubicBezTo>
                <a:lnTo>
                  <a:pt x="0" y="6686879"/>
                </a:lnTo>
                <a:close/>
                <a:moveTo>
                  <a:pt x="0" y="6527854"/>
                </a:moveTo>
                <a:lnTo>
                  <a:pt x="2977" y="6530761"/>
                </a:lnTo>
                <a:cubicBezTo>
                  <a:pt x="64732" y="6587479"/>
                  <a:pt x="128433" y="6642523"/>
                  <a:pt x="194126" y="6695952"/>
                </a:cubicBezTo>
                <a:cubicBezTo>
                  <a:pt x="261117" y="6750841"/>
                  <a:pt x="331564" y="6805297"/>
                  <a:pt x="404173" y="6858024"/>
                </a:cubicBezTo>
                <a:lnTo>
                  <a:pt x="386452" y="6858024"/>
                </a:lnTo>
                <a:cubicBezTo>
                  <a:pt x="315573" y="6807459"/>
                  <a:pt x="246854" y="6755595"/>
                  <a:pt x="180728" y="6702435"/>
                </a:cubicBezTo>
                <a:lnTo>
                  <a:pt x="0" y="6545608"/>
                </a:lnTo>
                <a:close/>
                <a:moveTo>
                  <a:pt x="0" y="6370764"/>
                </a:moveTo>
                <a:lnTo>
                  <a:pt x="116037" y="6485384"/>
                </a:lnTo>
                <a:cubicBezTo>
                  <a:pt x="177042" y="6542099"/>
                  <a:pt x="239940" y="6597143"/>
                  <a:pt x="304768" y="6650572"/>
                </a:cubicBezTo>
                <a:cubicBezTo>
                  <a:pt x="392072" y="6721019"/>
                  <a:pt x="483697" y="6790170"/>
                  <a:pt x="578345" y="6858024"/>
                </a:cubicBezTo>
                <a:lnTo>
                  <a:pt x="559329" y="6858024"/>
                </a:lnTo>
                <a:cubicBezTo>
                  <a:pt x="466839" y="6793196"/>
                  <a:pt x="377808" y="6726206"/>
                  <a:pt x="294395" y="6657055"/>
                </a:cubicBezTo>
                <a:cubicBezTo>
                  <a:pt x="229134" y="6603409"/>
                  <a:pt x="165865" y="6548177"/>
                  <a:pt x="104541" y="6491293"/>
                </a:cubicBezTo>
                <a:lnTo>
                  <a:pt x="0" y="6388228"/>
                </a:lnTo>
                <a:close/>
                <a:moveTo>
                  <a:pt x="0" y="6202503"/>
                </a:moveTo>
                <a:lnTo>
                  <a:pt x="55211" y="6264794"/>
                </a:lnTo>
                <a:cubicBezTo>
                  <a:pt x="168600" y="6385017"/>
                  <a:pt x="289533" y="6498333"/>
                  <a:pt x="418434" y="6605192"/>
                </a:cubicBezTo>
                <a:cubicBezTo>
                  <a:pt x="522593" y="6691631"/>
                  <a:pt x="635828" y="6776340"/>
                  <a:pt x="754680" y="6857592"/>
                </a:cubicBezTo>
                <a:lnTo>
                  <a:pt x="735663" y="6857592"/>
                </a:lnTo>
                <a:cubicBezTo>
                  <a:pt x="620270" y="6778069"/>
                  <a:pt x="510060" y="6695520"/>
                  <a:pt x="408494" y="6611243"/>
                </a:cubicBezTo>
                <a:cubicBezTo>
                  <a:pt x="278836" y="6503843"/>
                  <a:pt x="157336" y="6390123"/>
                  <a:pt x="43521" y="6269568"/>
                </a:cubicBezTo>
                <a:lnTo>
                  <a:pt x="0" y="6220508"/>
                </a:lnTo>
                <a:close/>
                <a:moveTo>
                  <a:pt x="0" y="6024018"/>
                </a:moveTo>
                <a:lnTo>
                  <a:pt x="8034" y="6034410"/>
                </a:lnTo>
                <a:cubicBezTo>
                  <a:pt x="165001" y="6225012"/>
                  <a:pt x="338317" y="6399523"/>
                  <a:pt x="529076" y="6559812"/>
                </a:cubicBezTo>
                <a:cubicBezTo>
                  <a:pt x="652683" y="6662242"/>
                  <a:pt x="789255" y="6762942"/>
                  <a:pt x="932743" y="6858024"/>
                </a:cubicBezTo>
                <a:lnTo>
                  <a:pt x="913294" y="6858024"/>
                </a:lnTo>
                <a:cubicBezTo>
                  <a:pt x="773696" y="6765103"/>
                  <a:pt x="640149" y="6666563"/>
                  <a:pt x="519135" y="6564134"/>
                </a:cubicBezTo>
                <a:cubicBezTo>
                  <a:pt x="391098" y="6457275"/>
                  <a:pt x="271003" y="6343959"/>
                  <a:pt x="158491" y="6223702"/>
                </a:cubicBezTo>
                <a:lnTo>
                  <a:pt x="0" y="6043322"/>
                </a:lnTo>
                <a:close/>
                <a:moveTo>
                  <a:pt x="0" y="5825690"/>
                </a:moveTo>
                <a:lnTo>
                  <a:pt x="125453" y="5989143"/>
                </a:lnTo>
                <a:cubicBezTo>
                  <a:pt x="281200" y="6179631"/>
                  <a:pt x="453280" y="6354142"/>
                  <a:pt x="642743" y="6514432"/>
                </a:cubicBezTo>
                <a:cubicBezTo>
                  <a:pt x="770240" y="6619886"/>
                  <a:pt x="907245" y="6722749"/>
                  <a:pt x="1051163" y="6819992"/>
                </a:cubicBezTo>
                <a:cubicBezTo>
                  <a:pt x="1070613" y="6832525"/>
                  <a:pt x="1090493" y="6845058"/>
                  <a:pt x="1109942" y="6858456"/>
                </a:cubicBezTo>
                <a:lnTo>
                  <a:pt x="1090062" y="6858456"/>
                </a:lnTo>
                <a:cubicBezTo>
                  <a:pt x="1073637" y="6848084"/>
                  <a:pt x="1057215" y="6837712"/>
                  <a:pt x="1040791" y="6826907"/>
                </a:cubicBezTo>
                <a:cubicBezTo>
                  <a:pt x="896871" y="6729664"/>
                  <a:pt x="755977" y="6626369"/>
                  <a:pt x="632370" y="6519185"/>
                </a:cubicBezTo>
                <a:cubicBezTo>
                  <a:pt x="441611" y="6358896"/>
                  <a:pt x="268781" y="6184081"/>
                  <a:pt x="112604" y="5993214"/>
                </a:cubicBezTo>
                <a:lnTo>
                  <a:pt x="0" y="5846530"/>
                </a:lnTo>
                <a:close/>
                <a:moveTo>
                  <a:pt x="0" y="5604549"/>
                </a:moveTo>
                <a:lnTo>
                  <a:pt x="95478" y="5747885"/>
                </a:lnTo>
                <a:cubicBezTo>
                  <a:pt x="286291" y="6016330"/>
                  <a:pt x="505520" y="6255332"/>
                  <a:pt x="756408" y="6469052"/>
                </a:cubicBezTo>
                <a:cubicBezTo>
                  <a:pt x="880449" y="6574506"/>
                  <a:pt x="1017453" y="6677369"/>
                  <a:pt x="1161372" y="6774611"/>
                </a:cubicBezTo>
                <a:cubicBezTo>
                  <a:pt x="1202863" y="6803136"/>
                  <a:pt x="1246083" y="6830364"/>
                  <a:pt x="1289734" y="6857592"/>
                </a:cubicBezTo>
                <a:lnTo>
                  <a:pt x="1271150" y="6857592"/>
                </a:lnTo>
                <a:cubicBezTo>
                  <a:pt x="1230523" y="6832093"/>
                  <a:pt x="1190329" y="6806593"/>
                  <a:pt x="1151432" y="6780662"/>
                </a:cubicBezTo>
                <a:cubicBezTo>
                  <a:pt x="1004054" y="6683419"/>
                  <a:pt x="870076" y="6580125"/>
                  <a:pt x="743010" y="6472941"/>
                </a:cubicBezTo>
                <a:cubicBezTo>
                  <a:pt x="491907" y="6260303"/>
                  <a:pt x="272678" y="6021301"/>
                  <a:pt x="81919" y="5752315"/>
                </a:cubicBezTo>
                <a:lnTo>
                  <a:pt x="0" y="5628996"/>
                </a:lnTo>
                <a:close/>
                <a:moveTo>
                  <a:pt x="0" y="5359076"/>
                </a:moveTo>
                <a:lnTo>
                  <a:pt x="78670" y="5496155"/>
                </a:lnTo>
                <a:cubicBezTo>
                  <a:pt x="296387" y="5850882"/>
                  <a:pt x="557492" y="6157873"/>
                  <a:pt x="867049" y="6423672"/>
                </a:cubicBezTo>
                <a:cubicBezTo>
                  <a:pt x="991088" y="6529127"/>
                  <a:pt x="1128093" y="6631988"/>
                  <a:pt x="1272015" y="6729231"/>
                </a:cubicBezTo>
                <a:cubicBezTo>
                  <a:pt x="1335979" y="6773315"/>
                  <a:pt x="1402536" y="6816102"/>
                  <a:pt x="1469526" y="6857592"/>
                </a:cubicBezTo>
                <a:lnTo>
                  <a:pt x="1450509" y="6857592"/>
                </a:lnTo>
                <a:cubicBezTo>
                  <a:pt x="1385681" y="6818263"/>
                  <a:pt x="1321284" y="6777637"/>
                  <a:pt x="1258184" y="6735282"/>
                </a:cubicBezTo>
                <a:cubicBezTo>
                  <a:pt x="1114264" y="6638039"/>
                  <a:pt x="980285" y="6534745"/>
                  <a:pt x="856678" y="6427561"/>
                </a:cubicBezTo>
                <a:cubicBezTo>
                  <a:pt x="547120" y="6161763"/>
                  <a:pt x="284664" y="5854772"/>
                  <a:pt x="65196" y="5499518"/>
                </a:cubicBezTo>
                <a:lnTo>
                  <a:pt x="0" y="5386698"/>
                </a:lnTo>
                <a:close/>
                <a:moveTo>
                  <a:pt x="0" y="5079907"/>
                </a:moveTo>
                <a:lnTo>
                  <a:pt x="75746" y="5232455"/>
                </a:lnTo>
                <a:cubicBezTo>
                  <a:pt x="314438" y="5681597"/>
                  <a:pt x="611840" y="6058901"/>
                  <a:pt x="980716" y="6377859"/>
                </a:cubicBezTo>
                <a:cubicBezTo>
                  <a:pt x="1100866" y="6483315"/>
                  <a:pt x="1238303" y="6586176"/>
                  <a:pt x="1378765" y="6683419"/>
                </a:cubicBezTo>
                <a:cubicBezTo>
                  <a:pt x="1466068" y="6743925"/>
                  <a:pt x="1558557" y="6801840"/>
                  <a:pt x="1652775" y="6858024"/>
                </a:cubicBezTo>
                <a:lnTo>
                  <a:pt x="1631165" y="6858024"/>
                </a:lnTo>
                <a:cubicBezTo>
                  <a:pt x="1540405" y="6804432"/>
                  <a:pt x="1452670" y="6748680"/>
                  <a:pt x="1368824" y="6690334"/>
                </a:cubicBezTo>
                <a:cubicBezTo>
                  <a:pt x="1224905" y="6593091"/>
                  <a:pt x="1090925" y="6489797"/>
                  <a:pt x="967318" y="6382614"/>
                </a:cubicBezTo>
                <a:cubicBezTo>
                  <a:pt x="600712" y="6063656"/>
                  <a:pt x="301932" y="5685380"/>
                  <a:pt x="62592" y="5235569"/>
                </a:cubicBezTo>
                <a:lnTo>
                  <a:pt x="0" y="5109615"/>
                </a:lnTo>
                <a:close/>
                <a:moveTo>
                  <a:pt x="0" y="4754262"/>
                </a:moveTo>
                <a:lnTo>
                  <a:pt x="86287" y="4958028"/>
                </a:lnTo>
                <a:cubicBezTo>
                  <a:pt x="336960" y="5509160"/>
                  <a:pt x="666675" y="5960362"/>
                  <a:pt x="1091358" y="6332479"/>
                </a:cubicBezTo>
                <a:cubicBezTo>
                  <a:pt x="1214964" y="6437934"/>
                  <a:pt x="1348944" y="6540795"/>
                  <a:pt x="1489406" y="6638039"/>
                </a:cubicBezTo>
                <a:cubicBezTo>
                  <a:pt x="1600048" y="6714537"/>
                  <a:pt x="1716308" y="6787577"/>
                  <a:pt x="1836889" y="6857592"/>
                </a:cubicBezTo>
                <a:lnTo>
                  <a:pt x="1816575" y="6857592"/>
                </a:lnTo>
                <a:cubicBezTo>
                  <a:pt x="1699884" y="6789306"/>
                  <a:pt x="1586651" y="6718427"/>
                  <a:pt x="1479466" y="6644089"/>
                </a:cubicBezTo>
                <a:cubicBezTo>
                  <a:pt x="1335546" y="6546846"/>
                  <a:pt x="1201999" y="6443552"/>
                  <a:pt x="1081417" y="6336369"/>
                </a:cubicBezTo>
                <a:cubicBezTo>
                  <a:pt x="656734" y="5964251"/>
                  <a:pt x="324372" y="5511395"/>
                  <a:pt x="73038" y="4959848"/>
                </a:cubicBezTo>
                <a:lnTo>
                  <a:pt x="0" y="4787554"/>
                </a:lnTo>
                <a:close/>
                <a:moveTo>
                  <a:pt x="0" y="4357497"/>
                </a:moveTo>
                <a:lnTo>
                  <a:pt x="3590" y="4371077"/>
                </a:lnTo>
                <a:cubicBezTo>
                  <a:pt x="33405" y="4468408"/>
                  <a:pt x="67926" y="4568055"/>
                  <a:pt x="107256" y="4670269"/>
                </a:cubicBezTo>
                <a:cubicBezTo>
                  <a:pt x="364842" y="5332819"/>
                  <a:pt x="723130" y="5861822"/>
                  <a:pt x="1205024" y="6287099"/>
                </a:cubicBezTo>
                <a:cubicBezTo>
                  <a:pt x="1325606" y="6392554"/>
                  <a:pt x="1456128" y="6495415"/>
                  <a:pt x="1600048" y="6592659"/>
                </a:cubicBezTo>
                <a:cubicBezTo>
                  <a:pt x="1733164" y="6685148"/>
                  <a:pt x="1874923" y="6773747"/>
                  <a:pt x="2023165" y="6858024"/>
                </a:cubicBezTo>
                <a:lnTo>
                  <a:pt x="2001554" y="6858024"/>
                </a:lnTo>
                <a:cubicBezTo>
                  <a:pt x="1858500" y="6775908"/>
                  <a:pt x="1719334" y="6689469"/>
                  <a:pt x="1587082" y="6599142"/>
                </a:cubicBezTo>
                <a:cubicBezTo>
                  <a:pt x="1446188" y="6501898"/>
                  <a:pt x="1315665" y="6398605"/>
                  <a:pt x="1192058" y="6291421"/>
                </a:cubicBezTo>
                <a:cubicBezTo>
                  <a:pt x="713190" y="5866144"/>
                  <a:pt x="351877" y="5337573"/>
                  <a:pt x="94290" y="4672429"/>
                </a:cubicBezTo>
                <a:lnTo>
                  <a:pt x="0" y="4400852"/>
                </a:lnTo>
                <a:close/>
                <a:moveTo>
                  <a:pt x="0" y="3631903"/>
                </a:moveTo>
                <a:lnTo>
                  <a:pt x="10844" y="3768898"/>
                </a:lnTo>
                <a:cubicBezTo>
                  <a:pt x="44858" y="4035486"/>
                  <a:pt x="118926" y="4317816"/>
                  <a:pt x="234320" y="4624456"/>
                </a:cubicBezTo>
                <a:cubicBezTo>
                  <a:pt x="488449" y="5287439"/>
                  <a:pt x="839822" y="5816009"/>
                  <a:pt x="1315233" y="6239558"/>
                </a:cubicBezTo>
                <a:cubicBezTo>
                  <a:pt x="1435814" y="6347174"/>
                  <a:pt x="1566337" y="6450035"/>
                  <a:pt x="1706800" y="6547278"/>
                </a:cubicBezTo>
                <a:cubicBezTo>
                  <a:pt x="1864118" y="6656623"/>
                  <a:pt x="2028350" y="6758620"/>
                  <a:pt x="2205549" y="6857592"/>
                </a:cubicBezTo>
                <a:lnTo>
                  <a:pt x="2183507" y="6857592"/>
                </a:lnTo>
                <a:cubicBezTo>
                  <a:pt x="2010198" y="6760782"/>
                  <a:pt x="1848127" y="6660513"/>
                  <a:pt x="1696860" y="6553329"/>
                </a:cubicBezTo>
                <a:cubicBezTo>
                  <a:pt x="1556397" y="6456086"/>
                  <a:pt x="1425874" y="6352792"/>
                  <a:pt x="1305292" y="6245609"/>
                </a:cubicBezTo>
                <a:cubicBezTo>
                  <a:pt x="829883" y="5820332"/>
                  <a:pt x="475051" y="5291760"/>
                  <a:pt x="220923" y="4626617"/>
                </a:cubicBezTo>
                <a:cubicBezTo>
                  <a:pt x="142263" y="4421110"/>
                  <a:pt x="82837" y="4226947"/>
                  <a:pt x="42265" y="4041321"/>
                </a:cubicBezTo>
                <a:lnTo>
                  <a:pt x="0" y="3795139"/>
                </a:lnTo>
                <a:close/>
                <a:moveTo>
                  <a:pt x="5434888" y="1729"/>
                </a:moveTo>
                <a:lnTo>
                  <a:pt x="5448286" y="1729"/>
                </a:lnTo>
                <a:cubicBezTo>
                  <a:pt x="5418033" y="302967"/>
                  <a:pt x="5344560" y="600316"/>
                  <a:pt x="5227436" y="893774"/>
                </a:cubicBezTo>
                <a:cubicBezTo>
                  <a:pt x="5173844" y="1019974"/>
                  <a:pt x="5117227" y="1145742"/>
                  <a:pt x="5060177" y="1269781"/>
                </a:cubicBezTo>
                <a:cubicBezTo>
                  <a:pt x="4952995" y="1494521"/>
                  <a:pt x="4842785" y="1727905"/>
                  <a:pt x="4785736" y="1963449"/>
                </a:cubicBezTo>
                <a:cubicBezTo>
                  <a:pt x="4695407" y="2329084"/>
                  <a:pt x="4728687" y="2696879"/>
                  <a:pt x="4768880" y="3010651"/>
                </a:cubicBezTo>
                <a:cubicBezTo>
                  <a:pt x="4832844" y="3470935"/>
                  <a:pt x="4956451" y="4067793"/>
                  <a:pt x="5361416" y="4600686"/>
                </a:cubicBezTo>
                <a:cubicBezTo>
                  <a:pt x="5441371" y="4710462"/>
                  <a:pt x="5538614" y="4817646"/>
                  <a:pt x="5642341" y="4920939"/>
                </a:cubicBezTo>
                <a:cubicBezTo>
                  <a:pt x="5986797" y="5257618"/>
                  <a:pt x="6438438" y="5559287"/>
                  <a:pt x="6990779" y="5817306"/>
                </a:cubicBezTo>
                <a:cubicBezTo>
                  <a:pt x="7131674" y="5883431"/>
                  <a:pt x="7275593" y="5945235"/>
                  <a:pt x="7425997" y="6003148"/>
                </a:cubicBezTo>
                <a:cubicBezTo>
                  <a:pt x="7821020" y="6156144"/>
                  <a:pt x="8255805" y="6287963"/>
                  <a:pt x="8717818" y="6393418"/>
                </a:cubicBezTo>
                <a:cubicBezTo>
                  <a:pt x="9019489" y="6462137"/>
                  <a:pt x="9337150" y="6520050"/>
                  <a:pt x="9666913" y="6567592"/>
                </a:cubicBezTo>
                <a:lnTo>
                  <a:pt x="9666913" y="6576236"/>
                </a:lnTo>
                <a:cubicBezTo>
                  <a:pt x="9335853" y="6528262"/>
                  <a:pt x="9016896" y="6470348"/>
                  <a:pt x="8714362" y="6401198"/>
                </a:cubicBezTo>
                <a:cubicBezTo>
                  <a:pt x="8249322" y="6295742"/>
                  <a:pt x="7814105" y="6163492"/>
                  <a:pt x="7416056" y="6008767"/>
                </a:cubicBezTo>
                <a:cubicBezTo>
                  <a:pt x="7268679" y="5950854"/>
                  <a:pt x="7124759" y="5889050"/>
                  <a:pt x="6984296" y="5822924"/>
                </a:cubicBezTo>
                <a:cubicBezTo>
                  <a:pt x="6428930" y="5564474"/>
                  <a:pt x="5973832" y="5263236"/>
                  <a:pt x="5632400" y="4924397"/>
                </a:cubicBezTo>
                <a:cubicBezTo>
                  <a:pt x="5525216" y="4821103"/>
                  <a:pt x="5431863" y="4713487"/>
                  <a:pt x="5348018" y="4604143"/>
                </a:cubicBezTo>
                <a:cubicBezTo>
                  <a:pt x="4943053" y="4069089"/>
                  <a:pt x="4819014" y="3472232"/>
                  <a:pt x="4755482" y="3009786"/>
                </a:cubicBezTo>
                <a:cubicBezTo>
                  <a:pt x="4712262" y="2697743"/>
                  <a:pt x="4682010" y="2328220"/>
                  <a:pt x="4772337" y="1962585"/>
                </a:cubicBezTo>
                <a:cubicBezTo>
                  <a:pt x="4828955" y="1725312"/>
                  <a:pt x="4939596" y="1491927"/>
                  <a:pt x="5043322" y="1266755"/>
                </a:cubicBezTo>
                <a:cubicBezTo>
                  <a:pt x="5103397" y="1142716"/>
                  <a:pt x="5160446" y="1016517"/>
                  <a:pt x="5210581" y="890749"/>
                </a:cubicBezTo>
                <a:cubicBezTo>
                  <a:pt x="5327704" y="597723"/>
                  <a:pt x="5404635" y="300374"/>
                  <a:pt x="5434888" y="1729"/>
                </a:cubicBezTo>
                <a:close/>
                <a:moveTo>
                  <a:pt x="5575783" y="1297"/>
                </a:moveTo>
                <a:lnTo>
                  <a:pt x="5589181" y="1297"/>
                </a:lnTo>
                <a:cubicBezTo>
                  <a:pt x="5555902" y="288272"/>
                  <a:pt x="5481997" y="573087"/>
                  <a:pt x="5368330" y="854012"/>
                </a:cubicBezTo>
                <a:cubicBezTo>
                  <a:pt x="5314738" y="979780"/>
                  <a:pt x="5254664" y="1107709"/>
                  <a:pt x="5197614" y="1231748"/>
                </a:cubicBezTo>
                <a:cubicBezTo>
                  <a:pt x="5090430" y="1454760"/>
                  <a:pt x="4979790" y="1685982"/>
                  <a:pt x="4919715" y="1921527"/>
                </a:cubicBezTo>
                <a:cubicBezTo>
                  <a:pt x="4825929" y="2282839"/>
                  <a:pt x="4856183" y="2652364"/>
                  <a:pt x="4896376" y="2964406"/>
                </a:cubicBezTo>
                <a:cubicBezTo>
                  <a:pt x="4956883" y="3424691"/>
                  <a:pt x="5077033" y="4021548"/>
                  <a:pt x="5472057" y="4554441"/>
                </a:cubicBezTo>
                <a:cubicBezTo>
                  <a:pt x="5555470" y="4664218"/>
                  <a:pt x="5649256" y="4771402"/>
                  <a:pt x="5752981" y="4874695"/>
                </a:cubicBezTo>
                <a:cubicBezTo>
                  <a:pt x="6094413" y="5213533"/>
                  <a:pt x="6546053" y="5515204"/>
                  <a:pt x="7094937" y="5773223"/>
                </a:cubicBezTo>
                <a:cubicBezTo>
                  <a:pt x="7232375" y="5837187"/>
                  <a:pt x="7376294" y="5898990"/>
                  <a:pt x="7526698" y="5956904"/>
                </a:cubicBezTo>
                <a:cubicBezTo>
                  <a:pt x="7921721" y="6109900"/>
                  <a:pt x="8353481" y="6239990"/>
                  <a:pt x="8818519" y="6343283"/>
                </a:cubicBezTo>
                <a:cubicBezTo>
                  <a:pt x="9090369" y="6405087"/>
                  <a:pt x="9373886" y="6457382"/>
                  <a:pt x="9666913" y="6500602"/>
                </a:cubicBezTo>
                <a:lnTo>
                  <a:pt x="9666913" y="6509246"/>
                </a:lnTo>
                <a:cubicBezTo>
                  <a:pt x="9372158" y="6465594"/>
                  <a:pt x="9086479" y="6413299"/>
                  <a:pt x="8811605" y="6351496"/>
                </a:cubicBezTo>
                <a:cubicBezTo>
                  <a:pt x="8349591" y="6248201"/>
                  <a:pt x="7914374" y="6118112"/>
                  <a:pt x="7516324" y="5965116"/>
                </a:cubicBezTo>
                <a:cubicBezTo>
                  <a:pt x="7368947" y="5907202"/>
                  <a:pt x="7225028" y="5845399"/>
                  <a:pt x="7084564" y="5779273"/>
                </a:cubicBezTo>
                <a:cubicBezTo>
                  <a:pt x="6535681" y="5521255"/>
                  <a:pt x="6080582" y="5217856"/>
                  <a:pt x="5739151" y="4879017"/>
                </a:cubicBezTo>
                <a:cubicBezTo>
                  <a:pt x="5635425" y="4775724"/>
                  <a:pt x="5542072" y="4668108"/>
                  <a:pt x="5458226" y="4558762"/>
                </a:cubicBezTo>
                <a:cubicBezTo>
                  <a:pt x="5059745" y="4023709"/>
                  <a:pt x="4942621" y="3427284"/>
                  <a:pt x="4882546" y="2966567"/>
                </a:cubicBezTo>
                <a:cubicBezTo>
                  <a:pt x="4842352" y="2652364"/>
                  <a:pt x="4812099" y="2282839"/>
                  <a:pt x="4905886" y="1919366"/>
                </a:cubicBezTo>
                <a:cubicBezTo>
                  <a:pt x="4965960" y="1683821"/>
                  <a:pt x="5076601" y="1452598"/>
                  <a:pt x="5180327" y="1229587"/>
                </a:cubicBezTo>
                <a:cubicBezTo>
                  <a:pt x="5240834" y="1105980"/>
                  <a:pt x="5300909" y="977619"/>
                  <a:pt x="5354501" y="851851"/>
                </a:cubicBezTo>
                <a:cubicBezTo>
                  <a:pt x="5468599" y="573087"/>
                  <a:pt x="5542072" y="287840"/>
                  <a:pt x="5575783" y="1297"/>
                </a:cubicBezTo>
                <a:close/>
                <a:moveTo>
                  <a:pt x="5293994" y="1297"/>
                </a:moveTo>
                <a:lnTo>
                  <a:pt x="5307392" y="1297"/>
                </a:lnTo>
                <a:cubicBezTo>
                  <a:pt x="5277139" y="315069"/>
                  <a:pt x="5203665" y="624950"/>
                  <a:pt x="5083083" y="930511"/>
                </a:cubicBezTo>
                <a:cubicBezTo>
                  <a:pt x="5036406" y="1056710"/>
                  <a:pt x="4976332" y="1182478"/>
                  <a:pt x="4919283" y="1306517"/>
                </a:cubicBezTo>
                <a:cubicBezTo>
                  <a:pt x="4815557" y="1533851"/>
                  <a:pt x="4708806" y="1768963"/>
                  <a:pt x="4651756" y="2006668"/>
                </a:cubicBezTo>
                <a:cubicBezTo>
                  <a:pt x="4564885" y="2374031"/>
                  <a:pt x="4598597" y="2741827"/>
                  <a:pt x="4645273" y="3055599"/>
                </a:cubicBezTo>
                <a:cubicBezTo>
                  <a:pt x="4712262" y="3515884"/>
                  <a:pt x="4839328" y="4112741"/>
                  <a:pt x="5247749" y="4645633"/>
                </a:cubicBezTo>
                <a:cubicBezTo>
                  <a:pt x="5331595" y="4755410"/>
                  <a:pt x="5428405" y="4862594"/>
                  <a:pt x="5535589" y="4965888"/>
                </a:cubicBezTo>
                <a:cubicBezTo>
                  <a:pt x="5877020" y="5300404"/>
                  <a:pt x="6335575" y="5602075"/>
                  <a:pt x="6890942" y="5862254"/>
                </a:cubicBezTo>
                <a:cubicBezTo>
                  <a:pt x="7031838" y="5926218"/>
                  <a:pt x="7175758" y="5988023"/>
                  <a:pt x="7326160" y="6045935"/>
                </a:cubicBezTo>
                <a:cubicBezTo>
                  <a:pt x="7721184" y="6201092"/>
                  <a:pt x="8159427" y="6335072"/>
                  <a:pt x="8617983" y="6440527"/>
                </a:cubicBezTo>
                <a:cubicBezTo>
                  <a:pt x="8950770" y="6516161"/>
                  <a:pt x="9301711" y="6580989"/>
                  <a:pt x="9667345" y="6632852"/>
                </a:cubicBezTo>
                <a:lnTo>
                  <a:pt x="9667345" y="6642793"/>
                </a:lnTo>
                <a:cubicBezTo>
                  <a:pt x="9298685" y="6590498"/>
                  <a:pt x="8946016" y="6526101"/>
                  <a:pt x="8614525" y="6448739"/>
                </a:cubicBezTo>
                <a:cubicBezTo>
                  <a:pt x="8152944" y="6341123"/>
                  <a:pt x="7714269" y="6208872"/>
                  <a:pt x="7316220" y="6054147"/>
                </a:cubicBezTo>
                <a:cubicBezTo>
                  <a:pt x="7168842" y="5996234"/>
                  <a:pt x="7021464" y="5934431"/>
                  <a:pt x="6884460" y="5868305"/>
                </a:cubicBezTo>
                <a:cubicBezTo>
                  <a:pt x="6325635" y="5607693"/>
                  <a:pt x="5867512" y="5306455"/>
                  <a:pt x="5522623" y="4969778"/>
                </a:cubicBezTo>
                <a:cubicBezTo>
                  <a:pt x="5415440" y="4866483"/>
                  <a:pt x="5318629" y="4758867"/>
                  <a:pt x="5234783" y="4649523"/>
                </a:cubicBezTo>
                <a:cubicBezTo>
                  <a:pt x="4826361" y="4114469"/>
                  <a:pt x="4695840" y="3515884"/>
                  <a:pt x="4628850" y="3055167"/>
                </a:cubicBezTo>
                <a:cubicBezTo>
                  <a:pt x="4585198" y="2741395"/>
                  <a:pt x="4551920" y="2371870"/>
                  <a:pt x="4638790" y="2004076"/>
                </a:cubicBezTo>
                <a:cubicBezTo>
                  <a:pt x="4695407" y="1766370"/>
                  <a:pt x="4802591" y="1531258"/>
                  <a:pt x="4906318" y="1303924"/>
                </a:cubicBezTo>
                <a:cubicBezTo>
                  <a:pt x="4962934" y="1179885"/>
                  <a:pt x="5019984" y="1053685"/>
                  <a:pt x="5070118" y="927917"/>
                </a:cubicBezTo>
                <a:cubicBezTo>
                  <a:pt x="5190699" y="624518"/>
                  <a:pt x="5264173" y="312908"/>
                  <a:pt x="5293994" y="1297"/>
                </a:cubicBezTo>
                <a:close/>
                <a:moveTo>
                  <a:pt x="5150073" y="1297"/>
                </a:moveTo>
                <a:lnTo>
                  <a:pt x="5163472" y="1297"/>
                </a:lnTo>
                <a:cubicBezTo>
                  <a:pt x="5140133" y="327603"/>
                  <a:pt x="5066228" y="651747"/>
                  <a:pt x="4942621" y="969840"/>
                </a:cubicBezTo>
                <a:cubicBezTo>
                  <a:pt x="4895512" y="1096040"/>
                  <a:pt x="4838895" y="1221807"/>
                  <a:pt x="4781845" y="1343686"/>
                </a:cubicBezTo>
                <a:cubicBezTo>
                  <a:pt x="4681145" y="1572748"/>
                  <a:pt x="4574394" y="1810454"/>
                  <a:pt x="4517344" y="2049888"/>
                </a:cubicBezTo>
                <a:cubicBezTo>
                  <a:pt x="4433499" y="2417251"/>
                  <a:pt x="4470667" y="2786775"/>
                  <a:pt x="4517344" y="3098818"/>
                </a:cubicBezTo>
                <a:cubicBezTo>
                  <a:pt x="4587359" y="3559535"/>
                  <a:pt x="4721339" y="4155959"/>
                  <a:pt x="5136243" y="4691014"/>
                </a:cubicBezTo>
                <a:cubicBezTo>
                  <a:pt x="5220088" y="4800790"/>
                  <a:pt x="5316900" y="4907974"/>
                  <a:pt x="5424084" y="5011268"/>
                </a:cubicBezTo>
                <a:cubicBezTo>
                  <a:pt x="5768540" y="5343623"/>
                  <a:pt x="6230554" y="5645293"/>
                  <a:pt x="6789377" y="5905473"/>
                </a:cubicBezTo>
                <a:cubicBezTo>
                  <a:pt x="6930272" y="5971598"/>
                  <a:pt x="7074193" y="6033402"/>
                  <a:pt x="7224595" y="6091316"/>
                </a:cubicBezTo>
                <a:cubicBezTo>
                  <a:pt x="7623076" y="6248201"/>
                  <a:pt x="8057862" y="6380452"/>
                  <a:pt x="8519875" y="6487636"/>
                </a:cubicBezTo>
                <a:cubicBezTo>
                  <a:pt x="8879026" y="6571913"/>
                  <a:pt x="9262813" y="6643225"/>
                  <a:pt x="9666480" y="6699411"/>
                </a:cubicBezTo>
                <a:lnTo>
                  <a:pt x="9666480" y="6708918"/>
                </a:lnTo>
                <a:cubicBezTo>
                  <a:pt x="9261516" y="6651869"/>
                  <a:pt x="8875568" y="6580557"/>
                  <a:pt x="8513393" y="6495848"/>
                </a:cubicBezTo>
                <a:cubicBezTo>
                  <a:pt x="8051379" y="6388664"/>
                  <a:pt x="7616161" y="6254252"/>
                  <a:pt x="7218112" y="6099527"/>
                </a:cubicBezTo>
                <a:cubicBezTo>
                  <a:pt x="7067710" y="6039452"/>
                  <a:pt x="6920332" y="5977649"/>
                  <a:pt x="6779869" y="5911524"/>
                </a:cubicBezTo>
                <a:cubicBezTo>
                  <a:pt x="6221045" y="5651345"/>
                  <a:pt x="5759032" y="5349674"/>
                  <a:pt x="5411118" y="5015158"/>
                </a:cubicBezTo>
                <a:cubicBezTo>
                  <a:pt x="5303934" y="4911864"/>
                  <a:pt x="5207123" y="4804248"/>
                  <a:pt x="5123278" y="4694903"/>
                </a:cubicBezTo>
                <a:cubicBezTo>
                  <a:pt x="4708373" y="4157688"/>
                  <a:pt x="4574826" y="3561263"/>
                  <a:pt x="4504379" y="3100547"/>
                </a:cubicBezTo>
                <a:cubicBezTo>
                  <a:pt x="4457701" y="2786775"/>
                  <a:pt x="4420534" y="2416819"/>
                  <a:pt x="4504379" y="2047294"/>
                </a:cubicBezTo>
                <a:cubicBezTo>
                  <a:pt x="4561428" y="1807860"/>
                  <a:pt x="4668612" y="1570154"/>
                  <a:pt x="4768880" y="1341093"/>
                </a:cubicBezTo>
                <a:cubicBezTo>
                  <a:pt x="4825929" y="1219214"/>
                  <a:pt x="4882979" y="1093015"/>
                  <a:pt x="4929656" y="967246"/>
                </a:cubicBezTo>
                <a:cubicBezTo>
                  <a:pt x="5053263" y="649153"/>
                  <a:pt x="5127167" y="327170"/>
                  <a:pt x="5150073" y="1297"/>
                </a:cubicBezTo>
                <a:close/>
                <a:moveTo>
                  <a:pt x="5008747" y="1297"/>
                </a:moveTo>
                <a:lnTo>
                  <a:pt x="5022145" y="1297"/>
                </a:lnTo>
                <a:cubicBezTo>
                  <a:pt x="4998807" y="340136"/>
                  <a:pt x="4924902" y="676814"/>
                  <a:pt x="4801294" y="1009169"/>
                </a:cubicBezTo>
                <a:cubicBezTo>
                  <a:pt x="4754618" y="1132776"/>
                  <a:pt x="4697569" y="1258976"/>
                  <a:pt x="4643977" y="1378694"/>
                </a:cubicBezTo>
                <a:cubicBezTo>
                  <a:pt x="4543708" y="1612077"/>
                  <a:pt x="4439982" y="1851512"/>
                  <a:pt x="4386390" y="2093107"/>
                </a:cubicBezTo>
                <a:cubicBezTo>
                  <a:pt x="4302977" y="2462631"/>
                  <a:pt x="4343171" y="2832155"/>
                  <a:pt x="4389848" y="3144198"/>
                </a:cubicBezTo>
                <a:cubicBezTo>
                  <a:pt x="4463320" y="3604915"/>
                  <a:pt x="4600325" y="4201340"/>
                  <a:pt x="5022145" y="4736393"/>
                </a:cubicBezTo>
                <a:cubicBezTo>
                  <a:pt x="5109448" y="4846171"/>
                  <a:pt x="5206258" y="4953355"/>
                  <a:pt x="5313442" y="5056648"/>
                </a:cubicBezTo>
                <a:cubicBezTo>
                  <a:pt x="5661356" y="5386843"/>
                  <a:pt x="6122938" y="5686351"/>
                  <a:pt x="6688676" y="5948692"/>
                </a:cubicBezTo>
                <a:cubicBezTo>
                  <a:pt x="6829571" y="6014818"/>
                  <a:pt x="6973492" y="6076622"/>
                  <a:pt x="7123895" y="6136696"/>
                </a:cubicBezTo>
                <a:cubicBezTo>
                  <a:pt x="7522376" y="6293582"/>
                  <a:pt x="7960618" y="6427993"/>
                  <a:pt x="8419174" y="6537339"/>
                </a:cubicBezTo>
                <a:cubicBezTo>
                  <a:pt x="8805986" y="6628962"/>
                  <a:pt x="9224349" y="6706325"/>
                  <a:pt x="9666049" y="6767264"/>
                </a:cubicBezTo>
                <a:lnTo>
                  <a:pt x="9666049" y="6775908"/>
                </a:lnTo>
                <a:cubicBezTo>
                  <a:pt x="9222187" y="6714537"/>
                  <a:pt x="8802529" y="6637175"/>
                  <a:pt x="8412691" y="6545550"/>
                </a:cubicBezTo>
                <a:cubicBezTo>
                  <a:pt x="7954135" y="6436206"/>
                  <a:pt x="7515460" y="6299633"/>
                  <a:pt x="7117412" y="6142747"/>
                </a:cubicBezTo>
                <a:cubicBezTo>
                  <a:pt x="6967009" y="6084833"/>
                  <a:pt x="6819631" y="6023030"/>
                  <a:pt x="6679169" y="5956904"/>
                </a:cubicBezTo>
                <a:cubicBezTo>
                  <a:pt x="6113862" y="5692402"/>
                  <a:pt x="5651848" y="5392893"/>
                  <a:pt x="5303934" y="5060537"/>
                </a:cubicBezTo>
                <a:cubicBezTo>
                  <a:pt x="5193725" y="4957244"/>
                  <a:pt x="5096482" y="4849628"/>
                  <a:pt x="5009611" y="4740283"/>
                </a:cubicBezTo>
                <a:cubicBezTo>
                  <a:pt x="4588224" y="4203068"/>
                  <a:pt x="4450787" y="3606643"/>
                  <a:pt x="4377314" y="3145926"/>
                </a:cubicBezTo>
                <a:cubicBezTo>
                  <a:pt x="4327180" y="2831723"/>
                  <a:pt x="4290444" y="2462199"/>
                  <a:pt x="4370831" y="2090514"/>
                </a:cubicBezTo>
                <a:cubicBezTo>
                  <a:pt x="4424423" y="1848919"/>
                  <a:pt x="4531607" y="1609484"/>
                  <a:pt x="4631875" y="1376100"/>
                </a:cubicBezTo>
                <a:cubicBezTo>
                  <a:pt x="4685467" y="1256383"/>
                  <a:pt x="4742516" y="1130616"/>
                  <a:pt x="4789193" y="1006575"/>
                </a:cubicBezTo>
                <a:cubicBezTo>
                  <a:pt x="4912800" y="675949"/>
                  <a:pt x="4986705" y="339703"/>
                  <a:pt x="5008747" y="1297"/>
                </a:cubicBezTo>
                <a:close/>
                <a:moveTo>
                  <a:pt x="4865691" y="1297"/>
                </a:moveTo>
                <a:lnTo>
                  <a:pt x="4879089" y="1297"/>
                </a:lnTo>
                <a:cubicBezTo>
                  <a:pt x="4862666" y="352670"/>
                  <a:pt x="4788761" y="703609"/>
                  <a:pt x="4661697" y="1048499"/>
                </a:cubicBezTo>
                <a:cubicBezTo>
                  <a:pt x="4615020" y="1172538"/>
                  <a:pt x="4561428" y="1296577"/>
                  <a:pt x="4507836" y="1416295"/>
                </a:cubicBezTo>
                <a:cubicBezTo>
                  <a:pt x="4407567" y="1649678"/>
                  <a:pt x="4303842" y="1891273"/>
                  <a:pt x="4253707" y="2135030"/>
                </a:cubicBezTo>
                <a:cubicBezTo>
                  <a:pt x="4173320" y="2511036"/>
                  <a:pt x="4216971" y="2895255"/>
                  <a:pt x="4267105" y="3190442"/>
                </a:cubicBezTo>
                <a:cubicBezTo>
                  <a:pt x="4344036" y="3651159"/>
                  <a:pt x="4484930" y="4247584"/>
                  <a:pt x="4909775" y="4782638"/>
                </a:cubicBezTo>
                <a:cubicBezTo>
                  <a:pt x="4996645" y="4892416"/>
                  <a:pt x="5096914" y="4999599"/>
                  <a:pt x="5207555" y="5102893"/>
                </a:cubicBezTo>
                <a:cubicBezTo>
                  <a:pt x="5555470" y="5431358"/>
                  <a:pt x="6020509" y="5730435"/>
                  <a:pt x="6586247" y="5994937"/>
                </a:cubicBezTo>
                <a:cubicBezTo>
                  <a:pt x="6730168" y="6061062"/>
                  <a:pt x="6874087" y="6122866"/>
                  <a:pt x="7024491" y="6180779"/>
                </a:cubicBezTo>
                <a:cubicBezTo>
                  <a:pt x="7426430" y="6339826"/>
                  <a:pt x="7861214" y="6476399"/>
                  <a:pt x="8319770" y="6585744"/>
                </a:cubicBezTo>
                <a:cubicBezTo>
                  <a:pt x="8733378" y="6684284"/>
                  <a:pt x="9185883" y="6769425"/>
                  <a:pt x="9666913" y="6835982"/>
                </a:cubicBezTo>
                <a:lnTo>
                  <a:pt x="9666913" y="6844626"/>
                </a:lnTo>
                <a:cubicBezTo>
                  <a:pt x="9184585" y="6778069"/>
                  <a:pt x="8730784" y="6692928"/>
                  <a:pt x="8316312" y="6593955"/>
                </a:cubicBezTo>
                <a:cubicBezTo>
                  <a:pt x="7854731" y="6484179"/>
                  <a:pt x="7419514" y="6348038"/>
                  <a:pt x="7018008" y="6188992"/>
                </a:cubicBezTo>
                <a:cubicBezTo>
                  <a:pt x="6867604" y="6131078"/>
                  <a:pt x="6720226" y="6067113"/>
                  <a:pt x="6579764" y="6000988"/>
                </a:cubicBezTo>
                <a:cubicBezTo>
                  <a:pt x="6010567" y="5736486"/>
                  <a:pt x="5545529" y="5437409"/>
                  <a:pt x="5194157" y="5106782"/>
                </a:cubicBezTo>
                <a:cubicBezTo>
                  <a:pt x="5083948" y="5003488"/>
                  <a:pt x="4986705" y="4895872"/>
                  <a:pt x="4899835" y="4786528"/>
                </a:cubicBezTo>
                <a:cubicBezTo>
                  <a:pt x="4471532" y="4249313"/>
                  <a:pt x="4327612" y="3650727"/>
                  <a:pt x="4254139" y="3190010"/>
                </a:cubicBezTo>
                <a:cubicBezTo>
                  <a:pt x="4204005" y="2896552"/>
                  <a:pt x="4156895" y="2510604"/>
                  <a:pt x="4240741" y="2134598"/>
                </a:cubicBezTo>
                <a:cubicBezTo>
                  <a:pt x="4290876" y="1890841"/>
                  <a:pt x="4394601" y="1647084"/>
                  <a:pt x="4494870" y="1413701"/>
                </a:cubicBezTo>
                <a:cubicBezTo>
                  <a:pt x="4548030" y="1293552"/>
                  <a:pt x="4601622" y="1169945"/>
                  <a:pt x="4645273" y="1045906"/>
                </a:cubicBezTo>
                <a:cubicBezTo>
                  <a:pt x="4775796" y="701016"/>
                  <a:pt x="4849268" y="351805"/>
                  <a:pt x="4865691" y="1297"/>
                </a:cubicBezTo>
                <a:close/>
                <a:moveTo>
                  <a:pt x="4438253" y="1297"/>
                </a:moveTo>
                <a:lnTo>
                  <a:pt x="4451652" y="1297"/>
                </a:lnTo>
                <a:cubicBezTo>
                  <a:pt x="4441278" y="391567"/>
                  <a:pt x="4371263" y="779675"/>
                  <a:pt x="4237284" y="1163894"/>
                </a:cubicBezTo>
                <a:cubicBezTo>
                  <a:pt x="4194064" y="1285772"/>
                  <a:pt x="4143498" y="1407650"/>
                  <a:pt x="4096821" y="1525207"/>
                </a:cubicBezTo>
                <a:cubicBezTo>
                  <a:pt x="4000010" y="1765073"/>
                  <a:pt x="3899309" y="2014880"/>
                  <a:pt x="3852633" y="2264687"/>
                </a:cubicBezTo>
                <a:cubicBezTo>
                  <a:pt x="3782187" y="2644584"/>
                  <a:pt x="3832320" y="3030532"/>
                  <a:pt x="3889369" y="3323990"/>
                </a:cubicBezTo>
                <a:cubicBezTo>
                  <a:pt x="3972783" y="3784706"/>
                  <a:pt x="4130100" y="4381564"/>
                  <a:pt x="4575258" y="4918347"/>
                </a:cubicBezTo>
                <a:cubicBezTo>
                  <a:pt x="4665586" y="5027691"/>
                  <a:pt x="4766286" y="5135307"/>
                  <a:pt x="4879953" y="5236440"/>
                </a:cubicBezTo>
                <a:cubicBezTo>
                  <a:pt x="5231326" y="5560584"/>
                  <a:pt x="5706304" y="5860093"/>
                  <a:pt x="6285442" y="6126323"/>
                </a:cubicBezTo>
                <a:cubicBezTo>
                  <a:pt x="6425904" y="6192449"/>
                  <a:pt x="6573281" y="6256413"/>
                  <a:pt x="6723685" y="6314327"/>
                </a:cubicBezTo>
                <a:cubicBezTo>
                  <a:pt x="7128648" y="6475103"/>
                  <a:pt x="7566892" y="6615565"/>
                  <a:pt x="8021989" y="6729231"/>
                </a:cubicBezTo>
                <a:cubicBezTo>
                  <a:pt x="8202645" y="6774179"/>
                  <a:pt x="8391946" y="6816966"/>
                  <a:pt x="8590321" y="6858456"/>
                </a:cubicBezTo>
                <a:lnTo>
                  <a:pt x="8546671" y="6858456"/>
                </a:lnTo>
                <a:cubicBezTo>
                  <a:pt x="8362557" y="6819992"/>
                  <a:pt x="8186222" y="6779798"/>
                  <a:pt x="8018964" y="6737876"/>
                </a:cubicBezTo>
                <a:cubicBezTo>
                  <a:pt x="7560409" y="6624641"/>
                  <a:pt x="7122165" y="6484179"/>
                  <a:pt x="6717202" y="6322971"/>
                </a:cubicBezTo>
                <a:cubicBezTo>
                  <a:pt x="6566798" y="6262896"/>
                  <a:pt x="6419421" y="6198932"/>
                  <a:pt x="6275502" y="6134968"/>
                </a:cubicBezTo>
                <a:cubicBezTo>
                  <a:pt x="5696365" y="5866576"/>
                  <a:pt x="5221385" y="5564906"/>
                  <a:pt x="4866555" y="5242923"/>
                </a:cubicBezTo>
                <a:cubicBezTo>
                  <a:pt x="4752457" y="5139629"/>
                  <a:pt x="4652188" y="5032013"/>
                  <a:pt x="4561860" y="4922669"/>
                </a:cubicBezTo>
                <a:cubicBezTo>
                  <a:pt x="4117134" y="4383293"/>
                  <a:pt x="3959817" y="3784706"/>
                  <a:pt x="3875971" y="3326151"/>
                </a:cubicBezTo>
                <a:cubicBezTo>
                  <a:pt x="3819355" y="3030964"/>
                  <a:pt x="3765762" y="2644584"/>
                  <a:pt x="3839235" y="2262526"/>
                </a:cubicBezTo>
                <a:cubicBezTo>
                  <a:pt x="3885911" y="2012287"/>
                  <a:pt x="3986180" y="1764641"/>
                  <a:pt x="4083423" y="1523045"/>
                </a:cubicBezTo>
                <a:cubicBezTo>
                  <a:pt x="4130100" y="1405489"/>
                  <a:pt x="4180235" y="1283611"/>
                  <a:pt x="4223886" y="1161733"/>
                </a:cubicBezTo>
                <a:cubicBezTo>
                  <a:pt x="4357866" y="779675"/>
                  <a:pt x="4428313" y="391567"/>
                  <a:pt x="4438253" y="1297"/>
                </a:cubicBezTo>
                <a:close/>
                <a:moveTo>
                  <a:pt x="3715197" y="1297"/>
                </a:moveTo>
                <a:lnTo>
                  <a:pt x="3728595" y="1297"/>
                </a:lnTo>
                <a:cubicBezTo>
                  <a:pt x="3738534" y="453370"/>
                  <a:pt x="3671545" y="907604"/>
                  <a:pt x="3531083" y="1357948"/>
                </a:cubicBezTo>
                <a:cubicBezTo>
                  <a:pt x="3494347" y="1473776"/>
                  <a:pt x="3450694" y="1591332"/>
                  <a:pt x="3410501" y="1704998"/>
                </a:cubicBezTo>
                <a:cubicBezTo>
                  <a:pt x="3320173" y="1956967"/>
                  <a:pt x="3226388" y="2217146"/>
                  <a:pt x="3186194" y="2479486"/>
                </a:cubicBezTo>
                <a:cubicBezTo>
                  <a:pt x="3142542" y="2782886"/>
                  <a:pt x="3162423" y="3121725"/>
                  <a:pt x="3259665" y="3549162"/>
                </a:cubicBezTo>
                <a:cubicBezTo>
                  <a:pt x="3410070" y="4230297"/>
                  <a:pt x="3641292" y="4723861"/>
                  <a:pt x="4012544" y="5147409"/>
                </a:cubicBezTo>
                <a:cubicBezTo>
                  <a:pt x="4106330" y="5254592"/>
                  <a:pt x="4213513" y="5362207"/>
                  <a:pt x="4330638" y="5463341"/>
                </a:cubicBezTo>
                <a:cubicBezTo>
                  <a:pt x="4691950" y="5774951"/>
                  <a:pt x="5177302" y="6072299"/>
                  <a:pt x="5776320" y="6347174"/>
                </a:cubicBezTo>
                <a:cubicBezTo>
                  <a:pt x="5923697" y="6415028"/>
                  <a:pt x="6071074" y="6478992"/>
                  <a:pt x="6221478" y="6539067"/>
                </a:cubicBezTo>
                <a:cubicBezTo>
                  <a:pt x="6514504" y="6655326"/>
                  <a:pt x="6818767" y="6762510"/>
                  <a:pt x="7132106" y="6858889"/>
                </a:cubicBezTo>
                <a:lnTo>
                  <a:pt x="7102285" y="6858889"/>
                </a:lnTo>
                <a:cubicBezTo>
                  <a:pt x="6797589" y="6765103"/>
                  <a:pt x="6500242" y="6660513"/>
                  <a:pt x="6214995" y="6546414"/>
                </a:cubicBezTo>
                <a:cubicBezTo>
                  <a:pt x="6064159" y="6486339"/>
                  <a:pt x="5913757" y="6422375"/>
                  <a:pt x="5769837" y="6356249"/>
                </a:cubicBezTo>
                <a:cubicBezTo>
                  <a:pt x="5167361" y="6079214"/>
                  <a:pt x="4682010" y="5781866"/>
                  <a:pt x="4320697" y="5468095"/>
                </a:cubicBezTo>
                <a:cubicBezTo>
                  <a:pt x="4203573" y="5366962"/>
                  <a:pt x="4096821" y="5259346"/>
                  <a:pt x="3999578" y="5152162"/>
                </a:cubicBezTo>
                <a:cubicBezTo>
                  <a:pt x="3627894" y="4726885"/>
                  <a:pt x="3397102" y="4233322"/>
                  <a:pt x="3243243" y="3549594"/>
                </a:cubicBezTo>
                <a:cubicBezTo>
                  <a:pt x="3186194" y="3281203"/>
                  <a:pt x="3112721" y="2878400"/>
                  <a:pt x="3172796" y="2477758"/>
                </a:cubicBezTo>
                <a:cubicBezTo>
                  <a:pt x="3212988" y="2215417"/>
                  <a:pt x="3306775" y="1955237"/>
                  <a:pt x="3397102" y="1703270"/>
                </a:cubicBezTo>
                <a:cubicBezTo>
                  <a:pt x="3437296" y="1589603"/>
                  <a:pt x="3477491" y="1472047"/>
                  <a:pt x="3514226" y="1356220"/>
                </a:cubicBezTo>
                <a:cubicBezTo>
                  <a:pt x="3658147" y="908036"/>
                  <a:pt x="3725137" y="453370"/>
                  <a:pt x="3715197" y="1297"/>
                </a:cubicBezTo>
                <a:close/>
                <a:moveTo>
                  <a:pt x="3566955" y="1297"/>
                </a:moveTo>
                <a:lnTo>
                  <a:pt x="3583809" y="1297"/>
                </a:lnTo>
                <a:cubicBezTo>
                  <a:pt x="3593751" y="465903"/>
                  <a:pt x="3530218" y="932671"/>
                  <a:pt x="3386299" y="1395117"/>
                </a:cubicBezTo>
                <a:cubicBezTo>
                  <a:pt x="3353019" y="1510944"/>
                  <a:pt x="3312826" y="1628500"/>
                  <a:pt x="3272631" y="1740006"/>
                </a:cubicBezTo>
                <a:cubicBezTo>
                  <a:pt x="3182303" y="1994135"/>
                  <a:pt x="3091976" y="2258205"/>
                  <a:pt x="3055239" y="2520545"/>
                </a:cubicBezTo>
                <a:cubicBezTo>
                  <a:pt x="3011588" y="2826105"/>
                  <a:pt x="3034926" y="3167104"/>
                  <a:pt x="3132169" y="3592381"/>
                </a:cubicBezTo>
                <a:cubicBezTo>
                  <a:pt x="3228980" y="4015497"/>
                  <a:pt x="3413094" y="4643472"/>
                  <a:pt x="3898445" y="5192789"/>
                </a:cubicBezTo>
                <a:cubicBezTo>
                  <a:pt x="3995256" y="5299972"/>
                  <a:pt x="4102439" y="5407588"/>
                  <a:pt x="4223022" y="5508721"/>
                </a:cubicBezTo>
                <a:cubicBezTo>
                  <a:pt x="4587792" y="5822492"/>
                  <a:pt x="5063203" y="6111629"/>
                  <a:pt x="5675619" y="6392554"/>
                </a:cubicBezTo>
                <a:cubicBezTo>
                  <a:pt x="5822996" y="6458678"/>
                  <a:pt x="5973400" y="6522644"/>
                  <a:pt x="6120777" y="6584447"/>
                </a:cubicBezTo>
                <a:cubicBezTo>
                  <a:pt x="6369287" y="6682122"/>
                  <a:pt x="6624280" y="6773747"/>
                  <a:pt x="6884460" y="6858024"/>
                </a:cubicBezTo>
                <a:lnTo>
                  <a:pt x="6853343" y="6858024"/>
                </a:lnTo>
                <a:cubicBezTo>
                  <a:pt x="6600943" y="6775908"/>
                  <a:pt x="6353296" y="6686444"/>
                  <a:pt x="6113862" y="6590931"/>
                </a:cubicBezTo>
                <a:cubicBezTo>
                  <a:pt x="5963026" y="6531288"/>
                  <a:pt x="5812624" y="6467323"/>
                  <a:pt x="5665247" y="6399037"/>
                </a:cubicBezTo>
                <a:cubicBezTo>
                  <a:pt x="5052831" y="6118112"/>
                  <a:pt x="4577851" y="5828975"/>
                  <a:pt x="4209623" y="5513043"/>
                </a:cubicBezTo>
                <a:cubicBezTo>
                  <a:pt x="4092499" y="5411910"/>
                  <a:pt x="3982290" y="5304294"/>
                  <a:pt x="3888505" y="5197111"/>
                </a:cubicBezTo>
                <a:cubicBezTo>
                  <a:pt x="3399696" y="4645633"/>
                  <a:pt x="3216015" y="4018091"/>
                  <a:pt x="3118771" y="3594543"/>
                </a:cubicBezTo>
                <a:cubicBezTo>
                  <a:pt x="3021528" y="3168832"/>
                  <a:pt x="2994731" y="2826105"/>
                  <a:pt x="3038384" y="2520545"/>
                </a:cubicBezTo>
                <a:cubicBezTo>
                  <a:pt x="3078578" y="2256043"/>
                  <a:pt x="3168906" y="1994135"/>
                  <a:pt x="3259234" y="1737845"/>
                </a:cubicBezTo>
                <a:cubicBezTo>
                  <a:pt x="3295971" y="1626340"/>
                  <a:pt x="3339622" y="1510944"/>
                  <a:pt x="3372899" y="1395117"/>
                </a:cubicBezTo>
                <a:cubicBezTo>
                  <a:pt x="3516821" y="932671"/>
                  <a:pt x="3580353" y="465903"/>
                  <a:pt x="3566955" y="1297"/>
                </a:cubicBezTo>
                <a:close/>
                <a:moveTo>
                  <a:pt x="3423467" y="1297"/>
                </a:moveTo>
                <a:lnTo>
                  <a:pt x="3436865" y="1297"/>
                </a:lnTo>
                <a:cubicBezTo>
                  <a:pt x="3453720" y="478437"/>
                  <a:pt x="3390188" y="959467"/>
                  <a:pt x="3246268" y="1434446"/>
                </a:cubicBezTo>
                <a:cubicBezTo>
                  <a:pt x="3212557" y="1549842"/>
                  <a:pt x="3172364" y="1663508"/>
                  <a:pt x="3135627" y="1775013"/>
                </a:cubicBezTo>
                <a:cubicBezTo>
                  <a:pt x="3048324" y="2033033"/>
                  <a:pt x="2957995" y="2297534"/>
                  <a:pt x="2921258" y="2563764"/>
                </a:cubicBezTo>
                <a:cubicBezTo>
                  <a:pt x="2878041" y="2871485"/>
                  <a:pt x="2907861" y="3212484"/>
                  <a:pt x="3005104" y="3637761"/>
                </a:cubicBezTo>
                <a:cubicBezTo>
                  <a:pt x="3165880" y="4311116"/>
                  <a:pt x="3413525" y="4818942"/>
                  <a:pt x="3788238" y="5238168"/>
                </a:cubicBezTo>
                <a:cubicBezTo>
                  <a:pt x="3885047" y="5345352"/>
                  <a:pt x="3992231" y="5452968"/>
                  <a:pt x="4112813" y="5554101"/>
                </a:cubicBezTo>
                <a:cubicBezTo>
                  <a:pt x="4481040" y="5865712"/>
                  <a:pt x="4956451" y="6154848"/>
                  <a:pt x="5575351" y="6435773"/>
                </a:cubicBezTo>
                <a:cubicBezTo>
                  <a:pt x="5722728" y="6503627"/>
                  <a:pt x="5873131" y="6567592"/>
                  <a:pt x="6020509" y="6627666"/>
                </a:cubicBezTo>
                <a:cubicBezTo>
                  <a:pt x="6223206" y="6709783"/>
                  <a:pt x="6432387" y="6786281"/>
                  <a:pt x="6644161" y="6857592"/>
                </a:cubicBezTo>
                <a:lnTo>
                  <a:pt x="6615637" y="6857592"/>
                </a:lnTo>
                <a:cubicBezTo>
                  <a:pt x="6411209" y="6788009"/>
                  <a:pt x="6210240" y="6714537"/>
                  <a:pt x="6014025" y="6635877"/>
                </a:cubicBezTo>
                <a:cubicBezTo>
                  <a:pt x="5863191" y="6574074"/>
                  <a:pt x="5712788" y="6510110"/>
                  <a:pt x="5565410" y="6443985"/>
                </a:cubicBezTo>
                <a:cubicBezTo>
                  <a:pt x="4949536" y="6160899"/>
                  <a:pt x="4467642" y="5871762"/>
                  <a:pt x="4102871" y="5557991"/>
                </a:cubicBezTo>
                <a:cubicBezTo>
                  <a:pt x="3982290" y="5456858"/>
                  <a:pt x="3872082" y="5349242"/>
                  <a:pt x="3774838" y="5242058"/>
                </a:cubicBezTo>
                <a:cubicBezTo>
                  <a:pt x="3400127" y="4822832"/>
                  <a:pt x="3149025" y="4312846"/>
                  <a:pt x="2991707" y="3639491"/>
                </a:cubicBezTo>
                <a:cubicBezTo>
                  <a:pt x="2891006" y="3214213"/>
                  <a:pt x="2864210" y="2871485"/>
                  <a:pt x="2907861" y="2563764"/>
                </a:cubicBezTo>
                <a:cubicBezTo>
                  <a:pt x="2941572" y="2297534"/>
                  <a:pt x="3031900" y="2031303"/>
                  <a:pt x="3122227" y="1775013"/>
                </a:cubicBezTo>
                <a:cubicBezTo>
                  <a:pt x="3159398" y="1663508"/>
                  <a:pt x="3199590" y="1548113"/>
                  <a:pt x="3232870" y="1432286"/>
                </a:cubicBezTo>
                <a:cubicBezTo>
                  <a:pt x="3376790" y="957306"/>
                  <a:pt x="3440323" y="476276"/>
                  <a:pt x="3423467" y="1297"/>
                </a:cubicBezTo>
                <a:close/>
                <a:moveTo>
                  <a:pt x="3276521" y="1297"/>
                </a:moveTo>
                <a:lnTo>
                  <a:pt x="3293377" y="1297"/>
                </a:lnTo>
                <a:cubicBezTo>
                  <a:pt x="3313258" y="490971"/>
                  <a:pt x="3249726" y="984535"/>
                  <a:pt x="3105805" y="1473776"/>
                </a:cubicBezTo>
                <a:cubicBezTo>
                  <a:pt x="3072095" y="1587442"/>
                  <a:pt x="3035357" y="1701108"/>
                  <a:pt x="2998622" y="1812614"/>
                </a:cubicBezTo>
                <a:cubicBezTo>
                  <a:pt x="2911319" y="2071065"/>
                  <a:pt x="2820991" y="2339456"/>
                  <a:pt x="2787713" y="2607848"/>
                </a:cubicBezTo>
                <a:cubicBezTo>
                  <a:pt x="2747519" y="2917297"/>
                  <a:pt x="2777772" y="3258297"/>
                  <a:pt x="2881497" y="3683573"/>
                </a:cubicBezTo>
                <a:cubicBezTo>
                  <a:pt x="3042273" y="4356929"/>
                  <a:pt x="3296402" y="4864755"/>
                  <a:pt x="3674571" y="5283981"/>
                </a:cubicBezTo>
                <a:cubicBezTo>
                  <a:pt x="3771814" y="5391164"/>
                  <a:pt x="3882022" y="5498780"/>
                  <a:pt x="4002604" y="5599913"/>
                </a:cubicBezTo>
                <a:cubicBezTo>
                  <a:pt x="4370831" y="5909363"/>
                  <a:pt x="4852726" y="6196771"/>
                  <a:pt x="5471625" y="6481585"/>
                </a:cubicBezTo>
                <a:cubicBezTo>
                  <a:pt x="5619002" y="6547711"/>
                  <a:pt x="5769837" y="6611675"/>
                  <a:pt x="5920240" y="6673478"/>
                </a:cubicBezTo>
                <a:cubicBezTo>
                  <a:pt x="6081880" y="6737876"/>
                  <a:pt x="6244384" y="6799679"/>
                  <a:pt x="6409913" y="6858024"/>
                </a:cubicBezTo>
                <a:lnTo>
                  <a:pt x="6380956" y="6858024"/>
                </a:lnTo>
                <a:cubicBezTo>
                  <a:pt x="6222774" y="6801840"/>
                  <a:pt x="6066753" y="6742629"/>
                  <a:pt x="5913757" y="6679961"/>
                </a:cubicBezTo>
                <a:cubicBezTo>
                  <a:pt x="5762922" y="6620318"/>
                  <a:pt x="5612519" y="6556355"/>
                  <a:pt x="5465142" y="6488068"/>
                </a:cubicBezTo>
                <a:cubicBezTo>
                  <a:pt x="4842785" y="6203253"/>
                  <a:pt x="4360891" y="5916278"/>
                  <a:pt x="3992663" y="5604236"/>
                </a:cubicBezTo>
                <a:cubicBezTo>
                  <a:pt x="3872082" y="5503103"/>
                  <a:pt x="3761872" y="5395487"/>
                  <a:pt x="3664629" y="5288303"/>
                </a:cubicBezTo>
                <a:cubicBezTo>
                  <a:pt x="3283004" y="4869077"/>
                  <a:pt x="3028443" y="4359091"/>
                  <a:pt x="2864642" y="3685734"/>
                </a:cubicBezTo>
                <a:cubicBezTo>
                  <a:pt x="2764374" y="3260457"/>
                  <a:pt x="2734121" y="2917730"/>
                  <a:pt x="2774314" y="2605687"/>
                </a:cubicBezTo>
                <a:cubicBezTo>
                  <a:pt x="2807594" y="2336863"/>
                  <a:pt x="2897921" y="2068472"/>
                  <a:pt x="2981766" y="1810454"/>
                </a:cubicBezTo>
                <a:cubicBezTo>
                  <a:pt x="3018935" y="1698947"/>
                  <a:pt x="3059128" y="1585281"/>
                  <a:pt x="3092408" y="1471615"/>
                </a:cubicBezTo>
                <a:cubicBezTo>
                  <a:pt x="3236328" y="982373"/>
                  <a:pt x="3296402" y="488809"/>
                  <a:pt x="3276521" y="1297"/>
                </a:cubicBezTo>
                <a:close/>
                <a:moveTo>
                  <a:pt x="3132169" y="1297"/>
                </a:moveTo>
                <a:lnTo>
                  <a:pt x="3145566" y="1297"/>
                </a:lnTo>
                <a:cubicBezTo>
                  <a:pt x="3168906" y="501343"/>
                  <a:pt x="3108830" y="1009169"/>
                  <a:pt x="2964911" y="1513105"/>
                </a:cubicBezTo>
                <a:cubicBezTo>
                  <a:pt x="2931201" y="1624611"/>
                  <a:pt x="2894463" y="1738277"/>
                  <a:pt x="2857726" y="1845461"/>
                </a:cubicBezTo>
                <a:cubicBezTo>
                  <a:pt x="2774314" y="2107801"/>
                  <a:pt x="2687012" y="2378353"/>
                  <a:pt x="2653732" y="2651066"/>
                </a:cubicBezTo>
                <a:cubicBezTo>
                  <a:pt x="2616996" y="2960516"/>
                  <a:pt x="2650275" y="3303677"/>
                  <a:pt x="2754001" y="3728954"/>
                </a:cubicBezTo>
                <a:cubicBezTo>
                  <a:pt x="2921258" y="4400148"/>
                  <a:pt x="3179278" y="4910135"/>
                  <a:pt x="3563930" y="5329361"/>
                </a:cubicBezTo>
                <a:cubicBezTo>
                  <a:pt x="3661173" y="5436545"/>
                  <a:pt x="3774838" y="5544161"/>
                  <a:pt x="3895420" y="5643133"/>
                </a:cubicBezTo>
                <a:cubicBezTo>
                  <a:pt x="4263647" y="5950854"/>
                  <a:pt x="4745542" y="6239990"/>
                  <a:pt x="5371356" y="6524804"/>
                </a:cubicBezTo>
                <a:cubicBezTo>
                  <a:pt x="5518733" y="6593091"/>
                  <a:pt x="5672594" y="6657055"/>
                  <a:pt x="5819971" y="6718859"/>
                </a:cubicBezTo>
                <a:cubicBezTo>
                  <a:pt x="5940552" y="6766400"/>
                  <a:pt x="6061566" y="6813076"/>
                  <a:pt x="6183877" y="6858024"/>
                </a:cubicBezTo>
                <a:lnTo>
                  <a:pt x="6156648" y="6858024"/>
                </a:lnTo>
                <a:cubicBezTo>
                  <a:pt x="6040821" y="6815238"/>
                  <a:pt x="5925858" y="6771154"/>
                  <a:pt x="5813056" y="6725342"/>
                </a:cubicBezTo>
                <a:cubicBezTo>
                  <a:pt x="5662221" y="6665699"/>
                  <a:pt x="5511818" y="6599574"/>
                  <a:pt x="5364441" y="6531288"/>
                </a:cubicBezTo>
                <a:cubicBezTo>
                  <a:pt x="4735169" y="6246473"/>
                  <a:pt x="4253275" y="5957337"/>
                  <a:pt x="3882022" y="5649616"/>
                </a:cubicBezTo>
                <a:cubicBezTo>
                  <a:pt x="3761440" y="5548483"/>
                  <a:pt x="3650800" y="5443028"/>
                  <a:pt x="3550532" y="5333683"/>
                </a:cubicBezTo>
                <a:cubicBezTo>
                  <a:pt x="3165448" y="4912296"/>
                  <a:pt x="2907861" y="4404038"/>
                  <a:pt x="2740603" y="3728954"/>
                </a:cubicBezTo>
                <a:cubicBezTo>
                  <a:pt x="2633852" y="3303677"/>
                  <a:pt x="2603598" y="2960948"/>
                  <a:pt x="2640334" y="2648906"/>
                </a:cubicBezTo>
                <a:cubicBezTo>
                  <a:pt x="2673614" y="2378353"/>
                  <a:pt x="2760485" y="2105641"/>
                  <a:pt x="2844328" y="1845461"/>
                </a:cubicBezTo>
                <a:cubicBezTo>
                  <a:pt x="2881065" y="1736116"/>
                  <a:pt x="2917801" y="1622449"/>
                  <a:pt x="2948056" y="1510944"/>
                </a:cubicBezTo>
                <a:cubicBezTo>
                  <a:pt x="3095432" y="1007009"/>
                  <a:pt x="3155507" y="500911"/>
                  <a:pt x="3132169" y="1297"/>
                </a:cubicBezTo>
                <a:close/>
                <a:moveTo>
                  <a:pt x="1666605" y="1297"/>
                </a:moveTo>
                <a:lnTo>
                  <a:pt x="1680003" y="1297"/>
                </a:lnTo>
                <a:cubicBezTo>
                  <a:pt x="1680003" y="7348"/>
                  <a:pt x="1680003" y="13831"/>
                  <a:pt x="1680003" y="19882"/>
                </a:cubicBezTo>
                <a:cubicBezTo>
                  <a:pt x="1737053" y="624950"/>
                  <a:pt x="1693402" y="1256815"/>
                  <a:pt x="1549482" y="1899053"/>
                </a:cubicBezTo>
                <a:cubicBezTo>
                  <a:pt x="1529168" y="1995864"/>
                  <a:pt x="1505831" y="2093107"/>
                  <a:pt x="1482491" y="2186028"/>
                </a:cubicBezTo>
                <a:cubicBezTo>
                  <a:pt x="1408587" y="2477326"/>
                  <a:pt x="1335114" y="2778564"/>
                  <a:pt x="1321715" y="3078073"/>
                </a:cubicBezTo>
                <a:cubicBezTo>
                  <a:pt x="1308318" y="3402217"/>
                  <a:pt x="1365367" y="3761800"/>
                  <a:pt x="1495889" y="4176705"/>
                </a:cubicBezTo>
                <a:cubicBezTo>
                  <a:pt x="1706800" y="4847899"/>
                  <a:pt x="2008038" y="5360047"/>
                  <a:pt x="2439797" y="5785324"/>
                </a:cubicBezTo>
                <a:cubicBezTo>
                  <a:pt x="2550006" y="5892940"/>
                  <a:pt x="2670587" y="5996234"/>
                  <a:pt x="2801111" y="6095205"/>
                </a:cubicBezTo>
                <a:cubicBezTo>
                  <a:pt x="3137787" y="6352360"/>
                  <a:pt x="3550964" y="6591363"/>
                  <a:pt x="4120160" y="6858024"/>
                </a:cubicBezTo>
                <a:lnTo>
                  <a:pt x="4095092" y="6858024"/>
                </a:lnTo>
                <a:cubicBezTo>
                  <a:pt x="3533675" y="6593955"/>
                  <a:pt x="3123958" y="6356681"/>
                  <a:pt x="2790738" y="6101688"/>
                </a:cubicBezTo>
                <a:cubicBezTo>
                  <a:pt x="2660216" y="6002284"/>
                  <a:pt x="2536609" y="5896829"/>
                  <a:pt x="2425967" y="5789646"/>
                </a:cubicBezTo>
                <a:cubicBezTo>
                  <a:pt x="1994207" y="5364369"/>
                  <a:pt x="1693402" y="4852221"/>
                  <a:pt x="1479034" y="4178866"/>
                </a:cubicBezTo>
                <a:cubicBezTo>
                  <a:pt x="1348512" y="3763530"/>
                  <a:pt x="1294921" y="3404378"/>
                  <a:pt x="1308318" y="3078073"/>
                </a:cubicBezTo>
                <a:cubicBezTo>
                  <a:pt x="1321715" y="2776403"/>
                  <a:pt x="1395622" y="2475165"/>
                  <a:pt x="1469093" y="2183867"/>
                </a:cubicBezTo>
                <a:cubicBezTo>
                  <a:pt x="1489406" y="2090946"/>
                  <a:pt x="1512745" y="1994135"/>
                  <a:pt x="1536083" y="1899053"/>
                </a:cubicBezTo>
                <a:cubicBezTo>
                  <a:pt x="1680003" y="1256815"/>
                  <a:pt x="1723655" y="624950"/>
                  <a:pt x="1666605" y="19882"/>
                </a:cubicBezTo>
                <a:cubicBezTo>
                  <a:pt x="1666605" y="13831"/>
                  <a:pt x="1666605" y="7348"/>
                  <a:pt x="1666605" y="1297"/>
                </a:cubicBezTo>
                <a:close/>
                <a:moveTo>
                  <a:pt x="5716245" y="865"/>
                </a:moveTo>
                <a:lnTo>
                  <a:pt x="5729643" y="865"/>
                </a:lnTo>
                <a:cubicBezTo>
                  <a:pt x="5692906" y="275739"/>
                  <a:pt x="5619434" y="548452"/>
                  <a:pt x="5508793" y="814683"/>
                </a:cubicBezTo>
                <a:cubicBezTo>
                  <a:pt x="5455201" y="942611"/>
                  <a:pt x="5394694" y="1070541"/>
                  <a:pt x="5334619" y="1194580"/>
                </a:cubicBezTo>
                <a:cubicBezTo>
                  <a:pt x="5223979" y="1415429"/>
                  <a:pt x="5113769" y="1644491"/>
                  <a:pt x="5053695" y="1878739"/>
                </a:cubicBezTo>
                <a:cubicBezTo>
                  <a:pt x="4956451" y="2237891"/>
                  <a:pt x="4983248" y="2607416"/>
                  <a:pt x="5023441" y="2919458"/>
                </a:cubicBezTo>
                <a:cubicBezTo>
                  <a:pt x="5077033" y="3379743"/>
                  <a:pt x="5194157" y="3976600"/>
                  <a:pt x="5585723" y="4509493"/>
                </a:cubicBezTo>
                <a:cubicBezTo>
                  <a:pt x="5990687" y="5060537"/>
                  <a:pt x="6716769" y="5560584"/>
                  <a:pt x="7626966" y="5911524"/>
                </a:cubicBezTo>
                <a:cubicBezTo>
                  <a:pt x="8232035" y="6146204"/>
                  <a:pt x="8915763" y="6321675"/>
                  <a:pt x="9666913" y="6434908"/>
                </a:cubicBezTo>
                <a:lnTo>
                  <a:pt x="9666913" y="6443985"/>
                </a:lnTo>
                <a:cubicBezTo>
                  <a:pt x="8913170" y="6330750"/>
                  <a:pt x="8225552" y="6154848"/>
                  <a:pt x="7617025" y="5919736"/>
                </a:cubicBezTo>
                <a:cubicBezTo>
                  <a:pt x="7171868" y="5746426"/>
                  <a:pt x="6770362" y="5539838"/>
                  <a:pt x="6425472" y="5306455"/>
                </a:cubicBezTo>
                <a:cubicBezTo>
                  <a:pt x="6067617" y="5062699"/>
                  <a:pt x="5779778" y="4796468"/>
                  <a:pt x="5572325" y="4513383"/>
                </a:cubicBezTo>
                <a:cubicBezTo>
                  <a:pt x="5180759" y="3980490"/>
                  <a:pt x="5063635" y="3381904"/>
                  <a:pt x="5006586" y="2921188"/>
                </a:cubicBezTo>
                <a:cubicBezTo>
                  <a:pt x="4969849" y="2607416"/>
                  <a:pt x="4943053" y="2237459"/>
                  <a:pt x="5036839" y="1876146"/>
                </a:cubicBezTo>
                <a:cubicBezTo>
                  <a:pt x="5100372" y="1642763"/>
                  <a:pt x="5210581" y="1413269"/>
                  <a:pt x="5321221" y="1192419"/>
                </a:cubicBezTo>
                <a:cubicBezTo>
                  <a:pt x="5381728" y="1068812"/>
                  <a:pt x="5441803" y="940451"/>
                  <a:pt x="5495395" y="812521"/>
                </a:cubicBezTo>
                <a:cubicBezTo>
                  <a:pt x="5605604" y="545859"/>
                  <a:pt x="5679509" y="273579"/>
                  <a:pt x="5716245" y="865"/>
                </a:cubicBezTo>
                <a:close/>
                <a:moveTo>
                  <a:pt x="4726525" y="865"/>
                </a:moveTo>
                <a:lnTo>
                  <a:pt x="4739923" y="865"/>
                </a:lnTo>
                <a:cubicBezTo>
                  <a:pt x="4723068" y="366500"/>
                  <a:pt x="4649595" y="727812"/>
                  <a:pt x="4519073" y="1085235"/>
                </a:cubicBezTo>
                <a:cubicBezTo>
                  <a:pt x="4475422" y="1209274"/>
                  <a:pt x="4421830" y="1333313"/>
                  <a:pt x="4371695" y="1453030"/>
                </a:cubicBezTo>
                <a:cubicBezTo>
                  <a:pt x="4274453" y="1688575"/>
                  <a:pt x="4170726" y="1931899"/>
                  <a:pt x="4120592" y="2177816"/>
                </a:cubicBezTo>
                <a:cubicBezTo>
                  <a:pt x="4043230" y="2555552"/>
                  <a:pt x="4090338" y="2939771"/>
                  <a:pt x="4140473" y="3234958"/>
                </a:cubicBezTo>
                <a:cubicBezTo>
                  <a:pt x="4220429" y="3693514"/>
                  <a:pt x="4367806" y="4290372"/>
                  <a:pt x="4799566" y="4827154"/>
                </a:cubicBezTo>
                <a:cubicBezTo>
                  <a:pt x="4886436" y="4936498"/>
                  <a:pt x="4986705" y="5044114"/>
                  <a:pt x="5097346" y="5145247"/>
                </a:cubicBezTo>
                <a:cubicBezTo>
                  <a:pt x="5448718" y="5473714"/>
                  <a:pt x="5913757" y="5772791"/>
                  <a:pt x="6485979" y="6037292"/>
                </a:cubicBezTo>
                <a:cubicBezTo>
                  <a:pt x="6626441" y="6103417"/>
                  <a:pt x="6773819" y="6167382"/>
                  <a:pt x="6924221" y="6225295"/>
                </a:cubicBezTo>
                <a:cubicBezTo>
                  <a:pt x="7325729" y="6384342"/>
                  <a:pt x="7763970" y="6520482"/>
                  <a:pt x="8222527" y="6631988"/>
                </a:cubicBezTo>
                <a:cubicBezTo>
                  <a:pt x="8573466" y="6718427"/>
                  <a:pt x="8955524" y="6793628"/>
                  <a:pt x="9362217" y="6858024"/>
                </a:cubicBezTo>
                <a:lnTo>
                  <a:pt x="9306465" y="6858024"/>
                </a:lnTo>
                <a:cubicBezTo>
                  <a:pt x="8917924" y="6795789"/>
                  <a:pt x="8552290" y="6723181"/>
                  <a:pt x="8216044" y="6640632"/>
                </a:cubicBezTo>
                <a:cubicBezTo>
                  <a:pt x="7757921" y="6529127"/>
                  <a:pt x="7319246" y="6392986"/>
                  <a:pt x="6917738" y="6233939"/>
                </a:cubicBezTo>
                <a:cubicBezTo>
                  <a:pt x="6767336" y="6173865"/>
                  <a:pt x="6619958" y="6112061"/>
                  <a:pt x="6479496" y="6045935"/>
                </a:cubicBezTo>
                <a:cubicBezTo>
                  <a:pt x="5903817" y="5779706"/>
                  <a:pt x="5435320" y="5478035"/>
                  <a:pt x="5083948" y="5151730"/>
                </a:cubicBezTo>
                <a:cubicBezTo>
                  <a:pt x="4973739" y="5048437"/>
                  <a:pt x="4873038" y="4940821"/>
                  <a:pt x="4786168" y="4831476"/>
                </a:cubicBezTo>
                <a:cubicBezTo>
                  <a:pt x="4354840" y="4294261"/>
                  <a:pt x="4207463" y="3695676"/>
                  <a:pt x="4127075" y="3234958"/>
                </a:cubicBezTo>
                <a:cubicBezTo>
                  <a:pt x="4076940" y="2939771"/>
                  <a:pt x="4026807" y="2553824"/>
                  <a:pt x="4107194" y="2177816"/>
                </a:cubicBezTo>
                <a:cubicBezTo>
                  <a:pt x="4157329" y="1930170"/>
                  <a:pt x="4261054" y="1686415"/>
                  <a:pt x="4358298" y="1450869"/>
                </a:cubicBezTo>
                <a:cubicBezTo>
                  <a:pt x="4408432" y="1330721"/>
                  <a:pt x="4462023" y="1207113"/>
                  <a:pt x="4505676" y="1083075"/>
                </a:cubicBezTo>
                <a:cubicBezTo>
                  <a:pt x="4636198" y="727812"/>
                  <a:pt x="4709670" y="364338"/>
                  <a:pt x="4726525" y="865"/>
                </a:cubicBezTo>
                <a:close/>
                <a:moveTo>
                  <a:pt x="4581741" y="865"/>
                </a:moveTo>
                <a:lnTo>
                  <a:pt x="4595139" y="865"/>
                </a:lnTo>
                <a:cubicBezTo>
                  <a:pt x="4581741" y="378601"/>
                  <a:pt x="4511725" y="754608"/>
                  <a:pt x="4377746" y="1124132"/>
                </a:cubicBezTo>
                <a:cubicBezTo>
                  <a:pt x="4334094" y="1246011"/>
                  <a:pt x="4283961" y="1370050"/>
                  <a:pt x="4233826" y="1489767"/>
                </a:cubicBezTo>
                <a:cubicBezTo>
                  <a:pt x="4136583" y="1727473"/>
                  <a:pt x="4036314" y="1973390"/>
                  <a:pt x="3986180" y="2221036"/>
                </a:cubicBezTo>
                <a:cubicBezTo>
                  <a:pt x="3912708" y="2598772"/>
                  <a:pt x="3962841" y="2984720"/>
                  <a:pt x="4012976" y="3278178"/>
                </a:cubicBezTo>
                <a:cubicBezTo>
                  <a:pt x="4096389" y="3738894"/>
                  <a:pt x="4247224" y="4335752"/>
                  <a:pt x="4685467" y="4872534"/>
                </a:cubicBezTo>
                <a:cubicBezTo>
                  <a:pt x="4775796" y="4981879"/>
                  <a:pt x="4876064" y="5089495"/>
                  <a:pt x="4986705" y="5190628"/>
                </a:cubicBezTo>
                <a:cubicBezTo>
                  <a:pt x="5341534" y="5516933"/>
                  <a:pt x="5810031" y="5816441"/>
                  <a:pt x="6385711" y="6082672"/>
                </a:cubicBezTo>
                <a:cubicBezTo>
                  <a:pt x="6526173" y="6148797"/>
                  <a:pt x="6673550" y="6210601"/>
                  <a:pt x="6823953" y="6270675"/>
                </a:cubicBezTo>
                <a:cubicBezTo>
                  <a:pt x="7228916" y="6429723"/>
                  <a:pt x="7663702" y="6568024"/>
                  <a:pt x="8122259" y="6681690"/>
                </a:cubicBezTo>
                <a:cubicBezTo>
                  <a:pt x="8381573" y="6745655"/>
                  <a:pt x="8658608" y="6804432"/>
                  <a:pt x="8951634" y="6858456"/>
                </a:cubicBezTo>
                <a:lnTo>
                  <a:pt x="8900205" y="6858456"/>
                </a:lnTo>
                <a:cubicBezTo>
                  <a:pt x="8623169" y="6807459"/>
                  <a:pt x="8360829" y="6751273"/>
                  <a:pt x="8115776" y="6690766"/>
                </a:cubicBezTo>
                <a:cubicBezTo>
                  <a:pt x="7657652" y="6577100"/>
                  <a:pt x="7222433" y="6438798"/>
                  <a:pt x="6817470" y="6277591"/>
                </a:cubicBezTo>
                <a:cubicBezTo>
                  <a:pt x="6667067" y="6219676"/>
                  <a:pt x="6519690" y="6155712"/>
                  <a:pt x="6375770" y="6089588"/>
                </a:cubicBezTo>
                <a:cubicBezTo>
                  <a:pt x="5800090" y="5823356"/>
                  <a:pt x="5328136" y="5521687"/>
                  <a:pt x="4976765" y="5197543"/>
                </a:cubicBezTo>
                <a:cubicBezTo>
                  <a:pt x="4863098" y="5094249"/>
                  <a:pt x="4762397" y="4986633"/>
                  <a:pt x="4675527" y="4877289"/>
                </a:cubicBezTo>
                <a:cubicBezTo>
                  <a:pt x="4233826" y="4337913"/>
                  <a:pt x="4083423" y="3741488"/>
                  <a:pt x="3999578" y="3280771"/>
                </a:cubicBezTo>
                <a:cubicBezTo>
                  <a:pt x="3945986" y="2985584"/>
                  <a:pt x="3895852" y="2599204"/>
                  <a:pt x="3972783" y="2219307"/>
                </a:cubicBezTo>
                <a:cubicBezTo>
                  <a:pt x="4022916" y="1971229"/>
                  <a:pt x="4123185" y="1725312"/>
                  <a:pt x="4220429" y="1488038"/>
                </a:cubicBezTo>
                <a:cubicBezTo>
                  <a:pt x="4270562" y="1368320"/>
                  <a:pt x="4320697" y="1244281"/>
                  <a:pt x="4364348" y="1122404"/>
                </a:cubicBezTo>
                <a:cubicBezTo>
                  <a:pt x="4494870" y="752447"/>
                  <a:pt x="4568343" y="376872"/>
                  <a:pt x="4581741" y="865"/>
                </a:cubicBezTo>
                <a:close/>
                <a:moveTo>
                  <a:pt x="4293901" y="865"/>
                </a:moveTo>
                <a:lnTo>
                  <a:pt x="4307299" y="865"/>
                </a:lnTo>
                <a:cubicBezTo>
                  <a:pt x="4300384" y="403668"/>
                  <a:pt x="4230369" y="806471"/>
                  <a:pt x="4096389" y="1202791"/>
                </a:cubicBezTo>
                <a:cubicBezTo>
                  <a:pt x="4053170" y="1322508"/>
                  <a:pt x="4006061" y="1444386"/>
                  <a:pt x="3959384" y="1561942"/>
                </a:cubicBezTo>
                <a:cubicBezTo>
                  <a:pt x="3865599" y="1803538"/>
                  <a:pt x="3765330" y="2053345"/>
                  <a:pt x="3721679" y="2305314"/>
                </a:cubicBezTo>
                <a:cubicBezTo>
                  <a:pt x="3648207" y="2689532"/>
                  <a:pt x="3704824" y="3075480"/>
                  <a:pt x="3761872" y="3368937"/>
                </a:cubicBezTo>
                <a:cubicBezTo>
                  <a:pt x="3895420" y="4050505"/>
                  <a:pt x="4109787" y="4544068"/>
                  <a:pt x="4461159" y="4965455"/>
                </a:cubicBezTo>
                <a:cubicBezTo>
                  <a:pt x="4551488" y="5072639"/>
                  <a:pt x="4655214" y="5180255"/>
                  <a:pt x="4768880" y="5281388"/>
                </a:cubicBezTo>
                <a:cubicBezTo>
                  <a:pt x="5123710" y="5603372"/>
                  <a:pt x="5599121" y="5900719"/>
                  <a:pt x="6181283" y="6171271"/>
                </a:cubicBezTo>
                <a:cubicBezTo>
                  <a:pt x="6325203" y="6237397"/>
                  <a:pt x="6472580" y="6299201"/>
                  <a:pt x="6622984" y="6359275"/>
                </a:cubicBezTo>
                <a:cubicBezTo>
                  <a:pt x="7030974" y="6520050"/>
                  <a:pt x="7466191" y="6660513"/>
                  <a:pt x="7921289" y="6776340"/>
                </a:cubicBezTo>
                <a:cubicBezTo>
                  <a:pt x="8031066" y="6804865"/>
                  <a:pt x="8143003" y="6831661"/>
                  <a:pt x="8257533" y="6857592"/>
                </a:cubicBezTo>
                <a:lnTo>
                  <a:pt x="8219501" y="6857592"/>
                </a:lnTo>
                <a:cubicBezTo>
                  <a:pt x="8116640" y="6833822"/>
                  <a:pt x="8015939" y="6809619"/>
                  <a:pt x="7917399" y="6784552"/>
                </a:cubicBezTo>
                <a:cubicBezTo>
                  <a:pt x="7458844" y="6669157"/>
                  <a:pt x="7024058" y="6528695"/>
                  <a:pt x="6615637" y="6367487"/>
                </a:cubicBezTo>
                <a:cubicBezTo>
                  <a:pt x="6465233" y="6307412"/>
                  <a:pt x="6317856" y="6243448"/>
                  <a:pt x="6173937" y="6177322"/>
                </a:cubicBezTo>
                <a:cubicBezTo>
                  <a:pt x="5588317" y="5906770"/>
                  <a:pt x="5113337" y="5607693"/>
                  <a:pt x="4755050" y="5287439"/>
                </a:cubicBezTo>
                <a:cubicBezTo>
                  <a:pt x="4644841" y="5184144"/>
                  <a:pt x="4541115" y="5076528"/>
                  <a:pt x="4447329" y="4967184"/>
                </a:cubicBezTo>
                <a:cubicBezTo>
                  <a:pt x="4095957" y="4546229"/>
                  <a:pt x="3882022" y="4052666"/>
                  <a:pt x="3748043" y="3368937"/>
                </a:cubicBezTo>
                <a:cubicBezTo>
                  <a:pt x="3690994" y="3075480"/>
                  <a:pt x="3633944" y="2689532"/>
                  <a:pt x="3704392" y="2305314"/>
                </a:cubicBezTo>
                <a:cubicBezTo>
                  <a:pt x="3751501" y="2053345"/>
                  <a:pt x="3848311" y="1801378"/>
                  <a:pt x="3945554" y="1559782"/>
                </a:cubicBezTo>
                <a:cubicBezTo>
                  <a:pt x="3992663" y="1442226"/>
                  <a:pt x="4039340" y="1320347"/>
                  <a:pt x="4079533" y="1200631"/>
                </a:cubicBezTo>
                <a:cubicBezTo>
                  <a:pt x="4216971" y="804310"/>
                  <a:pt x="4287418" y="403668"/>
                  <a:pt x="4293901" y="865"/>
                </a:cubicBezTo>
                <a:close/>
                <a:moveTo>
                  <a:pt x="3858684" y="865"/>
                </a:moveTo>
                <a:lnTo>
                  <a:pt x="3872082" y="865"/>
                </a:lnTo>
                <a:cubicBezTo>
                  <a:pt x="3878564" y="440836"/>
                  <a:pt x="3811575" y="882969"/>
                  <a:pt x="3671113" y="1318619"/>
                </a:cubicBezTo>
                <a:cubicBezTo>
                  <a:pt x="3631351" y="1436175"/>
                  <a:pt x="3591157" y="1553731"/>
                  <a:pt x="3547506" y="1669558"/>
                </a:cubicBezTo>
                <a:cubicBezTo>
                  <a:pt x="3456745" y="1919366"/>
                  <a:pt x="3363393" y="2175656"/>
                  <a:pt x="3319740" y="2435835"/>
                </a:cubicBezTo>
                <a:cubicBezTo>
                  <a:pt x="3272631" y="2741395"/>
                  <a:pt x="3292945" y="3071590"/>
                  <a:pt x="3383272" y="3503350"/>
                </a:cubicBezTo>
                <a:cubicBezTo>
                  <a:pt x="3530650" y="4184484"/>
                  <a:pt x="3757983" y="4678048"/>
                  <a:pt x="4126211" y="5101596"/>
                </a:cubicBezTo>
                <a:cubicBezTo>
                  <a:pt x="4219996" y="5208780"/>
                  <a:pt x="4323722" y="5316396"/>
                  <a:pt x="4440846" y="5417529"/>
                </a:cubicBezTo>
                <a:cubicBezTo>
                  <a:pt x="4799134" y="5731300"/>
                  <a:pt x="5284053" y="6030809"/>
                  <a:pt x="5876588" y="6303522"/>
                </a:cubicBezTo>
                <a:cubicBezTo>
                  <a:pt x="6023965" y="6369648"/>
                  <a:pt x="6171343" y="6433612"/>
                  <a:pt x="6321746" y="6493687"/>
                </a:cubicBezTo>
                <a:cubicBezTo>
                  <a:pt x="6662314" y="6630260"/>
                  <a:pt x="7021033" y="6753003"/>
                  <a:pt x="7390557" y="6857592"/>
                </a:cubicBezTo>
                <a:lnTo>
                  <a:pt x="7359439" y="6857592"/>
                </a:lnTo>
                <a:cubicBezTo>
                  <a:pt x="6997262" y="6753867"/>
                  <a:pt x="6647187" y="6635445"/>
                  <a:pt x="6314831" y="6501898"/>
                </a:cubicBezTo>
                <a:cubicBezTo>
                  <a:pt x="6163995" y="6442256"/>
                  <a:pt x="6013593" y="6378291"/>
                  <a:pt x="5869673" y="6310005"/>
                </a:cubicBezTo>
                <a:cubicBezTo>
                  <a:pt x="5274112" y="6037292"/>
                  <a:pt x="4788761" y="5737783"/>
                  <a:pt x="4427449" y="5421850"/>
                </a:cubicBezTo>
                <a:cubicBezTo>
                  <a:pt x="4313782" y="5320717"/>
                  <a:pt x="4206598" y="5213101"/>
                  <a:pt x="4112813" y="5105917"/>
                </a:cubicBezTo>
                <a:cubicBezTo>
                  <a:pt x="3744585" y="4682803"/>
                  <a:pt x="3517253" y="4189238"/>
                  <a:pt x="3369875" y="3505511"/>
                </a:cubicBezTo>
                <a:cubicBezTo>
                  <a:pt x="3276089" y="3071590"/>
                  <a:pt x="3259665" y="2741395"/>
                  <a:pt x="3306342" y="2433674"/>
                </a:cubicBezTo>
                <a:cubicBezTo>
                  <a:pt x="3346536" y="2175224"/>
                  <a:pt x="3443780" y="1917204"/>
                  <a:pt x="3534108" y="1667398"/>
                </a:cubicBezTo>
                <a:cubicBezTo>
                  <a:pt x="3573869" y="1552002"/>
                  <a:pt x="3617522" y="1434014"/>
                  <a:pt x="3657715" y="1316458"/>
                </a:cubicBezTo>
                <a:cubicBezTo>
                  <a:pt x="3798609" y="880808"/>
                  <a:pt x="3865167" y="440836"/>
                  <a:pt x="3858684" y="865"/>
                </a:cubicBezTo>
                <a:close/>
                <a:moveTo>
                  <a:pt x="2985225" y="865"/>
                </a:moveTo>
                <a:lnTo>
                  <a:pt x="2998622" y="865"/>
                </a:lnTo>
                <a:cubicBezTo>
                  <a:pt x="3028875" y="513013"/>
                  <a:pt x="2968801" y="1033372"/>
                  <a:pt x="2821423" y="1551570"/>
                </a:cubicBezTo>
                <a:cubicBezTo>
                  <a:pt x="2791602" y="1661347"/>
                  <a:pt x="2757890" y="1772853"/>
                  <a:pt x="2721154" y="1880037"/>
                </a:cubicBezTo>
                <a:cubicBezTo>
                  <a:pt x="2637310" y="2144538"/>
                  <a:pt x="2553464" y="2418979"/>
                  <a:pt x="2520184" y="2691693"/>
                </a:cubicBezTo>
                <a:cubicBezTo>
                  <a:pt x="2486906" y="3005464"/>
                  <a:pt x="2520184" y="3348193"/>
                  <a:pt x="2627369" y="3771741"/>
                </a:cubicBezTo>
                <a:cubicBezTo>
                  <a:pt x="2801543" y="4445097"/>
                  <a:pt x="3062587" y="4955083"/>
                  <a:pt x="3450694" y="5374309"/>
                </a:cubicBezTo>
                <a:cubicBezTo>
                  <a:pt x="3550964" y="5481493"/>
                  <a:pt x="3664629" y="5589109"/>
                  <a:pt x="3785211" y="5688081"/>
                </a:cubicBezTo>
                <a:cubicBezTo>
                  <a:pt x="4153439" y="5994072"/>
                  <a:pt x="4641816" y="6283209"/>
                  <a:pt x="5271088" y="6568024"/>
                </a:cubicBezTo>
                <a:cubicBezTo>
                  <a:pt x="5418033" y="6636310"/>
                  <a:pt x="5572325" y="6702003"/>
                  <a:pt x="5722728" y="6762078"/>
                </a:cubicBezTo>
                <a:cubicBezTo>
                  <a:pt x="5802252" y="6794493"/>
                  <a:pt x="5882639" y="6826475"/>
                  <a:pt x="5963890" y="6858024"/>
                </a:cubicBezTo>
                <a:lnTo>
                  <a:pt x="5935798" y="6858024"/>
                </a:lnTo>
                <a:cubicBezTo>
                  <a:pt x="5861029" y="6829499"/>
                  <a:pt x="5787125" y="6800544"/>
                  <a:pt x="5712788" y="6770722"/>
                </a:cubicBezTo>
                <a:cubicBezTo>
                  <a:pt x="5562385" y="6708918"/>
                  <a:pt x="5411550" y="6644955"/>
                  <a:pt x="5261147" y="6576668"/>
                </a:cubicBezTo>
                <a:cubicBezTo>
                  <a:pt x="4631875" y="6289692"/>
                  <a:pt x="4143498" y="6000555"/>
                  <a:pt x="3775272" y="5694996"/>
                </a:cubicBezTo>
                <a:cubicBezTo>
                  <a:pt x="3651663" y="5593862"/>
                  <a:pt x="3537566" y="5488408"/>
                  <a:pt x="3437296" y="5379064"/>
                </a:cubicBezTo>
                <a:cubicBezTo>
                  <a:pt x="3049189" y="4957676"/>
                  <a:pt x="2788145" y="4447689"/>
                  <a:pt x="2613972" y="3774334"/>
                </a:cubicBezTo>
                <a:cubicBezTo>
                  <a:pt x="2506787" y="3348625"/>
                  <a:pt x="2473508" y="3005897"/>
                  <a:pt x="2506787" y="2692125"/>
                </a:cubicBezTo>
                <a:cubicBezTo>
                  <a:pt x="2537042" y="2417251"/>
                  <a:pt x="2623912" y="2144538"/>
                  <a:pt x="2707756" y="1878307"/>
                </a:cubicBezTo>
                <a:cubicBezTo>
                  <a:pt x="2741035" y="1770692"/>
                  <a:pt x="2777772" y="1659186"/>
                  <a:pt x="2808025" y="1549842"/>
                </a:cubicBezTo>
                <a:cubicBezTo>
                  <a:pt x="2954970" y="1031211"/>
                  <a:pt x="3012020" y="513013"/>
                  <a:pt x="2985225" y="865"/>
                </a:cubicBezTo>
                <a:close/>
                <a:moveTo>
                  <a:pt x="2838710" y="865"/>
                </a:moveTo>
                <a:lnTo>
                  <a:pt x="2855567" y="865"/>
                </a:lnTo>
                <a:cubicBezTo>
                  <a:pt x="2885387" y="525114"/>
                  <a:pt x="2828770" y="1058007"/>
                  <a:pt x="2681392" y="1588739"/>
                </a:cubicBezTo>
                <a:cubicBezTo>
                  <a:pt x="2651139" y="1698083"/>
                  <a:pt x="2617428" y="1807860"/>
                  <a:pt x="2584149" y="1915044"/>
                </a:cubicBezTo>
                <a:cubicBezTo>
                  <a:pt x="2503762" y="2181274"/>
                  <a:pt x="2416891" y="2458309"/>
                  <a:pt x="2390096" y="2734912"/>
                </a:cubicBezTo>
                <a:cubicBezTo>
                  <a:pt x="2356383" y="3050844"/>
                  <a:pt x="2393120" y="3393572"/>
                  <a:pt x="2503762" y="3817122"/>
                </a:cubicBezTo>
                <a:cubicBezTo>
                  <a:pt x="2677936" y="4490477"/>
                  <a:pt x="2945462" y="4998302"/>
                  <a:pt x="3340485" y="5419690"/>
                </a:cubicBezTo>
                <a:cubicBezTo>
                  <a:pt x="3440755" y="5526873"/>
                  <a:pt x="3554421" y="5634489"/>
                  <a:pt x="3675002" y="5733461"/>
                </a:cubicBezTo>
                <a:cubicBezTo>
                  <a:pt x="4046255" y="6037292"/>
                  <a:pt x="4535064" y="6324267"/>
                  <a:pt x="5170819" y="6613403"/>
                </a:cubicBezTo>
                <a:cubicBezTo>
                  <a:pt x="5317764" y="6681690"/>
                  <a:pt x="5472057" y="6745655"/>
                  <a:pt x="5622459" y="6807459"/>
                </a:cubicBezTo>
                <a:cubicBezTo>
                  <a:pt x="5663518" y="6824314"/>
                  <a:pt x="5705440" y="6841169"/>
                  <a:pt x="5747363" y="6858024"/>
                </a:cubicBezTo>
                <a:lnTo>
                  <a:pt x="5722728" y="6858024"/>
                </a:lnTo>
                <a:cubicBezTo>
                  <a:pt x="5685992" y="6843330"/>
                  <a:pt x="5649256" y="6828635"/>
                  <a:pt x="5612519" y="6813941"/>
                </a:cubicBezTo>
                <a:cubicBezTo>
                  <a:pt x="5462117" y="6754299"/>
                  <a:pt x="5311281" y="6688173"/>
                  <a:pt x="5160879" y="6619886"/>
                </a:cubicBezTo>
                <a:cubicBezTo>
                  <a:pt x="4525124" y="6330750"/>
                  <a:pt x="4036314" y="6043343"/>
                  <a:pt x="3665063" y="5739943"/>
                </a:cubicBezTo>
                <a:cubicBezTo>
                  <a:pt x="3541456" y="5638810"/>
                  <a:pt x="3427357" y="5533356"/>
                  <a:pt x="3327087" y="5424011"/>
                </a:cubicBezTo>
                <a:cubicBezTo>
                  <a:pt x="2932064" y="5002624"/>
                  <a:pt x="2664538" y="4492638"/>
                  <a:pt x="2490364" y="3819282"/>
                </a:cubicBezTo>
                <a:cubicBezTo>
                  <a:pt x="2376698" y="3393572"/>
                  <a:pt x="2342986" y="3050844"/>
                  <a:pt x="2373240" y="2734912"/>
                </a:cubicBezTo>
                <a:cubicBezTo>
                  <a:pt x="2403493" y="2457877"/>
                  <a:pt x="2490364" y="2181274"/>
                  <a:pt x="2570751" y="1912883"/>
                </a:cubicBezTo>
                <a:cubicBezTo>
                  <a:pt x="2604462" y="1807428"/>
                  <a:pt x="2637742" y="1695923"/>
                  <a:pt x="2667995" y="1588739"/>
                </a:cubicBezTo>
                <a:cubicBezTo>
                  <a:pt x="2815373" y="1056278"/>
                  <a:pt x="2871989" y="523385"/>
                  <a:pt x="2838710" y="865"/>
                </a:cubicBezTo>
                <a:close/>
                <a:moveTo>
                  <a:pt x="2693495" y="865"/>
                </a:moveTo>
                <a:lnTo>
                  <a:pt x="2706893" y="865"/>
                </a:lnTo>
                <a:cubicBezTo>
                  <a:pt x="2740603" y="535486"/>
                  <a:pt x="2687012" y="1083075"/>
                  <a:pt x="2539633" y="1628068"/>
                </a:cubicBezTo>
                <a:cubicBezTo>
                  <a:pt x="2509381" y="1735252"/>
                  <a:pt x="2476102" y="1844596"/>
                  <a:pt x="2445847" y="1950052"/>
                </a:cubicBezTo>
                <a:cubicBezTo>
                  <a:pt x="2365893" y="2218443"/>
                  <a:pt x="2282048" y="2499368"/>
                  <a:pt x="2255252" y="2778131"/>
                </a:cubicBezTo>
                <a:cubicBezTo>
                  <a:pt x="2225430" y="3094064"/>
                  <a:pt x="2262167" y="3438954"/>
                  <a:pt x="2375833" y="3862501"/>
                </a:cubicBezTo>
                <a:cubicBezTo>
                  <a:pt x="2556490" y="4533696"/>
                  <a:pt x="2827906" y="5043682"/>
                  <a:pt x="3225955" y="5465070"/>
                </a:cubicBezTo>
                <a:cubicBezTo>
                  <a:pt x="3326224" y="5572253"/>
                  <a:pt x="3443780" y="5679869"/>
                  <a:pt x="3567387" y="5778841"/>
                </a:cubicBezTo>
                <a:cubicBezTo>
                  <a:pt x="3935614" y="6080510"/>
                  <a:pt x="4427449" y="6367487"/>
                  <a:pt x="5066660" y="6656623"/>
                </a:cubicBezTo>
                <a:cubicBezTo>
                  <a:pt x="5217064" y="6724910"/>
                  <a:pt x="5371356" y="6791034"/>
                  <a:pt x="5521759" y="6852838"/>
                </a:cubicBezTo>
                <a:cubicBezTo>
                  <a:pt x="5526081" y="6854568"/>
                  <a:pt x="5529970" y="6856296"/>
                  <a:pt x="5533428" y="6857592"/>
                </a:cubicBezTo>
                <a:lnTo>
                  <a:pt x="5507928" y="6857592"/>
                </a:lnTo>
                <a:cubicBezTo>
                  <a:pt x="5358390" y="6795789"/>
                  <a:pt x="5209284" y="6732257"/>
                  <a:pt x="5059745" y="6664835"/>
                </a:cubicBezTo>
                <a:cubicBezTo>
                  <a:pt x="4417508" y="6373537"/>
                  <a:pt x="3925241" y="6086561"/>
                  <a:pt x="3553989" y="5784892"/>
                </a:cubicBezTo>
                <a:cubicBezTo>
                  <a:pt x="3429949" y="5683759"/>
                  <a:pt x="3316284" y="5578303"/>
                  <a:pt x="3212557" y="5468959"/>
                </a:cubicBezTo>
                <a:cubicBezTo>
                  <a:pt x="2814076" y="5048005"/>
                  <a:pt x="2543090" y="4537585"/>
                  <a:pt x="2362435" y="3862501"/>
                </a:cubicBezTo>
                <a:cubicBezTo>
                  <a:pt x="2248336" y="3438954"/>
                  <a:pt x="2208575" y="3094064"/>
                  <a:pt x="2241852" y="2778131"/>
                </a:cubicBezTo>
                <a:cubicBezTo>
                  <a:pt x="2268650" y="2497207"/>
                  <a:pt x="2352062" y="2218443"/>
                  <a:pt x="2432449" y="1947890"/>
                </a:cubicBezTo>
                <a:cubicBezTo>
                  <a:pt x="2462704" y="1842868"/>
                  <a:pt x="2495983" y="1733091"/>
                  <a:pt x="2526235" y="1625908"/>
                </a:cubicBezTo>
                <a:cubicBezTo>
                  <a:pt x="2670155" y="1080913"/>
                  <a:pt x="2726772" y="535919"/>
                  <a:pt x="2693495" y="865"/>
                </a:cubicBezTo>
                <a:close/>
                <a:moveTo>
                  <a:pt x="2546980" y="865"/>
                </a:moveTo>
                <a:lnTo>
                  <a:pt x="2560380" y="865"/>
                </a:lnTo>
                <a:cubicBezTo>
                  <a:pt x="2600573" y="548020"/>
                  <a:pt x="2543525" y="1107709"/>
                  <a:pt x="2399604" y="1667398"/>
                </a:cubicBezTo>
                <a:cubicBezTo>
                  <a:pt x="2369351" y="1772853"/>
                  <a:pt x="2339529" y="1880037"/>
                  <a:pt x="2309276" y="1983330"/>
                </a:cubicBezTo>
                <a:cubicBezTo>
                  <a:pt x="2228887" y="2256043"/>
                  <a:pt x="2148500" y="2538697"/>
                  <a:pt x="2121704" y="2821783"/>
                </a:cubicBezTo>
                <a:cubicBezTo>
                  <a:pt x="2094908" y="3139444"/>
                  <a:pt x="2135103" y="3484333"/>
                  <a:pt x="2248768" y="3907881"/>
                </a:cubicBezTo>
                <a:cubicBezTo>
                  <a:pt x="2436341" y="4579076"/>
                  <a:pt x="2710782" y="5089063"/>
                  <a:pt x="3112289" y="5510450"/>
                </a:cubicBezTo>
                <a:cubicBezTo>
                  <a:pt x="3216015" y="5617634"/>
                  <a:pt x="3333571" y="5723088"/>
                  <a:pt x="3457178" y="5824221"/>
                </a:cubicBezTo>
                <a:cubicBezTo>
                  <a:pt x="3828431" y="6121569"/>
                  <a:pt x="4320697" y="6408545"/>
                  <a:pt x="4966392" y="6702003"/>
                </a:cubicBezTo>
                <a:cubicBezTo>
                  <a:pt x="5086109" y="6756459"/>
                  <a:pt x="5207555" y="6807891"/>
                  <a:pt x="5328136" y="6857160"/>
                </a:cubicBezTo>
                <a:lnTo>
                  <a:pt x="5299612" y="6857160"/>
                </a:lnTo>
                <a:cubicBezTo>
                  <a:pt x="5186378" y="6809187"/>
                  <a:pt x="5073143" y="6759485"/>
                  <a:pt x="4959910" y="6708054"/>
                </a:cubicBezTo>
                <a:cubicBezTo>
                  <a:pt x="4313782" y="6416756"/>
                  <a:pt x="3818491" y="6127620"/>
                  <a:pt x="3447237" y="5830272"/>
                </a:cubicBezTo>
                <a:cubicBezTo>
                  <a:pt x="3319740" y="5729139"/>
                  <a:pt x="3206074" y="5623684"/>
                  <a:pt x="3102348" y="5514339"/>
                </a:cubicBezTo>
                <a:cubicBezTo>
                  <a:pt x="2697816" y="5093385"/>
                  <a:pt x="2423375" y="4581237"/>
                  <a:pt x="2235803" y="3907881"/>
                </a:cubicBezTo>
                <a:cubicBezTo>
                  <a:pt x="2118679" y="3484765"/>
                  <a:pt x="2078484" y="3139876"/>
                  <a:pt x="2108737" y="2819622"/>
                </a:cubicBezTo>
                <a:cubicBezTo>
                  <a:pt x="2132508" y="2536968"/>
                  <a:pt x="2215922" y="2256043"/>
                  <a:pt x="2296308" y="1983330"/>
                </a:cubicBezTo>
                <a:cubicBezTo>
                  <a:pt x="2326131" y="1877875"/>
                  <a:pt x="2356383" y="1770692"/>
                  <a:pt x="2383181" y="1665237"/>
                </a:cubicBezTo>
                <a:cubicBezTo>
                  <a:pt x="2530125" y="1105548"/>
                  <a:pt x="2583717" y="545859"/>
                  <a:pt x="2546980" y="865"/>
                </a:cubicBezTo>
                <a:close/>
                <a:moveTo>
                  <a:pt x="2400036" y="865"/>
                </a:moveTo>
                <a:lnTo>
                  <a:pt x="2413434" y="865"/>
                </a:lnTo>
                <a:cubicBezTo>
                  <a:pt x="2457084" y="558392"/>
                  <a:pt x="2403493" y="1130616"/>
                  <a:pt x="2256115" y="1706727"/>
                </a:cubicBezTo>
                <a:cubicBezTo>
                  <a:pt x="2229320" y="1810022"/>
                  <a:pt x="2199067" y="1915476"/>
                  <a:pt x="2172271" y="2018770"/>
                </a:cubicBezTo>
                <a:cubicBezTo>
                  <a:pt x="2091882" y="2293212"/>
                  <a:pt x="2011496" y="2578459"/>
                  <a:pt x="1988157" y="2863273"/>
                </a:cubicBezTo>
                <a:cubicBezTo>
                  <a:pt x="1961361" y="3183095"/>
                  <a:pt x="2004581" y="3530145"/>
                  <a:pt x="2125161" y="3951533"/>
                </a:cubicBezTo>
                <a:cubicBezTo>
                  <a:pt x="2316190" y="4624888"/>
                  <a:pt x="2593657" y="5134875"/>
                  <a:pt x="3002080" y="5556263"/>
                </a:cubicBezTo>
                <a:cubicBezTo>
                  <a:pt x="3105805" y="5663445"/>
                  <a:pt x="3223362" y="5768900"/>
                  <a:pt x="3346969" y="5870033"/>
                </a:cubicBezTo>
                <a:cubicBezTo>
                  <a:pt x="3725137" y="6169543"/>
                  <a:pt x="4207030" y="6448307"/>
                  <a:pt x="4866123" y="6745655"/>
                </a:cubicBezTo>
                <a:cubicBezTo>
                  <a:pt x="4950400" y="6783688"/>
                  <a:pt x="5035542" y="6821288"/>
                  <a:pt x="5120684" y="6857592"/>
                </a:cubicBezTo>
                <a:lnTo>
                  <a:pt x="5091296" y="6857592"/>
                </a:lnTo>
                <a:cubicBezTo>
                  <a:pt x="5012636" y="6823881"/>
                  <a:pt x="4933545" y="6789306"/>
                  <a:pt x="4855751" y="6753867"/>
                </a:cubicBezTo>
                <a:cubicBezTo>
                  <a:pt x="4196658" y="6454357"/>
                  <a:pt x="3714765" y="6175593"/>
                  <a:pt x="3336595" y="5876084"/>
                </a:cubicBezTo>
                <a:cubicBezTo>
                  <a:pt x="3209531" y="5774951"/>
                  <a:pt x="3092408" y="5669496"/>
                  <a:pt x="2988682" y="5562313"/>
                </a:cubicBezTo>
                <a:cubicBezTo>
                  <a:pt x="2580259" y="5139197"/>
                  <a:pt x="2302360" y="4627049"/>
                  <a:pt x="2111764" y="3953694"/>
                </a:cubicBezTo>
                <a:cubicBezTo>
                  <a:pt x="1991614" y="3530145"/>
                  <a:pt x="1947963" y="3185257"/>
                  <a:pt x="1974759" y="2863273"/>
                </a:cubicBezTo>
                <a:cubicBezTo>
                  <a:pt x="1998098" y="2578459"/>
                  <a:pt x="2078484" y="2293212"/>
                  <a:pt x="2158874" y="2016609"/>
                </a:cubicBezTo>
                <a:cubicBezTo>
                  <a:pt x="2185669" y="1915044"/>
                  <a:pt x="2215922" y="1810022"/>
                  <a:pt x="2242718" y="1704566"/>
                </a:cubicBezTo>
                <a:cubicBezTo>
                  <a:pt x="2390096" y="1130616"/>
                  <a:pt x="2443687" y="558392"/>
                  <a:pt x="2400036" y="865"/>
                </a:cubicBezTo>
                <a:close/>
                <a:moveTo>
                  <a:pt x="2252226" y="865"/>
                </a:moveTo>
                <a:lnTo>
                  <a:pt x="2265624" y="865"/>
                </a:lnTo>
                <a:cubicBezTo>
                  <a:pt x="2312734" y="568766"/>
                  <a:pt x="2262599" y="1155250"/>
                  <a:pt x="2115221" y="1743896"/>
                </a:cubicBezTo>
                <a:cubicBezTo>
                  <a:pt x="2088426" y="1847189"/>
                  <a:pt x="2061629" y="1952644"/>
                  <a:pt x="2034834" y="2051617"/>
                </a:cubicBezTo>
                <a:cubicBezTo>
                  <a:pt x="1957904" y="2330380"/>
                  <a:pt x="1877515" y="2619518"/>
                  <a:pt x="1854176" y="2906493"/>
                </a:cubicBezTo>
                <a:cubicBezTo>
                  <a:pt x="1830839" y="3228475"/>
                  <a:pt x="1877515" y="3575525"/>
                  <a:pt x="1998098" y="3996913"/>
                </a:cubicBezTo>
                <a:cubicBezTo>
                  <a:pt x="2192151" y="4670269"/>
                  <a:pt x="2476966" y="5180255"/>
                  <a:pt x="2888413" y="5601642"/>
                </a:cubicBezTo>
                <a:cubicBezTo>
                  <a:pt x="2995596" y="5710987"/>
                  <a:pt x="3112721" y="5814281"/>
                  <a:pt x="3239786" y="5915414"/>
                </a:cubicBezTo>
                <a:cubicBezTo>
                  <a:pt x="3614496" y="6212762"/>
                  <a:pt x="4099847" y="6489365"/>
                  <a:pt x="4765854" y="6791034"/>
                </a:cubicBezTo>
                <a:cubicBezTo>
                  <a:pt x="4815125" y="6813509"/>
                  <a:pt x="4865259" y="6835982"/>
                  <a:pt x="4915393" y="6858024"/>
                </a:cubicBezTo>
                <a:lnTo>
                  <a:pt x="4892055" y="6858024"/>
                </a:lnTo>
                <a:cubicBezTo>
                  <a:pt x="4846243" y="6838144"/>
                  <a:pt x="4800862" y="6817831"/>
                  <a:pt x="4755482" y="6797517"/>
                </a:cubicBezTo>
                <a:cubicBezTo>
                  <a:pt x="4089474" y="6498009"/>
                  <a:pt x="3604123" y="6219244"/>
                  <a:pt x="3225955" y="5919736"/>
                </a:cubicBezTo>
                <a:cubicBezTo>
                  <a:pt x="3098891" y="5820332"/>
                  <a:pt x="2981766" y="5714876"/>
                  <a:pt x="2878041" y="5607693"/>
                </a:cubicBezTo>
                <a:cubicBezTo>
                  <a:pt x="2463136" y="5182416"/>
                  <a:pt x="2178753" y="4672429"/>
                  <a:pt x="1984699" y="3999074"/>
                </a:cubicBezTo>
                <a:cubicBezTo>
                  <a:pt x="1864118" y="3575525"/>
                  <a:pt x="1817441" y="3228475"/>
                  <a:pt x="1840778" y="2906493"/>
                </a:cubicBezTo>
                <a:cubicBezTo>
                  <a:pt x="1864118" y="2617356"/>
                  <a:pt x="1941048" y="2330380"/>
                  <a:pt x="2017978" y="2051617"/>
                </a:cubicBezTo>
                <a:cubicBezTo>
                  <a:pt x="2048231" y="1950484"/>
                  <a:pt x="2075028" y="1847189"/>
                  <a:pt x="2101823" y="1743896"/>
                </a:cubicBezTo>
                <a:cubicBezTo>
                  <a:pt x="2248768" y="1155250"/>
                  <a:pt x="2298903" y="568766"/>
                  <a:pt x="2252226" y="865"/>
                </a:cubicBezTo>
                <a:close/>
                <a:moveTo>
                  <a:pt x="2105282" y="865"/>
                </a:moveTo>
                <a:lnTo>
                  <a:pt x="2122137" y="865"/>
                </a:lnTo>
                <a:cubicBezTo>
                  <a:pt x="2168812" y="581299"/>
                  <a:pt x="2122137" y="1180317"/>
                  <a:pt x="1974759" y="1783225"/>
                </a:cubicBezTo>
                <a:cubicBezTo>
                  <a:pt x="1947963" y="1884358"/>
                  <a:pt x="1921168" y="1987652"/>
                  <a:pt x="1894371" y="2086624"/>
                </a:cubicBezTo>
                <a:cubicBezTo>
                  <a:pt x="1820899" y="2367549"/>
                  <a:pt x="1743537" y="2658415"/>
                  <a:pt x="1723655" y="2949711"/>
                </a:cubicBezTo>
                <a:cubicBezTo>
                  <a:pt x="1699884" y="3273856"/>
                  <a:pt x="1746993" y="3620906"/>
                  <a:pt x="1874058" y="4042292"/>
                </a:cubicBezTo>
                <a:cubicBezTo>
                  <a:pt x="2071570" y="4713055"/>
                  <a:pt x="2359410" y="5223475"/>
                  <a:pt x="2777772" y="5648752"/>
                </a:cubicBezTo>
                <a:cubicBezTo>
                  <a:pt x="2881497" y="5756367"/>
                  <a:pt x="3002080" y="5859661"/>
                  <a:pt x="3129144" y="5960794"/>
                </a:cubicBezTo>
                <a:cubicBezTo>
                  <a:pt x="3507312" y="6253820"/>
                  <a:pt x="3992231" y="6532584"/>
                  <a:pt x="4661697" y="6834254"/>
                </a:cubicBezTo>
                <a:cubicBezTo>
                  <a:pt x="4678984" y="6842033"/>
                  <a:pt x="4695840" y="6849813"/>
                  <a:pt x="4712694" y="6858024"/>
                </a:cubicBezTo>
                <a:lnTo>
                  <a:pt x="4691518" y="6858024"/>
                </a:lnTo>
                <a:cubicBezTo>
                  <a:pt x="4678984" y="6852406"/>
                  <a:pt x="4666883" y="6846356"/>
                  <a:pt x="4654782" y="6840737"/>
                </a:cubicBezTo>
                <a:cubicBezTo>
                  <a:pt x="3982290" y="6539067"/>
                  <a:pt x="3493482" y="6260303"/>
                  <a:pt x="3118771" y="5965116"/>
                </a:cubicBezTo>
                <a:cubicBezTo>
                  <a:pt x="2988249" y="5865712"/>
                  <a:pt x="2871126" y="5760257"/>
                  <a:pt x="2763942" y="5653073"/>
                </a:cubicBezTo>
                <a:cubicBezTo>
                  <a:pt x="2345580" y="5227796"/>
                  <a:pt x="2058173" y="4717377"/>
                  <a:pt x="1857203" y="4042292"/>
                </a:cubicBezTo>
                <a:cubicBezTo>
                  <a:pt x="1733596" y="3620906"/>
                  <a:pt x="1686919" y="3273856"/>
                  <a:pt x="1706800" y="2949711"/>
                </a:cubicBezTo>
                <a:cubicBezTo>
                  <a:pt x="1727112" y="2658415"/>
                  <a:pt x="1807501" y="2365387"/>
                  <a:pt x="1880974" y="2084463"/>
                </a:cubicBezTo>
                <a:cubicBezTo>
                  <a:pt x="1907769" y="1985491"/>
                  <a:pt x="1934566" y="1882197"/>
                  <a:pt x="1961361" y="1781064"/>
                </a:cubicBezTo>
                <a:cubicBezTo>
                  <a:pt x="2105282" y="1178156"/>
                  <a:pt x="2155414" y="579138"/>
                  <a:pt x="2105282" y="865"/>
                </a:cubicBezTo>
                <a:close/>
                <a:moveTo>
                  <a:pt x="1957472" y="865"/>
                </a:moveTo>
                <a:lnTo>
                  <a:pt x="1974327" y="865"/>
                </a:lnTo>
                <a:cubicBezTo>
                  <a:pt x="2024460" y="591240"/>
                  <a:pt x="1977783" y="1202791"/>
                  <a:pt x="1833865" y="1822122"/>
                </a:cubicBezTo>
                <a:cubicBezTo>
                  <a:pt x="1810526" y="1921094"/>
                  <a:pt x="1783730" y="2022227"/>
                  <a:pt x="1756935" y="2119471"/>
                </a:cubicBezTo>
                <a:cubicBezTo>
                  <a:pt x="1683462" y="2404286"/>
                  <a:pt x="1606530" y="2697743"/>
                  <a:pt x="1589675" y="2992931"/>
                </a:cubicBezTo>
                <a:cubicBezTo>
                  <a:pt x="1569795" y="3313185"/>
                  <a:pt x="1619928" y="3670607"/>
                  <a:pt x="1746993" y="4085512"/>
                </a:cubicBezTo>
                <a:cubicBezTo>
                  <a:pt x="1951420" y="4758435"/>
                  <a:pt x="2242284" y="5268854"/>
                  <a:pt x="2664105" y="5694131"/>
                </a:cubicBezTo>
                <a:cubicBezTo>
                  <a:pt x="2771288" y="5801747"/>
                  <a:pt x="2891871" y="5905041"/>
                  <a:pt x="3018935" y="6006174"/>
                </a:cubicBezTo>
                <a:cubicBezTo>
                  <a:pt x="3388459" y="6290989"/>
                  <a:pt x="3863871" y="6561973"/>
                  <a:pt x="4516912" y="6858024"/>
                </a:cubicBezTo>
                <a:lnTo>
                  <a:pt x="4491845" y="6858024"/>
                </a:lnTo>
                <a:cubicBezTo>
                  <a:pt x="3844854" y="6564998"/>
                  <a:pt x="3375061" y="6294446"/>
                  <a:pt x="3008562" y="6010496"/>
                </a:cubicBezTo>
                <a:cubicBezTo>
                  <a:pt x="2878041" y="5911092"/>
                  <a:pt x="2760917" y="5805637"/>
                  <a:pt x="2653732" y="5698453"/>
                </a:cubicBezTo>
                <a:cubicBezTo>
                  <a:pt x="2228887" y="5273176"/>
                  <a:pt x="1937590" y="4761029"/>
                  <a:pt x="1733596" y="4087673"/>
                </a:cubicBezTo>
                <a:cubicBezTo>
                  <a:pt x="1606530" y="3672769"/>
                  <a:pt x="1556397" y="3313617"/>
                  <a:pt x="1576277" y="2993363"/>
                </a:cubicBezTo>
                <a:cubicBezTo>
                  <a:pt x="1593132" y="2698176"/>
                  <a:pt x="1670063" y="2402556"/>
                  <a:pt x="1743537" y="2117741"/>
                </a:cubicBezTo>
                <a:cubicBezTo>
                  <a:pt x="1770332" y="2020499"/>
                  <a:pt x="1793670" y="1919366"/>
                  <a:pt x="1817009" y="1820394"/>
                </a:cubicBezTo>
                <a:cubicBezTo>
                  <a:pt x="1963953" y="1202791"/>
                  <a:pt x="2011063" y="589510"/>
                  <a:pt x="1957472" y="865"/>
                </a:cubicBezTo>
                <a:close/>
                <a:moveTo>
                  <a:pt x="1813983" y="865"/>
                </a:moveTo>
                <a:lnTo>
                  <a:pt x="1827381" y="865"/>
                </a:lnTo>
                <a:cubicBezTo>
                  <a:pt x="1884431" y="601612"/>
                  <a:pt x="1837754" y="1227426"/>
                  <a:pt x="1690376" y="1861452"/>
                </a:cubicBezTo>
                <a:cubicBezTo>
                  <a:pt x="1670063" y="1958695"/>
                  <a:pt x="1643267" y="2057667"/>
                  <a:pt x="1619928" y="2152749"/>
                </a:cubicBezTo>
                <a:cubicBezTo>
                  <a:pt x="1546455" y="2439725"/>
                  <a:pt x="1472983" y="2739234"/>
                  <a:pt x="1456128" y="3034421"/>
                </a:cubicBezTo>
                <a:cubicBezTo>
                  <a:pt x="1439272" y="3358565"/>
                  <a:pt x="1492863" y="3715988"/>
                  <a:pt x="1619928" y="4130892"/>
                </a:cubicBezTo>
                <a:cubicBezTo>
                  <a:pt x="1827381" y="4803816"/>
                  <a:pt x="2125161" y="5314234"/>
                  <a:pt x="2553464" y="5739511"/>
                </a:cubicBezTo>
                <a:cubicBezTo>
                  <a:pt x="2660648" y="5847127"/>
                  <a:pt x="2781230" y="5950421"/>
                  <a:pt x="2911750" y="6051554"/>
                </a:cubicBezTo>
                <a:cubicBezTo>
                  <a:pt x="3259665" y="6319945"/>
                  <a:pt x="3708281" y="6577532"/>
                  <a:pt x="4316807" y="6857592"/>
                </a:cubicBezTo>
                <a:lnTo>
                  <a:pt x="4293901" y="6857592"/>
                </a:lnTo>
                <a:cubicBezTo>
                  <a:pt x="3694452" y="6580125"/>
                  <a:pt x="3246700" y="6324267"/>
                  <a:pt x="2898352" y="6055876"/>
                </a:cubicBezTo>
                <a:cubicBezTo>
                  <a:pt x="2770856" y="5956471"/>
                  <a:pt x="2647250" y="5851017"/>
                  <a:pt x="2540066" y="5743834"/>
                </a:cubicBezTo>
                <a:cubicBezTo>
                  <a:pt x="2111764" y="5318557"/>
                  <a:pt x="1813983" y="4806409"/>
                  <a:pt x="1606530" y="4133053"/>
                </a:cubicBezTo>
                <a:cubicBezTo>
                  <a:pt x="1479466" y="3718149"/>
                  <a:pt x="1425874" y="3358565"/>
                  <a:pt x="1442730" y="3034421"/>
                </a:cubicBezTo>
                <a:cubicBezTo>
                  <a:pt x="1459154" y="2737073"/>
                  <a:pt x="1533058" y="2439725"/>
                  <a:pt x="1606530" y="2150589"/>
                </a:cubicBezTo>
                <a:cubicBezTo>
                  <a:pt x="1630301" y="2055506"/>
                  <a:pt x="1653639" y="1956534"/>
                  <a:pt x="1676978" y="1859291"/>
                </a:cubicBezTo>
                <a:cubicBezTo>
                  <a:pt x="1823923" y="1225697"/>
                  <a:pt x="1867576" y="599883"/>
                  <a:pt x="1813983" y="865"/>
                </a:cubicBezTo>
                <a:close/>
                <a:moveTo>
                  <a:pt x="1519660" y="865"/>
                </a:moveTo>
                <a:lnTo>
                  <a:pt x="1533058" y="865"/>
                </a:lnTo>
                <a:cubicBezTo>
                  <a:pt x="1533058" y="17288"/>
                  <a:pt x="1536516" y="35873"/>
                  <a:pt x="1536516" y="52296"/>
                </a:cubicBezTo>
                <a:cubicBezTo>
                  <a:pt x="1593565" y="657364"/>
                  <a:pt x="1549913" y="1291390"/>
                  <a:pt x="1409451" y="1937950"/>
                </a:cubicBezTo>
                <a:cubicBezTo>
                  <a:pt x="1389138" y="2030871"/>
                  <a:pt x="1365799" y="2125954"/>
                  <a:pt x="1342461" y="2218875"/>
                </a:cubicBezTo>
                <a:cubicBezTo>
                  <a:pt x="1275471" y="2511901"/>
                  <a:pt x="1201999" y="2817893"/>
                  <a:pt x="1188601" y="3121292"/>
                </a:cubicBezTo>
                <a:cubicBezTo>
                  <a:pt x="1178660" y="3447597"/>
                  <a:pt x="1235277" y="3807181"/>
                  <a:pt x="1369256" y="4222085"/>
                </a:cubicBezTo>
                <a:cubicBezTo>
                  <a:pt x="1586651" y="4893280"/>
                  <a:pt x="1891345" y="5405427"/>
                  <a:pt x="2329588" y="5830704"/>
                </a:cubicBezTo>
                <a:cubicBezTo>
                  <a:pt x="2436773" y="5938320"/>
                  <a:pt x="2560380" y="6041613"/>
                  <a:pt x="2690902" y="6140585"/>
                </a:cubicBezTo>
                <a:cubicBezTo>
                  <a:pt x="3009859" y="6381316"/>
                  <a:pt x="3397102" y="6607353"/>
                  <a:pt x="3923512" y="6858024"/>
                </a:cubicBezTo>
                <a:lnTo>
                  <a:pt x="3900606" y="6858024"/>
                </a:lnTo>
                <a:cubicBezTo>
                  <a:pt x="3380248" y="6609946"/>
                  <a:pt x="2996461" y="6385639"/>
                  <a:pt x="2680528" y="6147068"/>
                </a:cubicBezTo>
                <a:cubicBezTo>
                  <a:pt x="2550006" y="6047664"/>
                  <a:pt x="2426399" y="5942210"/>
                  <a:pt x="2315758" y="5835026"/>
                </a:cubicBezTo>
                <a:cubicBezTo>
                  <a:pt x="1877515" y="5409749"/>
                  <a:pt x="1572820" y="4895440"/>
                  <a:pt x="1355426" y="4222085"/>
                </a:cubicBezTo>
                <a:cubicBezTo>
                  <a:pt x="1221447" y="3808910"/>
                  <a:pt x="1161372" y="3447597"/>
                  <a:pt x="1174770" y="3121292"/>
                </a:cubicBezTo>
                <a:cubicBezTo>
                  <a:pt x="1188168" y="2817893"/>
                  <a:pt x="1258617" y="2511901"/>
                  <a:pt x="1329063" y="2216714"/>
                </a:cubicBezTo>
                <a:cubicBezTo>
                  <a:pt x="1352401" y="2125954"/>
                  <a:pt x="1372715" y="2030871"/>
                  <a:pt x="1396053" y="1937950"/>
                </a:cubicBezTo>
                <a:cubicBezTo>
                  <a:pt x="1536516" y="1291390"/>
                  <a:pt x="1580167" y="657364"/>
                  <a:pt x="1523118" y="52296"/>
                </a:cubicBezTo>
                <a:cubicBezTo>
                  <a:pt x="1523118" y="35873"/>
                  <a:pt x="1519660" y="17288"/>
                  <a:pt x="1519660" y="865"/>
                </a:cubicBezTo>
                <a:close/>
                <a:moveTo>
                  <a:pt x="927556" y="865"/>
                </a:moveTo>
                <a:lnTo>
                  <a:pt x="940955" y="865"/>
                </a:lnTo>
                <a:cubicBezTo>
                  <a:pt x="950895" y="58347"/>
                  <a:pt x="957379" y="118421"/>
                  <a:pt x="960836" y="182386"/>
                </a:cubicBezTo>
                <a:cubicBezTo>
                  <a:pt x="1010970" y="785294"/>
                  <a:pt x="970777" y="1429692"/>
                  <a:pt x="843711" y="2092675"/>
                </a:cubicBezTo>
                <a:cubicBezTo>
                  <a:pt x="826856" y="2177384"/>
                  <a:pt x="810000" y="2264255"/>
                  <a:pt x="790119" y="2346804"/>
                </a:cubicBezTo>
                <a:cubicBezTo>
                  <a:pt x="726587" y="2656253"/>
                  <a:pt x="659598" y="2974346"/>
                  <a:pt x="656141" y="3292440"/>
                </a:cubicBezTo>
                <a:cubicBezTo>
                  <a:pt x="652683" y="3624796"/>
                  <a:pt x="723130" y="3988269"/>
                  <a:pt x="863592" y="4401445"/>
                </a:cubicBezTo>
                <a:cubicBezTo>
                  <a:pt x="1097840" y="5072639"/>
                  <a:pt x="1422417" y="5584786"/>
                  <a:pt x="1877515" y="6012225"/>
                </a:cubicBezTo>
                <a:cubicBezTo>
                  <a:pt x="1991181" y="6119841"/>
                  <a:pt x="2118679" y="6223134"/>
                  <a:pt x="2255684" y="6322107"/>
                </a:cubicBezTo>
                <a:cubicBezTo>
                  <a:pt x="2527965" y="6522644"/>
                  <a:pt x="2838710" y="6698979"/>
                  <a:pt x="3150753" y="6858024"/>
                </a:cubicBezTo>
                <a:lnTo>
                  <a:pt x="3127414" y="6858024"/>
                </a:lnTo>
                <a:cubicBezTo>
                  <a:pt x="2819694" y="6700707"/>
                  <a:pt x="2514135" y="6525237"/>
                  <a:pt x="2242284" y="6328590"/>
                </a:cubicBezTo>
                <a:cubicBezTo>
                  <a:pt x="2108737" y="6229185"/>
                  <a:pt x="1981241" y="6123730"/>
                  <a:pt x="1867576" y="6016547"/>
                </a:cubicBezTo>
                <a:cubicBezTo>
                  <a:pt x="1409019" y="5589109"/>
                  <a:pt x="1084443" y="5074800"/>
                  <a:pt x="850194" y="4401445"/>
                </a:cubicBezTo>
                <a:cubicBezTo>
                  <a:pt x="706275" y="3990430"/>
                  <a:pt x="639285" y="3626957"/>
                  <a:pt x="642743" y="3292440"/>
                </a:cubicBezTo>
                <a:cubicBezTo>
                  <a:pt x="646200" y="2974346"/>
                  <a:pt x="713190" y="2654525"/>
                  <a:pt x="776722" y="2344643"/>
                </a:cubicBezTo>
                <a:cubicBezTo>
                  <a:pt x="793577" y="2262094"/>
                  <a:pt x="813457" y="2177384"/>
                  <a:pt x="830313" y="2092675"/>
                </a:cubicBezTo>
                <a:cubicBezTo>
                  <a:pt x="957379" y="1429692"/>
                  <a:pt x="997572" y="785294"/>
                  <a:pt x="947438" y="182386"/>
                </a:cubicBezTo>
                <a:cubicBezTo>
                  <a:pt x="944413" y="118421"/>
                  <a:pt x="937497" y="58779"/>
                  <a:pt x="927556" y="865"/>
                </a:cubicBezTo>
                <a:close/>
                <a:moveTo>
                  <a:pt x="482400" y="865"/>
                </a:moveTo>
                <a:lnTo>
                  <a:pt x="495797" y="865"/>
                </a:lnTo>
                <a:cubicBezTo>
                  <a:pt x="515678" y="98108"/>
                  <a:pt x="522593" y="192758"/>
                  <a:pt x="529076" y="279629"/>
                </a:cubicBezTo>
                <a:cubicBezTo>
                  <a:pt x="575753" y="882536"/>
                  <a:pt x="539016" y="1531258"/>
                  <a:pt x="418434" y="2208502"/>
                </a:cubicBezTo>
                <a:cubicBezTo>
                  <a:pt x="405036" y="2286729"/>
                  <a:pt x="391639" y="2365387"/>
                  <a:pt x="374782" y="2439725"/>
                </a:cubicBezTo>
                <a:cubicBezTo>
                  <a:pt x="314708" y="2762141"/>
                  <a:pt x="254202" y="3092335"/>
                  <a:pt x="257659" y="3420801"/>
                </a:cubicBezTo>
                <a:cubicBezTo>
                  <a:pt x="261117" y="3759207"/>
                  <a:pt x="335022" y="4124842"/>
                  <a:pt x="485424" y="4535856"/>
                </a:cubicBezTo>
                <a:cubicBezTo>
                  <a:pt x="729612" y="5198839"/>
                  <a:pt x="1074502" y="5725249"/>
                  <a:pt x="1542998" y="6148797"/>
                </a:cubicBezTo>
                <a:cubicBezTo>
                  <a:pt x="1660122" y="6256413"/>
                  <a:pt x="1787188" y="6359708"/>
                  <a:pt x="1927651" y="6458678"/>
                </a:cubicBezTo>
                <a:cubicBezTo>
                  <a:pt x="2129916" y="6601302"/>
                  <a:pt x="2350767" y="6733553"/>
                  <a:pt x="2581556" y="6857592"/>
                </a:cubicBezTo>
                <a:lnTo>
                  <a:pt x="2559515" y="6857592"/>
                </a:lnTo>
                <a:cubicBezTo>
                  <a:pt x="2333477" y="6735282"/>
                  <a:pt x="2115653" y="6604760"/>
                  <a:pt x="1914251" y="6462569"/>
                </a:cubicBezTo>
                <a:cubicBezTo>
                  <a:pt x="1777246" y="6365325"/>
                  <a:pt x="1646724" y="6262032"/>
                  <a:pt x="1529600" y="6154848"/>
                </a:cubicBezTo>
                <a:cubicBezTo>
                  <a:pt x="1064561" y="5729571"/>
                  <a:pt x="716215" y="5201000"/>
                  <a:pt x="472026" y="4538018"/>
                </a:cubicBezTo>
                <a:cubicBezTo>
                  <a:pt x="321191" y="4124842"/>
                  <a:pt x="247718" y="3761368"/>
                  <a:pt x="244261" y="3420801"/>
                </a:cubicBezTo>
                <a:cubicBezTo>
                  <a:pt x="240804" y="3092335"/>
                  <a:pt x="301310" y="2759980"/>
                  <a:pt x="361385" y="2439725"/>
                </a:cubicBezTo>
                <a:cubicBezTo>
                  <a:pt x="374782" y="2363227"/>
                  <a:pt x="391639" y="2285000"/>
                  <a:pt x="405036" y="2208502"/>
                </a:cubicBezTo>
                <a:cubicBezTo>
                  <a:pt x="525618" y="1531258"/>
                  <a:pt x="562354" y="882536"/>
                  <a:pt x="515678" y="279629"/>
                </a:cubicBezTo>
                <a:cubicBezTo>
                  <a:pt x="509195" y="192758"/>
                  <a:pt x="499254" y="98108"/>
                  <a:pt x="482400" y="865"/>
                </a:cubicBezTo>
                <a:close/>
                <a:moveTo>
                  <a:pt x="331564" y="865"/>
                </a:moveTo>
                <a:lnTo>
                  <a:pt x="344962" y="865"/>
                </a:lnTo>
                <a:cubicBezTo>
                  <a:pt x="368301" y="108481"/>
                  <a:pt x="378674" y="215664"/>
                  <a:pt x="385156" y="312908"/>
                </a:cubicBezTo>
                <a:cubicBezTo>
                  <a:pt x="431833" y="913655"/>
                  <a:pt x="395096" y="1564104"/>
                  <a:pt x="277973" y="2247832"/>
                </a:cubicBezTo>
                <a:cubicBezTo>
                  <a:pt x="264575" y="2322169"/>
                  <a:pt x="251175" y="2398667"/>
                  <a:pt x="237778" y="2470843"/>
                </a:cubicBezTo>
                <a:cubicBezTo>
                  <a:pt x="177703" y="2794987"/>
                  <a:pt x="117628" y="3131665"/>
                  <a:pt x="124111" y="3464020"/>
                </a:cubicBezTo>
                <a:cubicBezTo>
                  <a:pt x="131026" y="3804588"/>
                  <a:pt x="207957" y="4170222"/>
                  <a:pt x="361817" y="4579076"/>
                </a:cubicBezTo>
                <a:cubicBezTo>
                  <a:pt x="609463" y="5244219"/>
                  <a:pt x="957379" y="5770629"/>
                  <a:pt x="1429331" y="6194177"/>
                </a:cubicBezTo>
                <a:cubicBezTo>
                  <a:pt x="1546455" y="6301793"/>
                  <a:pt x="1676978" y="6405087"/>
                  <a:pt x="1817441" y="6504059"/>
                </a:cubicBezTo>
                <a:cubicBezTo>
                  <a:pt x="1996801" y="6628962"/>
                  <a:pt x="2191720" y="6746520"/>
                  <a:pt x="2394850" y="6857592"/>
                </a:cubicBezTo>
                <a:lnTo>
                  <a:pt x="2373240" y="6857592"/>
                </a:lnTo>
                <a:cubicBezTo>
                  <a:pt x="2173136" y="6748248"/>
                  <a:pt x="1983402" y="6632420"/>
                  <a:pt x="1807501" y="6507949"/>
                </a:cubicBezTo>
                <a:cubicBezTo>
                  <a:pt x="1667037" y="6410705"/>
                  <a:pt x="1536516" y="6307412"/>
                  <a:pt x="1415933" y="6200228"/>
                </a:cubicBezTo>
                <a:cubicBezTo>
                  <a:pt x="947438" y="5774951"/>
                  <a:pt x="596065" y="5246380"/>
                  <a:pt x="348419" y="4581237"/>
                </a:cubicBezTo>
                <a:cubicBezTo>
                  <a:pt x="194559" y="4170222"/>
                  <a:pt x="117197" y="3804588"/>
                  <a:pt x="110713" y="3464020"/>
                </a:cubicBezTo>
                <a:cubicBezTo>
                  <a:pt x="103798" y="3131665"/>
                  <a:pt x="164305" y="2794987"/>
                  <a:pt x="224380" y="2470843"/>
                </a:cubicBezTo>
                <a:cubicBezTo>
                  <a:pt x="237778" y="2396505"/>
                  <a:pt x="251175" y="2322169"/>
                  <a:pt x="264575" y="2247832"/>
                </a:cubicBezTo>
                <a:cubicBezTo>
                  <a:pt x="378240" y="1564536"/>
                  <a:pt x="415409" y="913655"/>
                  <a:pt x="371757" y="312908"/>
                </a:cubicBezTo>
                <a:cubicBezTo>
                  <a:pt x="364842" y="215664"/>
                  <a:pt x="354903" y="108048"/>
                  <a:pt x="331564" y="865"/>
                </a:cubicBezTo>
                <a:close/>
                <a:moveTo>
                  <a:pt x="177272" y="865"/>
                </a:moveTo>
                <a:lnTo>
                  <a:pt x="194126" y="865"/>
                </a:lnTo>
                <a:cubicBezTo>
                  <a:pt x="224380" y="118421"/>
                  <a:pt x="234320" y="238571"/>
                  <a:pt x="241235" y="343594"/>
                </a:cubicBezTo>
                <a:cubicBezTo>
                  <a:pt x="284887" y="944340"/>
                  <a:pt x="251175" y="1599111"/>
                  <a:pt x="137509" y="2286729"/>
                </a:cubicBezTo>
                <a:cubicBezTo>
                  <a:pt x="124111" y="2358905"/>
                  <a:pt x="110713" y="2431513"/>
                  <a:pt x="100773" y="2501528"/>
                </a:cubicBezTo>
                <a:cubicBezTo>
                  <a:pt x="72248" y="2665761"/>
                  <a:pt x="42967" y="2833020"/>
                  <a:pt x="21628" y="3001305"/>
                </a:cubicBezTo>
                <a:lnTo>
                  <a:pt x="0" y="3220433"/>
                </a:lnTo>
                <a:lnTo>
                  <a:pt x="0" y="3069197"/>
                </a:lnTo>
                <a:lnTo>
                  <a:pt x="6448" y="3000440"/>
                </a:lnTo>
                <a:cubicBezTo>
                  <a:pt x="26869" y="2832156"/>
                  <a:pt x="55177" y="2664897"/>
                  <a:pt x="83485" y="2499800"/>
                </a:cubicBezTo>
                <a:cubicBezTo>
                  <a:pt x="96883" y="2429353"/>
                  <a:pt x="110281" y="2357177"/>
                  <a:pt x="120222" y="2285000"/>
                </a:cubicBezTo>
                <a:cubicBezTo>
                  <a:pt x="233888" y="1599111"/>
                  <a:pt x="271057" y="944340"/>
                  <a:pt x="227406" y="343594"/>
                </a:cubicBezTo>
                <a:cubicBezTo>
                  <a:pt x="220923" y="238571"/>
                  <a:pt x="210550" y="118421"/>
                  <a:pt x="177272" y="865"/>
                </a:cubicBezTo>
                <a:close/>
                <a:moveTo>
                  <a:pt x="26870" y="865"/>
                </a:moveTo>
                <a:lnTo>
                  <a:pt x="39834" y="865"/>
                </a:lnTo>
                <a:cubicBezTo>
                  <a:pt x="77002" y="129226"/>
                  <a:pt x="90401" y="261045"/>
                  <a:pt x="96883" y="376872"/>
                </a:cubicBezTo>
                <a:cubicBezTo>
                  <a:pt x="129621" y="826136"/>
                  <a:pt x="117142" y="1307976"/>
                  <a:pt x="62180" y="1813458"/>
                </a:cubicBezTo>
                <a:lnTo>
                  <a:pt x="0" y="2275627"/>
                </a:lnTo>
                <a:lnTo>
                  <a:pt x="0" y="2177011"/>
                </a:lnTo>
                <a:lnTo>
                  <a:pt x="49031" y="1812364"/>
                </a:lnTo>
                <a:cubicBezTo>
                  <a:pt x="103933" y="1307733"/>
                  <a:pt x="116656" y="826136"/>
                  <a:pt x="83918" y="376872"/>
                </a:cubicBezTo>
                <a:cubicBezTo>
                  <a:pt x="77002" y="261045"/>
                  <a:pt x="63604" y="128794"/>
                  <a:pt x="26870" y="865"/>
                </a:cubicBezTo>
                <a:close/>
                <a:moveTo>
                  <a:pt x="4005629" y="433"/>
                </a:moveTo>
                <a:lnTo>
                  <a:pt x="4019027" y="433"/>
                </a:lnTo>
                <a:cubicBezTo>
                  <a:pt x="4019027" y="427871"/>
                  <a:pt x="3952037" y="857469"/>
                  <a:pt x="3811575" y="1278857"/>
                </a:cubicBezTo>
                <a:cubicBezTo>
                  <a:pt x="3771381" y="1398574"/>
                  <a:pt x="3728163" y="1518292"/>
                  <a:pt x="3684510" y="1634119"/>
                </a:cubicBezTo>
                <a:cubicBezTo>
                  <a:pt x="3590725" y="1880037"/>
                  <a:pt x="3497371" y="2135894"/>
                  <a:pt x="3453720" y="2392184"/>
                </a:cubicBezTo>
                <a:cubicBezTo>
                  <a:pt x="3403587" y="2696014"/>
                  <a:pt x="3420441" y="3026210"/>
                  <a:pt x="3510769" y="3457970"/>
                </a:cubicBezTo>
                <a:cubicBezTo>
                  <a:pt x="3651231" y="4141265"/>
                  <a:pt x="3875539" y="4632667"/>
                  <a:pt x="4236852" y="5056216"/>
                </a:cubicBezTo>
                <a:cubicBezTo>
                  <a:pt x="4330638" y="5163400"/>
                  <a:pt x="4434363" y="5271016"/>
                  <a:pt x="4551488" y="5372149"/>
                </a:cubicBezTo>
                <a:cubicBezTo>
                  <a:pt x="4905886" y="5688081"/>
                  <a:pt x="5387779" y="5987589"/>
                  <a:pt x="5980314" y="6258142"/>
                </a:cubicBezTo>
                <a:cubicBezTo>
                  <a:pt x="6124234" y="6326428"/>
                  <a:pt x="6271611" y="6390393"/>
                  <a:pt x="6422015" y="6447010"/>
                </a:cubicBezTo>
                <a:cubicBezTo>
                  <a:pt x="6815309" y="6605192"/>
                  <a:pt x="7230213" y="6742197"/>
                  <a:pt x="7663269" y="6856728"/>
                </a:cubicBezTo>
                <a:lnTo>
                  <a:pt x="7626102" y="6856728"/>
                </a:lnTo>
                <a:cubicBezTo>
                  <a:pt x="7206443" y="6743925"/>
                  <a:pt x="6799319" y="6607785"/>
                  <a:pt x="6415531" y="6455654"/>
                </a:cubicBezTo>
                <a:cubicBezTo>
                  <a:pt x="6264696" y="6395579"/>
                  <a:pt x="6114294" y="6331615"/>
                  <a:pt x="5970373" y="6265489"/>
                </a:cubicBezTo>
                <a:cubicBezTo>
                  <a:pt x="5378271" y="5993208"/>
                  <a:pt x="4896376" y="5693699"/>
                  <a:pt x="4538090" y="5375605"/>
                </a:cubicBezTo>
                <a:cubicBezTo>
                  <a:pt x="4424423" y="5274473"/>
                  <a:pt x="4317239" y="5166857"/>
                  <a:pt x="4223454" y="5059673"/>
                </a:cubicBezTo>
                <a:cubicBezTo>
                  <a:pt x="3862141" y="4636558"/>
                  <a:pt x="3637833" y="4142994"/>
                  <a:pt x="3497371" y="3459266"/>
                </a:cubicBezTo>
                <a:cubicBezTo>
                  <a:pt x="3407043" y="3025778"/>
                  <a:pt x="3390188" y="2695150"/>
                  <a:pt x="3440323" y="2391752"/>
                </a:cubicBezTo>
                <a:cubicBezTo>
                  <a:pt x="3483541" y="2133734"/>
                  <a:pt x="3577327" y="1877875"/>
                  <a:pt x="3671113" y="1631957"/>
                </a:cubicBezTo>
                <a:cubicBezTo>
                  <a:pt x="3714332" y="1516131"/>
                  <a:pt x="3757983" y="1396413"/>
                  <a:pt x="3798177" y="1276696"/>
                </a:cubicBezTo>
                <a:cubicBezTo>
                  <a:pt x="3935182" y="855309"/>
                  <a:pt x="4005629" y="427871"/>
                  <a:pt x="4005629" y="433"/>
                </a:cubicBezTo>
                <a:close/>
                <a:moveTo>
                  <a:pt x="1372282" y="433"/>
                </a:moveTo>
                <a:lnTo>
                  <a:pt x="1385681" y="433"/>
                </a:lnTo>
                <a:cubicBezTo>
                  <a:pt x="1388705" y="29390"/>
                  <a:pt x="1392163" y="56185"/>
                  <a:pt x="1392163" y="85142"/>
                </a:cubicBezTo>
                <a:cubicBezTo>
                  <a:pt x="1449213" y="690212"/>
                  <a:pt x="1405561" y="1326398"/>
                  <a:pt x="1268556" y="1976847"/>
                </a:cubicBezTo>
                <a:cubicBezTo>
                  <a:pt x="1248676" y="2068040"/>
                  <a:pt x="1224905" y="2160961"/>
                  <a:pt x="1205024" y="2251722"/>
                </a:cubicBezTo>
                <a:cubicBezTo>
                  <a:pt x="1138035" y="2549069"/>
                  <a:pt x="1067586" y="2856790"/>
                  <a:pt x="1057646" y="3164511"/>
                </a:cubicBezTo>
                <a:cubicBezTo>
                  <a:pt x="1047707" y="3492977"/>
                  <a:pt x="1107781" y="3852129"/>
                  <a:pt x="1241760" y="4265304"/>
                </a:cubicBezTo>
                <a:cubicBezTo>
                  <a:pt x="1462611" y="4938660"/>
                  <a:pt x="1773790" y="5450807"/>
                  <a:pt x="2215489" y="5876084"/>
                </a:cubicBezTo>
                <a:cubicBezTo>
                  <a:pt x="2326131" y="5983700"/>
                  <a:pt x="2449738" y="6086993"/>
                  <a:pt x="2583717" y="6185966"/>
                </a:cubicBezTo>
                <a:cubicBezTo>
                  <a:pt x="2932929" y="6448307"/>
                  <a:pt x="3348266" y="6672614"/>
                  <a:pt x="3730323" y="6858024"/>
                </a:cubicBezTo>
                <a:lnTo>
                  <a:pt x="3705687" y="6858024"/>
                </a:lnTo>
                <a:cubicBezTo>
                  <a:pt x="3326224" y="6674774"/>
                  <a:pt x="2918666" y="6452629"/>
                  <a:pt x="2570320" y="6192449"/>
                </a:cubicBezTo>
                <a:cubicBezTo>
                  <a:pt x="2439797" y="6093044"/>
                  <a:pt x="2315758" y="5987589"/>
                  <a:pt x="2202091" y="5880407"/>
                </a:cubicBezTo>
                <a:cubicBezTo>
                  <a:pt x="1760392" y="5452968"/>
                  <a:pt x="1449213" y="4940821"/>
                  <a:pt x="1228362" y="4267466"/>
                </a:cubicBezTo>
                <a:cubicBezTo>
                  <a:pt x="1094384" y="3854289"/>
                  <a:pt x="1030850" y="3492977"/>
                  <a:pt x="1040791" y="3164511"/>
                </a:cubicBezTo>
                <a:cubicBezTo>
                  <a:pt x="1051163" y="2856790"/>
                  <a:pt x="1124636" y="2547341"/>
                  <a:pt x="1191627" y="2249561"/>
                </a:cubicBezTo>
                <a:cubicBezTo>
                  <a:pt x="1211507" y="2160529"/>
                  <a:pt x="1234846" y="2067608"/>
                  <a:pt x="1251701" y="1974686"/>
                </a:cubicBezTo>
                <a:cubicBezTo>
                  <a:pt x="1392163" y="1326398"/>
                  <a:pt x="1432357" y="690212"/>
                  <a:pt x="1378765" y="85142"/>
                </a:cubicBezTo>
                <a:cubicBezTo>
                  <a:pt x="1375740" y="56185"/>
                  <a:pt x="1375740" y="29390"/>
                  <a:pt x="1372282" y="433"/>
                </a:cubicBezTo>
                <a:close/>
                <a:moveTo>
                  <a:pt x="1225337" y="433"/>
                </a:moveTo>
                <a:lnTo>
                  <a:pt x="1238734" y="433"/>
                </a:lnTo>
                <a:cubicBezTo>
                  <a:pt x="1242193" y="39762"/>
                  <a:pt x="1245218" y="79091"/>
                  <a:pt x="1248676" y="116260"/>
                </a:cubicBezTo>
                <a:cubicBezTo>
                  <a:pt x="1302267" y="721330"/>
                  <a:pt x="1262074" y="1361405"/>
                  <a:pt x="1125069" y="2016176"/>
                </a:cubicBezTo>
                <a:cubicBezTo>
                  <a:pt x="1108213" y="2104776"/>
                  <a:pt x="1087900" y="2195536"/>
                  <a:pt x="1068020" y="2282407"/>
                </a:cubicBezTo>
                <a:cubicBezTo>
                  <a:pt x="1001030" y="2584077"/>
                  <a:pt x="930581" y="2895687"/>
                  <a:pt x="924099" y="3207730"/>
                </a:cubicBezTo>
                <a:cubicBezTo>
                  <a:pt x="914159" y="3536196"/>
                  <a:pt x="977691" y="3897509"/>
                  <a:pt x="1118153" y="4310684"/>
                </a:cubicBezTo>
                <a:cubicBezTo>
                  <a:pt x="1342029" y="4984040"/>
                  <a:pt x="1656665" y="5494027"/>
                  <a:pt x="2101823" y="5921465"/>
                </a:cubicBezTo>
                <a:cubicBezTo>
                  <a:pt x="2215489" y="6029081"/>
                  <a:pt x="2339096" y="6132374"/>
                  <a:pt x="2473076" y="6231346"/>
                </a:cubicBezTo>
                <a:cubicBezTo>
                  <a:pt x="2797651" y="6471212"/>
                  <a:pt x="3177981" y="6680826"/>
                  <a:pt x="3536701" y="6857592"/>
                </a:cubicBezTo>
                <a:lnTo>
                  <a:pt x="3511634" y="6857592"/>
                </a:lnTo>
                <a:cubicBezTo>
                  <a:pt x="3155507" y="6682554"/>
                  <a:pt x="2781230" y="6475103"/>
                  <a:pt x="2463136" y="6237397"/>
                </a:cubicBezTo>
                <a:cubicBezTo>
                  <a:pt x="2329588" y="6137993"/>
                  <a:pt x="2202524" y="6032537"/>
                  <a:pt x="2091882" y="5925354"/>
                </a:cubicBezTo>
                <a:cubicBezTo>
                  <a:pt x="1643267" y="5497916"/>
                  <a:pt x="1329063" y="4985769"/>
                  <a:pt x="1101298" y="4312414"/>
                </a:cubicBezTo>
                <a:cubicBezTo>
                  <a:pt x="964293" y="3899238"/>
                  <a:pt x="900761" y="3536196"/>
                  <a:pt x="910701" y="3205569"/>
                </a:cubicBezTo>
                <a:cubicBezTo>
                  <a:pt x="917616" y="2895687"/>
                  <a:pt x="987631" y="2584077"/>
                  <a:pt x="1054621" y="2282407"/>
                </a:cubicBezTo>
                <a:cubicBezTo>
                  <a:pt x="1074934" y="2193807"/>
                  <a:pt x="1094815" y="2102616"/>
                  <a:pt x="1111671" y="2014016"/>
                </a:cubicBezTo>
                <a:cubicBezTo>
                  <a:pt x="1245218" y="1359677"/>
                  <a:pt x="1288869" y="721330"/>
                  <a:pt x="1235277" y="116260"/>
                </a:cubicBezTo>
                <a:cubicBezTo>
                  <a:pt x="1231819" y="79091"/>
                  <a:pt x="1228794" y="39762"/>
                  <a:pt x="1225337" y="433"/>
                </a:cubicBezTo>
                <a:close/>
                <a:moveTo>
                  <a:pt x="1074069" y="433"/>
                </a:moveTo>
                <a:lnTo>
                  <a:pt x="1090925" y="433"/>
                </a:lnTo>
                <a:cubicBezTo>
                  <a:pt x="1097840" y="47974"/>
                  <a:pt x="1100866" y="97676"/>
                  <a:pt x="1104323" y="149107"/>
                </a:cubicBezTo>
                <a:cubicBezTo>
                  <a:pt x="1157916" y="754176"/>
                  <a:pt x="1117721" y="1394685"/>
                  <a:pt x="983741" y="2053345"/>
                </a:cubicBezTo>
                <a:cubicBezTo>
                  <a:pt x="966887" y="2142376"/>
                  <a:pt x="947006" y="2228815"/>
                  <a:pt x="930150" y="2315686"/>
                </a:cubicBezTo>
                <a:cubicBezTo>
                  <a:pt x="863160" y="2619518"/>
                  <a:pt x="796170" y="2935449"/>
                  <a:pt x="789687" y="3249221"/>
                </a:cubicBezTo>
                <a:cubicBezTo>
                  <a:pt x="783204" y="3581576"/>
                  <a:pt x="850194" y="3942889"/>
                  <a:pt x="990657" y="4356065"/>
                </a:cubicBezTo>
                <a:cubicBezTo>
                  <a:pt x="1221880" y="5027259"/>
                  <a:pt x="1539540" y="5539406"/>
                  <a:pt x="1991614" y="5966845"/>
                </a:cubicBezTo>
                <a:cubicBezTo>
                  <a:pt x="2105282" y="6074461"/>
                  <a:pt x="2228887" y="6177754"/>
                  <a:pt x="2362867" y="6276726"/>
                </a:cubicBezTo>
                <a:cubicBezTo>
                  <a:pt x="2662808" y="6496280"/>
                  <a:pt x="3004672" y="6688605"/>
                  <a:pt x="3342214" y="6858024"/>
                </a:cubicBezTo>
                <a:lnTo>
                  <a:pt x="3320605" y="6858024"/>
                </a:lnTo>
                <a:cubicBezTo>
                  <a:pt x="2985657" y="6690766"/>
                  <a:pt x="2649843" y="6500602"/>
                  <a:pt x="2352927" y="6283209"/>
                </a:cubicBezTo>
                <a:cubicBezTo>
                  <a:pt x="2219381" y="6183805"/>
                  <a:pt x="2091882" y="6078350"/>
                  <a:pt x="1978216" y="5971166"/>
                </a:cubicBezTo>
                <a:cubicBezTo>
                  <a:pt x="1526575" y="5543729"/>
                  <a:pt x="1208483" y="5031581"/>
                  <a:pt x="977691" y="4358225"/>
                </a:cubicBezTo>
                <a:cubicBezTo>
                  <a:pt x="836797" y="3945050"/>
                  <a:pt x="770240" y="3581576"/>
                  <a:pt x="776722" y="3249221"/>
                </a:cubicBezTo>
                <a:cubicBezTo>
                  <a:pt x="783204" y="2935449"/>
                  <a:pt x="850194" y="2619518"/>
                  <a:pt x="913294" y="2313525"/>
                </a:cubicBezTo>
                <a:cubicBezTo>
                  <a:pt x="933608" y="2228815"/>
                  <a:pt x="953489" y="2140216"/>
                  <a:pt x="970344" y="2053345"/>
                </a:cubicBezTo>
                <a:cubicBezTo>
                  <a:pt x="1100866" y="1394253"/>
                  <a:pt x="1141060" y="754176"/>
                  <a:pt x="1090925" y="149107"/>
                </a:cubicBezTo>
                <a:cubicBezTo>
                  <a:pt x="1087468" y="97676"/>
                  <a:pt x="1080552" y="47974"/>
                  <a:pt x="1074069" y="433"/>
                </a:cubicBezTo>
                <a:close/>
                <a:moveTo>
                  <a:pt x="780179" y="433"/>
                </a:moveTo>
                <a:lnTo>
                  <a:pt x="793577" y="433"/>
                </a:lnTo>
                <a:cubicBezTo>
                  <a:pt x="806974" y="74770"/>
                  <a:pt x="813457" y="146946"/>
                  <a:pt x="816915" y="213072"/>
                </a:cubicBezTo>
                <a:cubicBezTo>
                  <a:pt x="867049" y="818140"/>
                  <a:pt x="826856" y="1462539"/>
                  <a:pt x="703249" y="2131572"/>
                </a:cubicBezTo>
                <a:cubicBezTo>
                  <a:pt x="686393" y="2214553"/>
                  <a:pt x="669970" y="2297102"/>
                  <a:pt x="653115" y="2377489"/>
                </a:cubicBezTo>
                <a:cubicBezTo>
                  <a:pt x="589583" y="2691261"/>
                  <a:pt x="526050" y="3013676"/>
                  <a:pt x="522593" y="3335659"/>
                </a:cubicBezTo>
                <a:cubicBezTo>
                  <a:pt x="522593" y="3670175"/>
                  <a:pt x="592609" y="4033650"/>
                  <a:pt x="739985" y="4444664"/>
                </a:cubicBezTo>
                <a:cubicBezTo>
                  <a:pt x="977691" y="5118019"/>
                  <a:pt x="1305292" y="5630167"/>
                  <a:pt x="1767306" y="6057605"/>
                </a:cubicBezTo>
                <a:cubicBezTo>
                  <a:pt x="1880974" y="6165220"/>
                  <a:pt x="2008470" y="6268515"/>
                  <a:pt x="2145475" y="6367487"/>
                </a:cubicBezTo>
                <a:cubicBezTo>
                  <a:pt x="2395282" y="6546846"/>
                  <a:pt x="2675774" y="6709783"/>
                  <a:pt x="2960590" y="6857160"/>
                </a:cubicBezTo>
                <a:lnTo>
                  <a:pt x="2936818" y="6857160"/>
                </a:lnTo>
                <a:cubicBezTo>
                  <a:pt x="2655894" y="6711079"/>
                  <a:pt x="2379290" y="6550304"/>
                  <a:pt x="2135535" y="6373105"/>
                </a:cubicBezTo>
                <a:cubicBezTo>
                  <a:pt x="1998098" y="6273700"/>
                  <a:pt x="1871033" y="6168678"/>
                  <a:pt x="1753909" y="6063223"/>
                </a:cubicBezTo>
                <a:cubicBezTo>
                  <a:pt x="1292327" y="5634057"/>
                  <a:pt x="964293" y="5119748"/>
                  <a:pt x="726587" y="4446393"/>
                </a:cubicBezTo>
                <a:cubicBezTo>
                  <a:pt x="579642" y="4033218"/>
                  <a:pt x="509195" y="3669743"/>
                  <a:pt x="509195" y="3335227"/>
                </a:cubicBezTo>
                <a:cubicBezTo>
                  <a:pt x="512652" y="3013243"/>
                  <a:pt x="576185" y="2689099"/>
                  <a:pt x="639717" y="2377057"/>
                </a:cubicBezTo>
                <a:cubicBezTo>
                  <a:pt x="656141" y="2296670"/>
                  <a:pt x="672995" y="2211960"/>
                  <a:pt x="686393" y="2129411"/>
                </a:cubicBezTo>
                <a:cubicBezTo>
                  <a:pt x="813457" y="1462539"/>
                  <a:pt x="853652" y="818140"/>
                  <a:pt x="803517" y="215232"/>
                </a:cubicBezTo>
                <a:cubicBezTo>
                  <a:pt x="797035" y="146946"/>
                  <a:pt x="790119" y="74770"/>
                  <a:pt x="780179" y="433"/>
                </a:cubicBezTo>
                <a:close/>
                <a:moveTo>
                  <a:pt x="628912" y="433"/>
                </a:moveTo>
                <a:lnTo>
                  <a:pt x="645768" y="433"/>
                </a:lnTo>
                <a:cubicBezTo>
                  <a:pt x="659165" y="85142"/>
                  <a:pt x="669106" y="169852"/>
                  <a:pt x="672563" y="246350"/>
                </a:cubicBezTo>
                <a:cubicBezTo>
                  <a:pt x="719672" y="849258"/>
                  <a:pt x="682504" y="1497546"/>
                  <a:pt x="558897" y="2170901"/>
                </a:cubicBezTo>
                <a:cubicBezTo>
                  <a:pt x="545499" y="2249128"/>
                  <a:pt x="528644" y="2329516"/>
                  <a:pt x="515245" y="2408175"/>
                </a:cubicBezTo>
                <a:cubicBezTo>
                  <a:pt x="451713" y="2726268"/>
                  <a:pt x="388180" y="3052574"/>
                  <a:pt x="391639" y="3378879"/>
                </a:cubicBezTo>
                <a:cubicBezTo>
                  <a:pt x="391639" y="3715556"/>
                  <a:pt x="465112" y="4079029"/>
                  <a:pt x="612488" y="4490044"/>
                </a:cubicBezTo>
                <a:cubicBezTo>
                  <a:pt x="856678" y="5163400"/>
                  <a:pt x="1188168" y="5675547"/>
                  <a:pt x="1653207" y="6102985"/>
                </a:cubicBezTo>
                <a:cubicBezTo>
                  <a:pt x="1770332" y="6210601"/>
                  <a:pt x="1897829" y="6313895"/>
                  <a:pt x="2034834" y="6412867"/>
                </a:cubicBezTo>
                <a:cubicBezTo>
                  <a:pt x="2262167" y="6574938"/>
                  <a:pt x="2510676" y="6721884"/>
                  <a:pt x="2768696" y="6857592"/>
                </a:cubicBezTo>
                <a:lnTo>
                  <a:pt x="2748382" y="6857592"/>
                </a:lnTo>
                <a:cubicBezTo>
                  <a:pt x="2493821" y="6724045"/>
                  <a:pt x="2248768" y="6578828"/>
                  <a:pt x="2024893" y="6419349"/>
                </a:cubicBezTo>
                <a:cubicBezTo>
                  <a:pt x="1887456" y="6319945"/>
                  <a:pt x="1756935" y="6214923"/>
                  <a:pt x="1643267" y="6109468"/>
                </a:cubicBezTo>
                <a:cubicBezTo>
                  <a:pt x="1174770" y="5679869"/>
                  <a:pt x="843711" y="5165560"/>
                  <a:pt x="599091" y="4492205"/>
                </a:cubicBezTo>
                <a:cubicBezTo>
                  <a:pt x="451713" y="4079461"/>
                  <a:pt x="378240" y="3715988"/>
                  <a:pt x="374782" y="3379311"/>
                </a:cubicBezTo>
                <a:cubicBezTo>
                  <a:pt x="374782" y="3053006"/>
                  <a:pt x="438315" y="2724540"/>
                  <a:pt x="501847" y="2408607"/>
                </a:cubicBezTo>
                <a:cubicBezTo>
                  <a:pt x="515245" y="2330380"/>
                  <a:pt x="532101" y="2249561"/>
                  <a:pt x="545499" y="2169173"/>
                </a:cubicBezTo>
                <a:cubicBezTo>
                  <a:pt x="669106" y="1497978"/>
                  <a:pt x="705841" y="849258"/>
                  <a:pt x="659165" y="246350"/>
                </a:cubicBezTo>
                <a:cubicBezTo>
                  <a:pt x="652251" y="169852"/>
                  <a:pt x="645768" y="85142"/>
                  <a:pt x="628912" y="433"/>
                </a:cubicBezTo>
                <a:close/>
                <a:moveTo>
                  <a:pt x="4150413" y="0"/>
                </a:moveTo>
                <a:lnTo>
                  <a:pt x="4163811" y="0"/>
                </a:lnTo>
                <a:cubicBezTo>
                  <a:pt x="4160354" y="414905"/>
                  <a:pt x="4089906" y="830242"/>
                  <a:pt x="3952901" y="1239096"/>
                </a:cubicBezTo>
                <a:cubicBezTo>
                  <a:pt x="3912708" y="1359244"/>
                  <a:pt x="3866031" y="1480691"/>
                  <a:pt x="3822380" y="1596518"/>
                </a:cubicBezTo>
                <a:cubicBezTo>
                  <a:pt x="3728595" y="1842004"/>
                  <a:pt x="3631783" y="2093971"/>
                  <a:pt x="3588131" y="2348100"/>
                </a:cubicBezTo>
                <a:cubicBezTo>
                  <a:pt x="3534540" y="2651932"/>
                  <a:pt x="3551395" y="2980397"/>
                  <a:pt x="3638265" y="3413886"/>
                </a:cubicBezTo>
                <a:cubicBezTo>
                  <a:pt x="3771814" y="4095452"/>
                  <a:pt x="3992663" y="4589016"/>
                  <a:pt x="4350951" y="5010403"/>
                </a:cubicBezTo>
                <a:cubicBezTo>
                  <a:pt x="4441278" y="5117587"/>
                  <a:pt x="4545005" y="5225203"/>
                  <a:pt x="4658670" y="5326336"/>
                </a:cubicBezTo>
                <a:cubicBezTo>
                  <a:pt x="5016958" y="5644429"/>
                  <a:pt x="5495395" y="5943938"/>
                  <a:pt x="6081015" y="6214491"/>
                </a:cubicBezTo>
                <a:cubicBezTo>
                  <a:pt x="6224935" y="6280616"/>
                  <a:pt x="6372312" y="6344581"/>
                  <a:pt x="6522715" y="6404654"/>
                </a:cubicBezTo>
                <a:cubicBezTo>
                  <a:pt x="6931137" y="6568024"/>
                  <a:pt x="7369379" y="6708486"/>
                  <a:pt x="7824477" y="6826042"/>
                </a:cubicBezTo>
                <a:cubicBezTo>
                  <a:pt x="7865969" y="6836847"/>
                  <a:pt x="7908323" y="6847220"/>
                  <a:pt x="7951543" y="6857160"/>
                </a:cubicBezTo>
                <a:lnTo>
                  <a:pt x="7910051" y="6857160"/>
                </a:lnTo>
                <a:cubicBezTo>
                  <a:pt x="7878934" y="6849381"/>
                  <a:pt x="7848248" y="6841601"/>
                  <a:pt x="7817994" y="6833822"/>
                </a:cubicBezTo>
                <a:cubicBezTo>
                  <a:pt x="7362897" y="6715833"/>
                  <a:pt x="6924654" y="6573210"/>
                  <a:pt x="6516232" y="6410273"/>
                </a:cubicBezTo>
                <a:cubicBezTo>
                  <a:pt x="6365397" y="6350198"/>
                  <a:pt x="6218452" y="6288395"/>
                  <a:pt x="6071074" y="6220110"/>
                </a:cubicBezTo>
                <a:cubicBezTo>
                  <a:pt x="5485455" y="5949557"/>
                  <a:pt x="5007019" y="5650480"/>
                  <a:pt x="4648731" y="5330225"/>
                </a:cubicBezTo>
                <a:cubicBezTo>
                  <a:pt x="4535064" y="5229092"/>
                  <a:pt x="4427881" y="5121477"/>
                  <a:pt x="4337553" y="5014293"/>
                </a:cubicBezTo>
                <a:cubicBezTo>
                  <a:pt x="3979698" y="4591177"/>
                  <a:pt x="3758416" y="4097614"/>
                  <a:pt x="3621411" y="3413886"/>
                </a:cubicBezTo>
                <a:cubicBezTo>
                  <a:pt x="3534540" y="2979965"/>
                  <a:pt x="3521142" y="2651500"/>
                  <a:pt x="3574733" y="2348100"/>
                </a:cubicBezTo>
                <a:cubicBezTo>
                  <a:pt x="3618386" y="2092242"/>
                  <a:pt x="3715197" y="1840274"/>
                  <a:pt x="3808982" y="1594358"/>
                </a:cubicBezTo>
                <a:cubicBezTo>
                  <a:pt x="3852633" y="1478530"/>
                  <a:pt x="3899309" y="1356652"/>
                  <a:pt x="3939503" y="1239096"/>
                </a:cubicBezTo>
                <a:cubicBezTo>
                  <a:pt x="4076940" y="830242"/>
                  <a:pt x="4146956" y="414905"/>
                  <a:pt x="4150413" y="0"/>
                </a:cubicBezTo>
                <a:close/>
              </a:path>
            </a:pathLst>
          </a:custGeom>
          <a:gradFill>
            <a:gsLst>
              <a:gs pos="100000">
                <a:srgbClr val="28246F">
                  <a:alpha val="0"/>
                </a:srgbClr>
              </a:gs>
              <a:gs pos="44000">
                <a:srgbClr val="52BE6F">
                  <a:alpha val="25000"/>
                </a:srgbClr>
              </a:gs>
              <a:gs pos="0">
                <a:srgbClr val="3BCCFF">
                  <a:alpha val="0"/>
                </a:srgbClr>
              </a:gs>
              <a:gs pos="73000">
                <a:srgbClr val="F69F0C"/>
              </a:gs>
            </a:gsLst>
            <a:lin ang="3000000" scaled="0"/>
          </a:gra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B35BDF-1297-984E-B173-15E722BAFBA5}"/>
              </a:ext>
            </a:extLst>
          </p:cNvPr>
          <p:cNvCxnSpPr>
            <a:cxnSpLocks/>
          </p:cNvCxnSpPr>
          <p:nvPr userDrawn="1"/>
        </p:nvCxnSpPr>
        <p:spPr>
          <a:xfrm>
            <a:off x="459178" y="5064093"/>
            <a:ext cx="5767451" cy="0"/>
          </a:xfrm>
          <a:prstGeom prst="line">
            <a:avLst/>
          </a:prstGeom>
          <a:ln>
            <a:gradFill flip="none" rotWithShape="1">
              <a:gsLst>
                <a:gs pos="1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459179" y="2872222"/>
            <a:ext cx="5767451" cy="197248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179" y="5283483"/>
            <a:ext cx="576745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cap="all" spc="300" baseline="0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25934C0D-BF0E-4814-BFBF-6EE12D9E96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549" y="880346"/>
            <a:ext cx="2541915" cy="107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5068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E914221-A0A7-878A-1B18-C37FAEFAA501}"/>
              </a:ext>
            </a:extLst>
          </p:cNvPr>
          <p:cNvGrpSpPr/>
          <p:nvPr userDrawn="1"/>
        </p:nvGrpSpPr>
        <p:grpSpPr>
          <a:xfrm>
            <a:off x="-5247227" y="5100691"/>
            <a:ext cx="11539831" cy="6019315"/>
            <a:chOff x="4868423" y="9747437"/>
            <a:chExt cx="11536826" cy="601931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2E7353C-5CAA-0EBA-015E-8C88C972225E}"/>
                </a:ext>
              </a:extLst>
            </p:cNvPr>
            <p:cNvSpPr/>
            <p:nvPr/>
          </p:nvSpPr>
          <p:spPr>
            <a:xfrm rot="5102068" flipH="1">
              <a:off x="9962425" y="8948970"/>
              <a:ext cx="5088940" cy="7796708"/>
            </a:xfrm>
            <a:prstGeom prst="ellipse">
              <a:avLst/>
            </a:prstGeom>
            <a:gradFill flip="none" rotWithShape="1">
              <a:gsLst>
                <a:gs pos="47000">
                  <a:schemeClr val="accent3">
                    <a:alpha val="50000"/>
                  </a:schemeClr>
                </a:gs>
                <a:gs pos="0">
                  <a:schemeClr val="tx2">
                    <a:alpha val="50000"/>
                  </a:schemeClr>
                </a:gs>
                <a:gs pos="23836">
                  <a:srgbClr val="757FD9"/>
                </a:gs>
                <a:gs pos="15000">
                  <a:srgbClr val="7A7CD4"/>
                </a:gs>
                <a:gs pos="89000">
                  <a:schemeClr val="accent4">
                    <a:alpha val="63000"/>
                  </a:schemeClr>
                </a:gs>
              </a:gsLst>
              <a:lin ang="18900000" scaled="1"/>
              <a:tileRect/>
            </a:gra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latin typeface="InspireTWDC" panose="00000000000000020000" pitchFamily="50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66A0C0EC-3111-72D6-B4F9-55E7736E15D3}"/>
                </a:ext>
              </a:extLst>
            </p:cNvPr>
            <p:cNvSpPr/>
            <p:nvPr/>
          </p:nvSpPr>
          <p:spPr>
            <a:xfrm rot="13500000" flipH="1">
              <a:off x="5628098" y="8987762"/>
              <a:ext cx="6019315" cy="7538666"/>
            </a:xfrm>
            <a:prstGeom prst="ellipse">
              <a:avLst/>
            </a:prstGeom>
            <a:gradFill flip="none" rotWithShape="1">
              <a:gsLst>
                <a:gs pos="62000">
                  <a:schemeClr val="accent3">
                    <a:alpha val="32000"/>
                  </a:schemeClr>
                </a:gs>
                <a:gs pos="0">
                  <a:schemeClr val="tx2">
                    <a:alpha val="29000"/>
                  </a:schemeClr>
                </a:gs>
                <a:gs pos="34000">
                  <a:srgbClr val="7A7CD4">
                    <a:alpha val="72000"/>
                  </a:srgbClr>
                </a:gs>
                <a:gs pos="89000">
                  <a:schemeClr val="accent4">
                    <a:alpha val="50000"/>
                  </a:schemeClr>
                </a:gs>
              </a:gsLst>
              <a:lin ang="18900000" scaled="1"/>
              <a:tileRect/>
            </a:gra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latin typeface="InspireTWDC" panose="00000000000000020000" pitchFamily="50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EF73BAD-B836-CEC5-B439-31D498C658B5}"/>
                </a:ext>
              </a:extLst>
            </p:cNvPr>
            <p:cNvSpPr/>
            <p:nvPr/>
          </p:nvSpPr>
          <p:spPr>
            <a:xfrm rot="19800000" flipH="1">
              <a:off x="7605435" y="9977978"/>
              <a:ext cx="5900438" cy="4901479"/>
            </a:xfrm>
            <a:prstGeom prst="ellipse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latin typeface="InspireTWDC" panose="00000000000000020000" pitchFamily="50" charset="0"/>
              </a:endParaRPr>
            </a:p>
          </p:txBody>
        </p:sp>
      </p:grp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0062623-F125-CE7C-2A7C-47BDFF9648D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288" y="4720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6056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4CE47C2-635C-E9CB-C956-93AEA131E00E}"/>
              </a:ext>
            </a:extLst>
          </p:cNvPr>
          <p:cNvSpPr/>
          <p:nvPr userDrawn="1"/>
        </p:nvSpPr>
        <p:spPr>
          <a:xfrm>
            <a:off x="9186530" y="6251944"/>
            <a:ext cx="2913321" cy="478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ircle: Hollow 1">
            <a:extLst>
              <a:ext uri="{FF2B5EF4-FFF2-40B4-BE49-F238E27FC236}">
                <a16:creationId xmlns:a16="http://schemas.microsoft.com/office/drawing/2014/main" id="{5A0AB4F6-2214-7184-BFA2-206AA869A821}"/>
              </a:ext>
            </a:extLst>
          </p:cNvPr>
          <p:cNvSpPr/>
          <p:nvPr userDrawn="1"/>
        </p:nvSpPr>
        <p:spPr>
          <a:xfrm>
            <a:off x="-2160181" y="-1578935"/>
            <a:ext cx="16512362" cy="10015870"/>
          </a:xfrm>
          <a:prstGeom prst="donut">
            <a:avLst>
              <a:gd name="adj" fmla="val 37917"/>
            </a:avLst>
          </a:prstGeom>
          <a:gradFill>
            <a:gsLst>
              <a:gs pos="27000">
                <a:srgbClr val="CAC8ED">
                  <a:alpha val="28000"/>
                </a:srgbClr>
              </a:gs>
              <a:gs pos="75000">
                <a:schemeClr val="accent3">
                  <a:lumMod val="20000"/>
                  <a:lumOff val="80000"/>
                </a:schemeClr>
              </a:gs>
              <a:gs pos="50000">
                <a:schemeClr val="accent4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18900000" scaled="1"/>
          </a:gradFill>
          <a:ln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3112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235D"/>
              </a:gs>
              <a:gs pos="86000">
                <a:schemeClr val="accent3"/>
              </a:gs>
              <a:gs pos="5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entury Gothic" panose="020B0502020202020204" pitchFamily="34" charset="0"/>
            </a:endParaRP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6BC8544B-CB97-7861-67B3-46B710D512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542" y="6309359"/>
            <a:ext cx="719343" cy="30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318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80000">
                <a:schemeClr val="accent3">
                  <a:alpha val="56000"/>
                </a:schemeClr>
              </a:gs>
              <a:gs pos="19000">
                <a:srgbClr val="316AD3">
                  <a:alpha val="87000"/>
                </a:srgbClr>
              </a:gs>
              <a:gs pos="0">
                <a:schemeClr val="tx2"/>
              </a:gs>
              <a:gs pos="100000">
                <a:schemeClr val="accent4">
                  <a:alpha val="97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2119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EA9CA8-4796-209C-5BCA-E0DF9973CFE0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pPr algn="r"/>
              <a:t>‹#›</a:t>
            </a:fld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C48E51-5614-F41E-5FFA-45EBB46E59B4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t>©2025 Acquis Consulting Group, L.L.C.</a:t>
            </a:r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C618CC-DE1B-0404-40DF-E8BF747E1918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375BFCB7-E22C-47BC-E992-92EF935B3749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52" y="6308721"/>
            <a:ext cx="878053" cy="374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4652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05D9941-CF8B-266C-2C4A-05C68135654D}"/>
              </a:ext>
            </a:extLst>
          </p:cNvPr>
          <p:cNvSpPr/>
          <p:nvPr userDrawn="1"/>
        </p:nvSpPr>
        <p:spPr>
          <a:xfrm rot="16200000" flipH="1">
            <a:off x="2683714" y="-2682025"/>
            <a:ext cx="6857999" cy="12192000"/>
          </a:xfrm>
          <a:custGeom>
            <a:avLst/>
            <a:gdLst>
              <a:gd name="connsiteX0" fmla="*/ 2608751 w 4703181"/>
              <a:gd name="connsiteY0" fmla="*/ 5105305 h 12188825"/>
              <a:gd name="connsiteX1" fmla="*/ 2639362 w 4703181"/>
              <a:gd name="connsiteY1" fmla="*/ 6171565 h 12188825"/>
              <a:gd name="connsiteX2" fmla="*/ 3151435 w 4703181"/>
              <a:gd name="connsiteY2" fmla="*/ 9535377 h 12188825"/>
              <a:gd name="connsiteX3" fmla="*/ 3923653 w 4703181"/>
              <a:gd name="connsiteY3" fmla="*/ 11210893 h 12188825"/>
              <a:gd name="connsiteX4" fmla="*/ 4428881 w 4703181"/>
              <a:gd name="connsiteY4" fmla="*/ 11906322 h 12188825"/>
              <a:gd name="connsiteX5" fmla="*/ 4680688 w 4703181"/>
              <a:gd name="connsiteY5" fmla="*/ 12188825 h 12188825"/>
              <a:gd name="connsiteX6" fmla="*/ 4703181 w 4703181"/>
              <a:gd name="connsiteY6" fmla="*/ 12188825 h 12188825"/>
              <a:gd name="connsiteX7" fmla="*/ 4426466 w 4703181"/>
              <a:gd name="connsiteY7" fmla="*/ 11877318 h 12188825"/>
              <a:gd name="connsiteX8" fmla="*/ 3163562 w 4703181"/>
              <a:gd name="connsiteY8" fmla="*/ 9527159 h 12188825"/>
              <a:gd name="connsiteX9" fmla="*/ 2654618 w 4703181"/>
              <a:gd name="connsiteY9" fmla="*/ 6167910 h 12188825"/>
              <a:gd name="connsiteX10" fmla="*/ 2682002 w 4703181"/>
              <a:gd name="connsiteY10" fmla="*/ 3969193 h 12188825"/>
              <a:gd name="connsiteX11" fmla="*/ 2936278 w 4703181"/>
              <a:gd name="connsiteY11" fmla="*/ 2523777 h 12188825"/>
              <a:gd name="connsiteX12" fmla="*/ 3093930 w 4703181"/>
              <a:gd name="connsiteY12" fmla="*/ 1721172 h 12188825"/>
              <a:gd name="connsiteX13" fmla="*/ 3293830 w 4703181"/>
              <a:gd name="connsiteY13" fmla="*/ 1828 h 12188825"/>
              <a:gd name="connsiteX14" fmla="*/ 3281703 w 4703181"/>
              <a:gd name="connsiteY14" fmla="*/ 1828 h 12188825"/>
              <a:gd name="connsiteX15" fmla="*/ 3081803 w 4703181"/>
              <a:gd name="connsiteY15" fmla="*/ 1716605 h 12188825"/>
              <a:gd name="connsiteX16" fmla="*/ 2924151 w 4703181"/>
              <a:gd name="connsiteY16" fmla="*/ 2519212 h 12188825"/>
              <a:gd name="connsiteX17" fmla="*/ 2666745 w 4703181"/>
              <a:gd name="connsiteY17" fmla="*/ 3963715 h 12188825"/>
              <a:gd name="connsiteX18" fmla="*/ 2608751 w 4703181"/>
              <a:gd name="connsiteY18" fmla="*/ 5105305 h 12188825"/>
              <a:gd name="connsiteX19" fmla="*/ 2492175 w 4703181"/>
              <a:gd name="connsiteY19" fmla="*/ 5200265 h 12188825"/>
              <a:gd name="connsiteX20" fmla="*/ 2527089 w 4703181"/>
              <a:gd name="connsiteY20" fmla="*/ 6267436 h 12188825"/>
              <a:gd name="connsiteX21" fmla="*/ 3048160 w 4703181"/>
              <a:gd name="connsiteY21" fmla="*/ 9631249 h 12188825"/>
              <a:gd name="connsiteX22" fmla="*/ 3302436 w 4703181"/>
              <a:gd name="connsiteY22" fmla="*/ 10307849 h 12188825"/>
              <a:gd name="connsiteX23" fmla="*/ 4337932 w 4703181"/>
              <a:gd name="connsiteY23" fmla="*/ 12000941 h 12188825"/>
              <a:gd name="connsiteX24" fmla="*/ 4501908 w 4703181"/>
              <a:gd name="connsiteY24" fmla="*/ 12188825 h 12188825"/>
              <a:gd name="connsiteX25" fmla="*/ 4522453 w 4703181"/>
              <a:gd name="connsiteY25" fmla="*/ 12188825 h 12188825"/>
              <a:gd name="connsiteX26" fmla="*/ 4347456 w 4703181"/>
              <a:gd name="connsiteY26" fmla="*/ 11988315 h 12188825"/>
              <a:gd name="connsiteX27" fmla="*/ 3314954 w 4703181"/>
              <a:gd name="connsiteY27" fmla="*/ 10298717 h 12188825"/>
              <a:gd name="connsiteX28" fmla="*/ 3060679 w 4703181"/>
              <a:gd name="connsiteY28" fmla="*/ 9622121 h 12188825"/>
              <a:gd name="connsiteX29" fmla="*/ 2539607 w 4703181"/>
              <a:gd name="connsiteY29" fmla="*/ 6262871 h 12188825"/>
              <a:gd name="connsiteX30" fmla="*/ 2560732 w 4703181"/>
              <a:gd name="connsiteY30" fmla="*/ 4059590 h 12188825"/>
              <a:gd name="connsiteX31" fmla="*/ 2812269 w 4703181"/>
              <a:gd name="connsiteY31" fmla="*/ 2602301 h 12188825"/>
              <a:gd name="connsiteX32" fmla="*/ 2966791 w 4703181"/>
              <a:gd name="connsiteY32" fmla="*/ 1804263 h 12188825"/>
              <a:gd name="connsiteX33" fmla="*/ 3166692 w 4703181"/>
              <a:gd name="connsiteY33" fmla="*/ 2740 h 12188825"/>
              <a:gd name="connsiteX34" fmla="*/ 3154565 w 4703181"/>
              <a:gd name="connsiteY34" fmla="*/ 2740 h 12188825"/>
              <a:gd name="connsiteX35" fmla="*/ 2954274 w 4703181"/>
              <a:gd name="connsiteY35" fmla="*/ 1799697 h 12188825"/>
              <a:gd name="connsiteX36" fmla="*/ 2796622 w 4703181"/>
              <a:gd name="connsiteY36" fmla="*/ 2597736 h 12188825"/>
              <a:gd name="connsiteX37" fmla="*/ 2548215 w 4703181"/>
              <a:gd name="connsiteY37" fmla="*/ 4055025 h 12188825"/>
              <a:gd name="connsiteX38" fmla="*/ 2492175 w 4703181"/>
              <a:gd name="connsiteY38" fmla="*/ 5200265 h 12188825"/>
              <a:gd name="connsiteX39" fmla="*/ 2374376 w 4703181"/>
              <a:gd name="connsiteY39" fmla="*/ 5294998 h 12188825"/>
              <a:gd name="connsiteX40" fmla="*/ 2412078 w 4703181"/>
              <a:gd name="connsiteY40" fmla="*/ 6358744 h 12188825"/>
              <a:gd name="connsiteX41" fmla="*/ 2948406 w 4703181"/>
              <a:gd name="connsiteY41" fmla="*/ 9727125 h 12188825"/>
              <a:gd name="connsiteX42" fmla="*/ 3205812 w 4703181"/>
              <a:gd name="connsiteY42" fmla="*/ 10403723 h 12188825"/>
              <a:gd name="connsiteX43" fmla="*/ 4245239 w 4703181"/>
              <a:gd name="connsiteY43" fmla="*/ 12093056 h 12188825"/>
              <a:gd name="connsiteX44" fmla="*/ 4329667 w 4703181"/>
              <a:gd name="connsiteY44" fmla="*/ 12188825 h 12188825"/>
              <a:gd name="connsiteX45" fmla="*/ 4346385 w 4703181"/>
              <a:gd name="connsiteY45" fmla="*/ 12188825 h 12188825"/>
              <a:gd name="connsiteX46" fmla="*/ 4252139 w 4703181"/>
              <a:gd name="connsiteY46" fmla="*/ 12081456 h 12188825"/>
              <a:gd name="connsiteX47" fmla="*/ 3214810 w 4703181"/>
              <a:gd name="connsiteY47" fmla="*/ 10396417 h 12188825"/>
              <a:gd name="connsiteX48" fmla="*/ 2960533 w 4703181"/>
              <a:gd name="connsiteY48" fmla="*/ 9719821 h 12188825"/>
              <a:gd name="connsiteX49" fmla="*/ 2424205 w 4703181"/>
              <a:gd name="connsiteY49" fmla="*/ 6360572 h 12188825"/>
              <a:gd name="connsiteX50" fmla="*/ 2439462 w 4703181"/>
              <a:gd name="connsiteY50" fmla="*/ 4148159 h 12188825"/>
              <a:gd name="connsiteX51" fmla="*/ 2687870 w 4703181"/>
              <a:gd name="connsiteY51" fmla="*/ 2682653 h 12188825"/>
              <a:gd name="connsiteX52" fmla="*/ 2839262 w 4703181"/>
              <a:gd name="connsiteY52" fmla="*/ 1888267 h 12188825"/>
              <a:gd name="connsiteX53" fmla="*/ 3039162 w 4703181"/>
              <a:gd name="connsiteY53" fmla="*/ 3653 h 12188825"/>
              <a:gd name="connsiteX54" fmla="*/ 3027035 w 4703181"/>
              <a:gd name="connsiteY54" fmla="*/ 3653 h 12188825"/>
              <a:gd name="connsiteX55" fmla="*/ 2824006 w 4703181"/>
              <a:gd name="connsiteY55" fmla="*/ 1881876 h 12188825"/>
              <a:gd name="connsiteX56" fmla="*/ 2672613 w 4703181"/>
              <a:gd name="connsiteY56" fmla="*/ 2676260 h 12188825"/>
              <a:gd name="connsiteX57" fmla="*/ 2427334 w 4703181"/>
              <a:gd name="connsiteY57" fmla="*/ 4146333 h 12188825"/>
              <a:gd name="connsiteX58" fmla="*/ 2374376 w 4703181"/>
              <a:gd name="connsiteY58" fmla="*/ 5294998 h 12188825"/>
              <a:gd name="connsiteX59" fmla="*/ 2257654 w 4703181"/>
              <a:gd name="connsiteY59" fmla="*/ 5387105 h 12188825"/>
              <a:gd name="connsiteX60" fmla="*/ 2297458 w 4703181"/>
              <a:gd name="connsiteY60" fmla="*/ 6454621 h 12188825"/>
              <a:gd name="connsiteX61" fmla="*/ 2845912 w 4703181"/>
              <a:gd name="connsiteY61" fmla="*/ 9822999 h 12188825"/>
              <a:gd name="connsiteX62" fmla="*/ 3106448 w 4703181"/>
              <a:gd name="connsiteY62" fmla="*/ 10499599 h 12188825"/>
              <a:gd name="connsiteX63" fmla="*/ 4153715 w 4703181"/>
              <a:gd name="connsiteY63" fmla="*/ 12187433 h 12188825"/>
              <a:gd name="connsiteX64" fmla="*/ 4154941 w 4703181"/>
              <a:gd name="connsiteY64" fmla="*/ 12188825 h 12188825"/>
              <a:gd name="connsiteX65" fmla="*/ 4172800 w 4703181"/>
              <a:gd name="connsiteY65" fmla="*/ 12188825 h 12188825"/>
              <a:gd name="connsiteX66" fmla="*/ 4160605 w 4703181"/>
              <a:gd name="connsiteY66" fmla="*/ 12174920 h 12188825"/>
              <a:gd name="connsiteX67" fmla="*/ 3118184 w 4703181"/>
              <a:gd name="connsiteY67" fmla="*/ 10491381 h 12188825"/>
              <a:gd name="connsiteX68" fmla="*/ 2857649 w 4703181"/>
              <a:gd name="connsiteY68" fmla="*/ 9814781 h 12188825"/>
              <a:gd name="connsiteX69" fmla="*/ 2312323 w 4703181"/>
              <a:gd name="connsiteY69" fmla="*/ 6455534 h 12188825"/>
              <a:gd name="connsiteX70" fmla="*/ 2318191 w 4703181"/>
              <a:gd name="connsiteY70" fmla="*/ 4239467 h 12188825"/>
              <a:gd name="connsiteX71" fmla="*/ 2560341 w 4703181"/>
              <a:gd name="connsiteY71" fmla="*/ 2760265 h 12188825"/>
              <a:gd name="connsiteX72" fmla="*/ 2708603 w 4703181"/>
              <a:gd name="connsiteY72" fmla="*/ 1965881 h 12188825"/>
              <a:gd name="connsiteX73" fmla="*/ 2911633 w 4703181"/>
              <a:gd name="connsiteY73" fmla="*/ 2740 h 12188825"/>
              <a:gd name="connsiteX74" fmla="*/ 2899506 w 4703181"/>
              <a:gd name="connsiteY74" fmla="*/ 2740 h 12188825"/>
              <a:gd name="connsiteX75" fmla="*/ 2696868 w 4703181"/>
              <a:gd name="connsiteY75" fmla="*/ 1960401 h 12188825"/>
              <a:gd name="connsiteX76" fmla="*/ 2548606 w 4703181"/>
              <a:gd name="connsiteY76" fmla="*/ 2754787 h 12188825"/>
              <a:gd name="connsiteX77" fmla="*/ 2306455 w 4703181"/>
              <a:gd name="connsiteY77" fmla="*/ 4233992 h 12188825"/>
              <a:gd name="connsiteX78" fmla="*/ 2257654 w 4703181"/>
              <a:gd name="connsiteY78" fmla="*/ 5387105 h 12188825"/>
              <a:gd name="connsiteX79" fmla="*/ 2140304 w 4703181"/>
              <a:gd name="connsiteY79" fmla="*/ 5197653 h 12188825"/>
              <a:gd name="connsiteX80" fmla="*/ 2184795 w 4703181"/>
              <a:gd name="connsiteY80" fmla="*/ 6550494 h 12188825"/>
              <a:gd name="connsiteX81" fmla="*/ 2744985 w 4703181"/>
              <a:gd name="connsiteY81" fmla="*/ 9918873 h 12188825"/>
              <a:gd name="connsiteX82" fmla="*/ 3005520 w 4703181"/>
              <a:gd name="connsiteY82" fmla="*/ 10595473 h 12188825"/>
              <a:gd name="connsiteX83" fmla="*/ 3881746 w 4703181"/>
              <a:gd name="connsiteY83" fmla="*/ 12060806 h 12188825"/>
              <a:gd name="connsiteX84" fmla="*/ 3985674 w 4703181"/>
              <a:gd name="connsiteY84" fmla="*/ 12188825 h 12188825"/>
              <a:gd name="connsiteX85" fmla="*/ 4004655 w 4703181"/>
              <a:gd name="connsiteY85" fmla="*/ 12188825 h 12188825"/>
              <a:gd name="connsiteX86" fmla="*/ 3890402 w 4703181"/>
              <a:gd name="connsiteY86" fmla="*/ 12048093 h 12188825"/>
              <a:gd name="connsiteX87" fmla="*/ 3017256 w 4703181"/>
              <a:gd name="connsiteY87" fmla="*/ 10587253 h 12188825"/>
              <a:gd name="connsiteX88" fmla="*/ 2756720 w 4703181"/>
              <a:gd name="connsiteY88" fmla="*/ 9910657 h 12188825"/>
              <a:gd name="connsiteX89" fmla="*/ 2196530 w 4703181"/>
              <a:gd name="connsiteY89" fmla="*/ 6546842 h 12188825"/>
              <a:gd name="connsiteX90" fmla="*/ 2196530 w 4703181"/>
              <a:gd name="connsiteY90" fmla="*/ 4330779 h 12188825"/>
              <a:gd name="connsiteX91" fmla="*/ 2435940 w 4703181"/>
              <a:gd name="connsiteY91" fmla="*/ 2838792 h 12188825"/>
              <a:gd name="connsiteX92" fmla="*/ 2581465 w 4703181"/>
              <a:gd name="connsiteY92" fmla="*/ 2048971 h 12188825"/>
              <a:gd name="connsiteX93" fmla="*/ 2781366 w 4703181"/>
              <a:gd name="connsiteY93" fmla="*/ 2740 h 12188825"/>
              <a:gd name="connsiteX94" fmla="*/ 2769238 w 4703181"/>
              <a:gd name="connsiteY94" fmla="*/ 2740 h 12188825"/>
              <a:gd name="connsiteX95" fmla="*/ 2569730 w 4703181"/>
              <a:gd name="connsiteY95" fmla="*/ 2043491 h 12188825"/>
              <a:gd name="connsiteX96" fmla="*/ 2424205 w 4703181"/>
              <a:gd name="connsiteY96" fmla="*/ 2833314 h 12188825"/>
              <a:gd name="connsiteX97" fmla="*/ 2184795 w 4703181"/>
              <a:gd name="connsiteY97" fmla="*/ 4325297 h 12188825"/>
              <a:gd name="connsiteX98" fmla="*/ 2140304 w 4703181"/>
              <a:gd name="connsiteY98" fmla="*/ 5197653 h 12188825"/>
              <a:gd name="connsiteX99" fmla="*/ 2021831 w 4703181"/>
              <a:gd name="connsiteY99" fmla="*/ 5292172 h 12188825"/>
              <a:gd name="connsiteX100" fmla="*/ 2069783 w 4703181"/>
              <a:gd name="connsiteY100" fmla="*/ 6646365 h 12188825"/>
              <a:gd name="connsiteX101" fmla="*/ 2642100 w 4703181"/>
              <a:gd name="connsiteY101" fmla="*/ 10014747 h 12188825"/>
              <a:gd name="connsiteX102" fmla="*/ 2908504 w 4703181"/>
              <a:gd name="connsiteY102" fmla="*/ 10691345 h 12188825"/>
              <a:gd name="connsiteX103" fmla="*/ 3787206 w 4703181"/>
              <a:gd name="connsiteY103" fmla="*/ 12152185 h 12188825"/>
              <a:gd name="connsiteX104" fmla="*/ 3816965 w 4703181"/>
              <a:gd name="connsiteY104" fmla="*/ 12188825 h 12188825"/>
              <a:gd name="connsiteX105" fmla="*/ 3837535 w 4703181"/>
              <a:gd name="connsiteY105" fmla="*/ 12188825 h 12188825"/>
              <a:gd name="connsiteX106" fmla="*/ 3795646 w 4703181"/>
              <a:gd name="connsiteY106" fmla="*/ 12137547 h 12188825"/>
              <a:gd name="connsiteX107" fmla="*/ 2917110 w 4703181"/>
              <a:gd name="connsiteY107" fmla="*/ 10683127 h 12188825"/>
              <a:gd name="connsiteX108" fmla="*/ 2653445 w 4703181"/>
              <a:gd name="connsiteY108" fmla="*/ 10006529 h 12188825"/>
              <a:gd name="connsiteX109" fmla="*/ 2081128 w 4703181"/>
              <a:gd name="connsiteY109" fmla="*/ 6642714 h 12188825"/>
              <a:gd name="connsiteX110" fmla="*/ 2077998 w 4703181"/>
              <a:gd name="connsiteY110" fmla="*/ 4422087 h 12188825"/>
              <a:gd name="connsiteX111" fmla="*/ 2311150 w 4703181"/>
              <a:gd name="connsiteY111" fmla="*/ 2912753 h 12188825"/>
              <a:gd name="connsiteX112" fmla="*/ 2453544 w 4703181"/>
              <a:gd name="connsiteY112" fmla="*/ 2132061 h 12188825"/>
              <a:gd name="connsiteX113" fmla="*/ 2653445 w 4703181"/>
              <a:gd name="connsiteY113" fmla="*/ 2740 h 12188825"/>
              <a:gd name="connsiteX114" fmla="*/ 2641318 w 4703181"/>
              <a:gd name="connsiteY114" fmla="*/ 2740 h 12188825"/>
              <a:gd name="connsiteX115" fmla="*/ 2442591 w 4703181"/>
              <a:gd name="connsiteY115" fmla="*/ 2126581 h 12188825"/>
              <a:gd name="connsiteX116" fmla="*/ 2300196 w 4703181"/>
              <a:gd name="connsiteY116" fmla="*/ 2907272 h 12188825"/>
              <a:gd name="connsiteX117" fmla="*/ 2063915 w 4703181"/>
              <a:gd name="connsiteY117" fmla="*/ 4416608 h 12188825"/>
              <a:gd name="connsiteX118" fmla="*/ 2021831 w 4703181"/>
              <a:gd name="connsiteY118" fmla="*/ 5292172 h 12188825"/>
              <a:gd name="connsiteX119" fmla="*/ 1904686 w 4703181"/>
              <a:gd name="connsiteY119" fmla="*/ 5400875 h 12188825"/>
              <a:gd name="connsiteX120" fmla="*/ 1958292 w 4703181"/>
              <a:gd name="connsiteY120" fmla="*/ 6739501 h 12188825"/>
              <a:gd name="connsiteX121" fmla="*/ 2542738 w 4703181"/>
              <a:gd name="connsiteY121" fmla="*/ 10112449 h 12188825"/>
              <a:gd name="connsiteX122" fmla="*/ 2809140 w 4703181"/>
              <a:gd name="connsiteY122" fmla="*/ 10789045 h 12188825"/>
              <a:gd name="connsiteX123" fmla="*/ 3523933 w 4703181"/>
              <a:gd name="connsiteY123" fmla="*/ 12019084 h 12188825"/>
              <a:gd name="connsiteX124" fmla="*/ 3651957 w 4703181"/>
              <a:gd name="connsiteY124" fmla="*/ 12188825 h 12188825"/>
              <a:gd name="connsiteX125" fmla="*/ 3669378 w 4703181"/>
              <a:gd name="connsiteY125" fmla="*/ 12188825 h 12188825"/>
              <a:gd name="connsiteX126" fmla="*/ 3532332 w 4703181"/>
              <a:gd name="connsiteY126" fmla="*/ 12006541 h 12188825"/>
              <a:gd name="connsiteX127" fmla="*/ 2821267 w 4703181"/>
              <a:gd name="connsiteY127" fmla="*/ 10780829 h 12188825"/>
              <a:gd name="connsiteX128" fmla="*/ 2551735 w 4703181"/>
              <a:gd name="connsiteY128" fmla="*/ 10104229 h 12188825"/>
              <a:gd name="connsiteX129" fmla="*/ 1970028 w 4703181"/>
              <a:gd name="connsiteY129" fmla="*/ 6740414 h 12188825"/>
              <a:gd name="connsiteX130" fmla="*/ 1957901 w 4703181"/>
              <a:gd name="connsiteY130" fmla="*/ 4510657 h 12188825"/>
              <a:gd name="connsiteX131" fmla="*/ 2187923 w 4703181"/>
              <a:gd name="connsiteY131" fmla="*/ 2992193 h 12188825"/>
              <a:gd name="connsiteX132" fmla="*/ 2327189 w 4703181"/>
              <a:gd name="connsiteY132" fmla="*/ 2215153 h 12188825"/>
              <a:gd name="connsiteX133" fmla="*/ 2523959 w 4703181"/>
              <a:gd name="connsiteY133" fmla="*/ 2740 h 12188825"/>
              <a:gd name="connsiteX134" fmla="*/ 2511832 w 4703181"/>
              <a:gd name="connsiteY134" fmla="*/ 2740 h 12188825"/>
              <a:gd name="connsiteX135" fmla="*/ 2312323 w 4703181"/>
              <a:gd name="connsiteY135" fmla="*/ 2209675 h 12188825"/>
              <a:gd name="connsiteX136" fmla="*/ 2176187 w 4703181"/>
              <a:gd name="connsiteY136" fmla="*/ 2986712 h 12188825"/>
              <a:gd name="connsiteX137" fmla="*/ 1946165 w 4703181"/>
              <a:gd name="connsiteY137" fmla="*/ 4509744 h 12188825"/>
              <a:gd name="connsiteX138" fmla="*/ 1904686 w 4703181"/>
              <a:gd name="connsiteY138" fmla="*/ 5400875 h 12188825"/>
              <a:gd name="connsiteX139" fmla="*/ 1787040 w 4703181"/>
              <a:gd name="connsiteY139" fmla="*/ 5492377 h 12188825"/>
              <a:gd name="connsiteX140" fmla="*/ 1843281 w 4703181"/>
              <a:gd name="connsiteY140" fmla="*/ 6834463 h 12188825"/>
              <a:gd name="connsiteX141" fmla="*/ 2439853 w 4703181"/>
              <a:gd name="connsiteY141" fmla="*/ 10207409 h 12188825"/>
              <a:gd name="connsiteX142" fmla="*/ 2709386 w 4703181"/>
              <a:gd name="connsiteY142" fmla="*/ 10884007 h 12188825"/>
              <a:gd name="connsiteX143" fmla="*/ 3427751 w 4703181"/>
              <a:gd name="connsiteY143" fmla="*/ 12110033 h 12188825"/>
              <a:gd name="connsiteX144" fmla="*/ 3487403 w 4703181"/>
              <a:gd name="connsiteY144" fmla="*/ 12188825 h 12188825"/>
              <a:gd name="connsiteX145" fmla="*/ 3507219 w 4703181"/>
              <a:gd name="connsiteY145" fmla="*/ 12188825 h 12188825"/>
              <a:gd name="connsiteX146" fmla="*/ 3436975 w 4703181"/>
              <a:gd name="connsiteY146" fmla="*/ 12096025 h 12188825"/>
              <a:gd name="connsiteX147" fmla="*/ 2721513 w 4703181"/>
              <a:gd name="connsiteY147" fmla="*/ 10870309 h 12188825"/>
              <a:gd name="connsiteX148" fmla="*/ 2451980 w 4703181"/>
              <a:gd name="connsiteY148" fmla="*/ 10198279 h 12188825"/>
              <a:gd name="connsiteX149" fmla="*/ 1855408 w 4703181"/>
              <a:gd name="connsiteY149" fmla="*/ 6834463 h 12188825"/>
              <a:gd name="connsiteX150" fmla="*/ 1837413 w 4703181"/>
              <a:gd name="connsiteY150" fmla="*/ 4601050 h 12188825"/>
              <a:gd name="connsiteX151" fmla="*/ 2064697 w 4703181"/>
              <a:gd name="connsiteY151" fmla="*/ 3069802 h 12188825"/>
              <a:gd name="connsiteX152" fmla="*/ 2198094 w 4703181"/>
              <a:gd name="connsiteY152" fmla="*/ 2292765 h 12188825"/>
              <a:gd name="connsiteX153" fmla="*/ 2397994 w 4703181"/>
              <a:gd name="connsiteY153" fmla="*/ 1828 h 12188825"/>
              <a:gd name="connsiteX154" fmla="*/ 2385867 w 4703181"/>
              <a:gd name="connsiteY154" fmla="*/ 1828 h 12188825"/>
              <a:gd name="connsiteX155" fmla="*/ 2185968 w 4703181"/>
              <a:gd name="connsiteY155" fmla="*/ 2288202 h 12188825"/>
              <a:gd name="connsiteX156" fmla="*/ 2052571 w 4703181"/>
              <a:gd name="connsiteY156" fmla="*/ 3065236 h 12188825"/>
              <a:gd name="connsiteX157" fmla="*/ 1825286 w 4703181"/>
              <a:gd name="connsiteY157" fmla="*/ 4601050 h 12188825"/>
              <a:gd name="connsiteX158" fmla="*/ 1787040 w 4703181"/>
              <a:gd name="connsiteY158" fmla="*/ 5492377 h 12188825"/>
              <a:gd name="connsiteX159" fmla="*/ 1667909 w 4703181"/>
              <a:gd name="connsiteY159" fmla="*/ 5586534 h 12188825"/>
              <a:gd name="connsiteX160" fmla="*/ 1727879 w 4703181"/>
              <a:gd name="connsiteY160" fmla="*/ 6931252 h 12188825"/>
              <a:gd name="connsiteX161" fmla="*/ 2339707 w 4703181"/>
              <a:gd name="connsiteY161" fmla="*/ 10304197 h 12188825"/>
              <a:gd name="connsiteX162" fmla="*/ 2612370 w 4703181"/>
              <a:gd name="connsiteY162" fmla="*/ 10980795 h 12188825"/>
              <a:gd name="connsiteX163" fmla="*/ 3169382 w 4703181"/>
              <a:gd name="connsiteY163" fmla="*/ 11968983 h 12188825"/>
              <a:gd name="connsiteX164" fmla="*/ 3323303 w 4703181"/>
              <a:gd name="connsiteY164" fmla="*/ 12188825 h 12188825"/>
              <a:gd name="connsiteX165" fmla="*/ 3342512 w 4703181"/>
              <a:gd name="connsiteY165" fmla="*/ 12188825 h 12188825"/>
              <a:gd name="connsiteX166" fmla="*/ 3179553 w 4703181"/>
              <a:gd name="connsiteY166" fmla="*/ 11956086 h 12188825"/>
              <a:gd name="connsiteX167" fmla="*/ 2621367 w 4703181"/>
              <a:gd name="connsiteY167" fmla="*/ 10966185 h 12188825"/>
              <a:gd name="connsiteX168" fmla="*/ 2348705 w 4703181"/>
              <a:gd name="connsiteY168" fmla="*/ 10294153 h 12188825"/>
              <a:gd name="connsiteX169" fmla="*/ 1740006 w 4703181"/>
              <a:gd name="connsiteY169" fmla="*/ 6925774 h 12188825"/>
              <a:gd name="connsiteX170" fmla="*/ 1715752 w 4703181"/>
              <a:gd name="connsiteY170" fmla="*/ 4692361 h 12188825"/>
              <a:gd name="connsiteX171" fmla="*/ 1939906 w 4703181"/>
              <a:gd name="connsiteY171" fmla="*/ 3147416 h 12188825"/>
              <a:gd name="connsiteX172" fmla="*/ 2070174 w 4703181"/>
              <a:gd name="connsiteY172" fmla="*/ 2374942 h 12188825"/>
              <a:gd name="connsiteX173" fmla="*/ 2266945 w 4703181"/>
              <a:gd name="connsiteY173" fmla="*/ 1828 h 12188825"/>
              <a:gd name="connsiteX174" fmla="*/ 2254818 w 4703181"/>
              <a:gd name="connsiteY174" fmla="*/ 1828 h 12188825"/>
              <a:gd name="connsiteX175" fmla="*/ 2058047 w 4703181"/>
              <a:gd name="connsiteY175" fmla="*/ 2371292 h 12188825"/>
              <a:gd name="connsiteX176" fmla="*/ 1927780 w 4703181"/>
              <a:gd name="connsiteY176" fmla="*/ 3143763 h 12188825"/>
              <a:gd name="connsiteX177" fmla="*/ 1703625 w 4703181"/>
              <a:gd name="connsiteY177" fmla="*/ 4688707 h 12188825"/>
              <a:gd name="connsiteX178" fmla="*/ 1667909 w 4703181"/>
              <a:gd name="connsiteY178" fmla="*/ 5586534 h 12188825"/>
              <a:gd name="connsiteX179" fmla="*/ 1550530 w 4703181"/>
              <a:gd name="connsiteY179" fmla="*/ 5681294 h 12188825"/>
              <a:gd name="connsiteX180" fmla="*/ 1615997 w 4703181"/>
              <a:gd name="connsiteY180" fmla="*/ 7027126 h 12188825"/>
              <a:gd name="connsiteX181" fmla="*/ 2236823 w 4703181"/>
              <a:gd name="connsiteY181" fmla="*/ 10400071 h 12188825"/>
              <a:gd name="connsiteX182" fmla="*/ 2512615 w 4703181"/>
              <a:gd name="connsiteY182" fmla="*/ 11076669 h 12188825"/>
              <a:gd name="connsiteX183" fmla="*/ 3074126 w 4703181"/>
              <a:gd name="connsiteY183" fmla="*/ 12061434 h 12188825"/>
              <a:gd name="connsiteX184" fmla="*/ 3163837 w 4703181"/>
              <a:gd name="connsiteY184" fmla="*/ 12188825 h 12188825"/>
              <a:gd name="connsiteX185" fmla="*/ 3182377 w 4703181"/>
              <a:gd name="connsiteY185" fmla="*/ 12188825 h 12188825"/>
              <a:gd name="connsiteX186" fmla="*/ 3083514 w 4703181"/>
              <a:gd name="connsiteY186" fmla="*/ 12048879 h 12188825"/>
              <a:gd name="connsiteX187" fmla="*/ 2524742 w 4703181"/>
              <a:gd name="connsiteY187" fmla="*/ 11062973 h 12188825"/>
              <a:gd name="connsiteX188" fmla="*/ 2248950 w 4703181"/>
              <a:gd name="connsiteY188" fmla="*/ 10390941 h 12188825"/>
              <a:gd name="connsiteX189" fmla="*/ 1628124 w 4703181"/>
              <a:gd name="connsiteY189" fmla="*/ 7022561 h 12188825"/>
              <a:gd name="connsiteX190" fmla="*/ 1594873 w 4703181"/>
              <a:gd name="connsiteY190" fmla="*/ 4784582 h 12188825"/>
              <a:gd name="connsiteX191" fmla="*/ 1815897 w 4703181"/>
              <a:gd name="connsiteY191" fmla="*/ 3222290 h 12188825"/>
              <a:gd name="connsiteX192" fmla="*/ 1943036 w 4703181"/>
              <a:gd name="connsiteY192" fmla="*/ 2458948 h 12188825"/>
              <a:gd name="connsiteX193" fmla="*/ 2137069 w 4703181"/>
              <a:gd name="connsiteY193" fmla="*/ 2740 h 12188825"/>
              <a:gd name="connsiteX194" fmla="*/ 2124941 w 4703181"/>
              <a:gd name="connsiteY194" fmla="*/ 2740 h 12188825"/>
              <a:gd name="connsiteX195" fmla="*/ 1930909 w 4703181"/>
              <a:gd name="connsiteY195" fmla="*/ 2454383 h 12188825"/>
              <a:gd name="connsiteX196" fmla="*/ 1803770 w 4703181"/>
              <a:gd name="connsiteY196" fmla="*/ 3217722 h 12188825"/>
              <a:gd name="connsiteX197" fmla="*/ 1582746 w 4703181"/>
              <a:gd name="connsiteY197" fmla="*/ 4780017 h 12188825"/>
              <a:gd name="connsiteX198" fmla="*/ 1550530 w 4703181"/>
              <a:gd name="connsiteY198" fmla="*/ 5681294 h 12188825"/>
              <a:gd name="connsiteX199" fmla="*/ 1431558 w 4703181"/>
              <a:gd name="connsiteY199" fmla="*/ 5774658 h 12188825"/>
              <a:gd name="connsiteX200" fmla="*/ 1500204 w 4703181"/>
              <a:gd name="connsiteY200" fmla="*/ 7117519 h 12188825"/>
              <a:gd name="connsiteX201" fmla="*/ 2133156 w 4703181"/>
              <a:gd name="connsiteY201" fmla="*/ 10494119 h 12188825"/>
              <a:gd name="connsiteX202" fmla="*/ 2411687 w 4703181"/>
              <a:gd name="connsiteY202" fmla="*/ 11170717 h 12188825"/>
              <a:gd name="connsiteX203" fmla="*/ 2976670 w 4703181"/>
              <a:gd name="connsiteY203" fmla="*/ 12150117 h 12188825"/>
              <a:gd name="connsiteX204" fmla="*/ 3004167 w 4703181"/>
              <a:gd name="connsiteY204" fmla="*/ 12188825 h 12188825"/>
              <a:gd name="connsiteX205" fmla="*/ 3021808 w 4703181"/>
              <a:gd name="connsiteY205" fmla="*/ 12188825 h 12188825"/>
              <a:gd name="connsiteX206" fmla="*/ 2986254 w 4703181"/>
              <a:gd name="connsiteY206" fmla="*/ 12138704 h 12188825"/>
              <a:gd name="connsiteX207" fmla="*/ 2424205 w 4703181"/>
              <a:gd name="connsiteY207" fmla="*/ 11157933 h 12188825"/>
              <a:gd name="connsiteX208" fmla="*/ 2145674 w 4703181"/>
              <a:gd name="connsiteY208" fmla="*/ 10490465 h 12188825"/>
              <a:gd name="connsiteX209" fmla="*/ 1512722 w 4703181"/>
              <a:gd name="connsiteY209" fmla="*/ 7117519 h 12188825"/>
              <a:gd name="connsiteX210" fmla="*/ 1476341 w 4703181"/>
              <a:gd name="connsiteY210" fmla="*/ 4870413 h 12188825"/>
              <a:gd name="connsiteX211" fmla="*/ 1691498 w 4703181"/>
              <a:gd name="connsiteY211" fmla="*/ 3299899 h 12188825"/>
              <a:gd name="connsiteX212" fmla="*/ 1815506 w 4703181"/>
              <a:gd name="connsiteY212" fmla="*/ 2541124 h 12188825"/>
              <a:gd name="connsiteX213" fmla="*/ 2006409 w 4703181"/>
              <a:gd name="connsiteY213" fmla="*/ 1828 h 12188825"/>
              <a:gd name="connsiteX214" fmla="*/ 1994282 w 4703181"/>
              <a:gd name="connsiteY214" fmla="*/ 1828 h 12188825"/>
              <a:gd name="connsiteX215" fmla="*/ 1800249 w 4703181"/>
              <a:gd name="connsiteY215" fmla="*/ 2536561 h 12188825"/>
              <a:gd name="connsiteX216" fmla="*/ 1678979 w 4703181"/>
              <a:gd name="connsiteY216" fmla="*/ 3295335 h 12188825"/>
              <a:gd name="connsiteX217" fmla="*/ 1460694 w 4703181"/>
              <a:gd name="connsiteY217" fmla="*/ 4870413 h 12188825"/>
              <a:gd name="connsiteX218" fmla="*/ 1431558 w 4703181"/>
              <a:gd name="connsiteY218" fmla="*/ 5774658 h 12188825"/>
              <a:gd name="connsiteX219" fmla="*/ 1316783 w 4703181"/>
              <a:gd name="connsiteY219" fmla="*/ 5983239 h 12188825"/>
              <a:gd name="connsiteX220" fmla="*/ 1385585 w 4703181"/>
              <a:gd name="connsiteY220" fmla="*/ 7212481 h 12188825"/>
              <a:gd name="connsiteX221" fmla="*/ 2033793 w 4703181"/>
              <a:gd name="connsiteY221" fmla="*/ 10593645 h 12188825"/>
              <a:gd name="connsiteX222" fmla="*/ 2315453 w 4703181"/>
              <a:gd name="connsiteY222" fmla="*/ 11261111 h 12188825"/>
              <a:gd name="connsiteX223" fmla="*/ 2725552 w 4703181"/>
              <a:gd name="connsiteY223" fmla="*/ 12002591 h 12188825"/>
              <a:gd name="connsiteX224" fmla="*/ 2848013 w 4703181"/>
              <a:gd name="connsiteY224" fmla="*/ 12188825 h 12188825"/>
              <a:gd name="connsiteX225" fmla="*/ 2864698 w 4703181"/>
              <a:gd name="connsiteY225" fmla="*/ 12188825 h 12188825"/>
              <a:gd name="connsiteX226" fmla="*/ 2734549 w 4703181"/>
              <a:gd name="connsiteY226" fmla="*/ 11991212 h 12188825"/>
              <a:gd name="connsiteX227" fmla="*/ 2324449 w 4703181"/>
              <a:gd name="connsiteY227" fmla="*/ 11252895 h 12188825"/>
              <a:gd name="connsiteX228" fmla="*/ 2045921 w 4703181"/>
              <a:gd name="connsiteY228" fmla="*/ 10585427 h 12188825"/>
              <a:gd name="connsiteX229" fmla="*/ 1400840 w 4703181"/>
              <a:gd name="connsiteY229" fmla="*/ 7212481 h 12188825"/>
              <a:gd name="connsiteX230" fmla="*/ 1355462 w 4703181"/>
              <a:gd name="connsiteY230" fmla="*/ 4960808 h 12188825"/>
              <a:gd name="connsiteX231" fmla="*/ 1567490 w 4703181"/>
              <a:gd name="connsiteY231" fmla="*/ 3372947 h 12188825"/>
              <a:gd name="connsiteX232" fmla="*/ 1685629 w 4703181"/>
              <a:gd name="connsiteY232" fmla="*/ 2617826 h 12188825"/>
              <a:gd name="connsiteX233" fmla="*/ 1876533 w 4703181"/>
              <a:gd name="connsiteY233" fmla="*/ 0 h 12188825"/>
              <a:gd name="connsiteX234" fmla="*/ 1864406 w 4703181"/>
              <a:gd name="connsiteY234" fmla="*/ 0 h 12188825"/>
              <a:gd name="connsiteX235" fmla="*/ 1673502 w 4703181"/>
              <a:gd name="connsiteY235" fmla="*/ 2617826 h 12188825"/>
              <a:gd name="connsiteX236" fmla="*/ 1555363 w 4703181"/>
              <a:gd name="connsiteY236" fmla="*/ 3368384 h 12188825"/>
              <a:gd name="connsiteX237" fmla="*/ 1343334 w 4703181"/>
              <a:gd name="connsiteY237" fmla="*/ 4960808 h 12188825"/>
              <a:gd name="connsiteX238" fmla="*/ 1316783 w 4703181"/>
              <a:gd name="connsiteY238" fmla="*/ 5983239 h 12188825"/>
              <a:gd name="connsiteX239" fmla="*/ 1197424 w 4703181"/>
              <a:gd name="connsiteY239" fmla="*/ 5940738 h 12188825"/>
              <a:gd name="connsiteX240" fmla="*/ 1273311 w 4703181"/>
              <a:gd name="connsiteY240" fmla="*/ 7308355 h 12188825"/>
              <a:gd name="connsiteX241" fmla="*/ 1930518 w 4703181"/>
              <a:gd name="connsiteY241" fmla="*/ 10689519 h 12188825"/>
              <a:gd name="connsiteX242" fmla="*/ 2215308 w 4703181"/>
              <a:gd name="connsiteY242" fmla="*/ 11356985 h 12188825"/>
              <a:gd name="connsiteX243" fmla="*/ 2626706 w 4703181"/>
              <a:gd name="connsiteY243" fmla="*/ 12095496 h 12188825"/>
              <a:gd name="connsiteX244" fmla="*/ 2688496 w 4703181"/>
              <a:gd name="connsiteY244" fmla="*/ 12188825 h 12188825"/>
              <a:gd name="connsiteX245" fmla="*/ 2705295 w 4703181"/>
              <a:gd name="connsiteY245" fmla="*/ 12188825 h 12188825"/>
              <a:gd name="connsiteX246" fmla="*/ 2636193 w 4703181"/>
              <a:gd name="connsiteY246" fmla="*/ 12084548 h 12188825"/>
              <a:gd name="connsiteX247" fmla="*/ 2227435 w 4703181"/>
              <a:gd name="connsiteY247" fmla="*/ 11349683 h 12188825"/>
              <a:gd name="connsiteX248" fmla="*/ 1942645 w 4703181"/>
              <a:gd name="connsiteY248" fmla="*/ 10682215 h 12188825"/>
              <a:gd name="connsiteX249" fmla="*/ 1285438 w 4703181"/>
              <a:gd name="connsiteY249" fmla="*/ 7305617 h 12188825"/>
              <a:gd name="connsiteX250" fmla="*/ 1233801 w 4703181"/>
              <a:gd name="connsiteY250" fmla="*/ 5053943 h 12188825"/>
              <a:gd name="connsiteX251" fmla="*/ 1442698 w 4703181"/>
              <a:gd name="connsiteY251" fmla="*/ 3452387 h 12188825"/>
              <a:gd name="connsiteX252" fmla="*/ 1557710 w 4703181"/>
              <a:gd name="connsiteY252" fmla="*/ 2701828 h 12188825"/>
              <a:gd name="connsiteX253" fmla="*/ 1745483 w 4703181"/>
              <a:gd name="connsiteY253" fmla="*/ 915 h 12188825"/>
              <a:gd name="connsiteX254" fmla="*/ 1733356 w 4703181"/>
              <a:gd name="connsiteY254" fmla="*/ 915 h 12188825"/>
              <a:gd name="connsiteX255" fmla="*/ 1545583 w 4703181"/>
              <a:gd name="connsiteY255" fmla="*/ 2697263 h 12188825"/>
              <a:gd name="connsiteX256" fmla="*/ 1430572 w 4703181"/>
              <a:gd name="connsiteY256" fmla="*/ 3447819 h 12188825"/>
              <a:gd name="connsiteX257" fmla="*/ 1221675 w 4703181"/>
              <a:gd name="connsiteY257" fmla="*/ 5053030 h 12188825"/>
              <a:gd name="connsiteX258" fmla="*/ 1199101 w 4703181"/>
              <a:gd name="connsiteY258" fmla="*/ 5547053 h 12188825"/>
              <a:gd name="connsiteX259" fmla="*/ 1197424 w 4703181"/>
              <a:gd name="connsiteY259" fmla="*/ 5940738 h 12188825"/>
              <a:gd name="connsiteX260" fmla="*/ 1078828 w 4703181"/>
              <a:gd name="connsiteY260" fmla="*/ 6036519 h 12188825"/>
              <a:gd name="connsiteX261" fmla="*/ 1157909 w 4703181"/>
              <a:gd name="connsiteY261" fmla="*/ 7406058 h 12188825"/>
              <a:gd name="connsiteX262" fmla="*/ 1830372 w 4703181"/>
              <a:gd name="connsiteY262" fmla="*/ 10787217 h 12188825"/>
              <a:gd name="connsiteX263" fmla="*/ 2115162 w 4703181"/>
              <a:gd name="connsiteY263" fmla="*/ 11454687 h 12188825"/>
              <a:gd name="connsiteX264" fmla="*/ 2381296 w 4703181"/>
              <a:gd name="connsiteY264" fmla="*/ 11948440 h 12188825"/>
              <a:gd name="connsiteX265" fmla="*/ 2529188 w 4703181"/>
              <a:gd name="connsiteY265" fmla="*/ 12188825 h 12188825"/>
              <a:gd name="connsiteX266" fmla="*/ 2547321 w 4703181"/>
              <a:gd name="connsiteY266" fmla="*/ 12188825 h 12188825"/>
              <a:gd name="connsiteX267" fmla="*/ 2539574 w 4703181"/>
              <a:gd name="connsiteY267" fmla="*/ 12177213 h 12188825"/>
              <a:gd name="connsiteX268" fmla="*/ 2127288 w 4703181"/>
              <a:gd name="connsiteY268" fmla="*/ 11445557 h 12188825"/>
              <a:gd name="connsiteX269" fmla="*/ 1842499 w 4703181"/>
              <a:gd name="connsiteY269" fmla="*/ 10778089 h 12188825"/>
              <a:gd name="connsiteX270" fmla="*/ 1170035 w 4703181"/>
              <a:gd name="connsiteY270" fmla="*/ 7401491 h 12188825"/>
              <a:gd name="connsiteX271" fmla="*/ 1112530 w 4703181"/>
              <a:gd name="connsiteY271" fmla="*/ 5146165 h 12188825"/>
              <a:gd name="connsiteX272" fmla="*/ 1318690 w 4703181"/>
              <a:gd name="connsiteY272" fmla="*/ 3527258 h 12188825"/>
              <a:gd name="connsiteX273" fmla="*/ 1430572 w 4703181"/>
              <a:gd name="connsiteY273" fmla="*/ 2785833 h 12188825"/>
              <a:gd name="connsiteX274" fmla="*/ 1612477 w 4703181"/>
              <a:gd name="connsiteY274" fmla="*/ 1828 h 12188825"/>
              <a:gd name="connsiteX275" fmla="*/ 1600350 w 4703181"/>
              <a:gd name="connsiteY275" fmla="*/ 1828 h 12188825"/>
              <a:gd name="connsiteX276" fmla="*/ 1418445 w 4703181"/>
              <a:gd name="connsiteY276" fmla="*/ 2781267 h 12188825"/>
              <a:gd name="connsiteX277" fmla="*/ 1306563 w 4703181"/>
              <a:gd name="connsiteY277" fmla="*/ 3522695 h 12188825"/>
              <a:gd name="connsiteX278" fmla="*/ 1100403 w 4703181"/>
              <a:gd name="connsiteY278" fmla="*/ 5141598 h 12188825"/>
              <a:gd name="connsiteX279" fmla="*/ 1079627 w 4703181"/>
              <a:gd name="connsiteY279" fmla="*/ 5640773 h 12188825"/>
              <a:gd name="connsiteX280" fmla="*/ 1078828 w 4703181"/>
              <a:gd name="connsiteY280" fmla="*/ 6036519 h 12188825"/>
              <a:gd name="connsiteX281" fmla="*/ 959287 w 4703181"/>
              <a:gd name="connsiteY281" fmla="*/ 5865907 h 12188825"/>
              <a:gd name="connsiteX282" fmla="*/ 1043290 w 4703181"/>
              <a:gd name="connsiteY282" fmla="*/ 7499191 h 12188825"/>
              <a:gd name="connsiteX283" fmla="*/ 1727879 w 4703181"/>
              <a:gd name="connsiteY283" fmla="*/ 10884919 h 12188825"/>
              <a:gd name="connsiteX284" fmla="*/ 2018536 w 4703181"/>
              <a:gd name="connsiteY284" fmla="*/ 11552387 h 12188825"/>
              <a:gd name="connsiteX285" fmla="*/ 2284769 w 4703181"/>
              <a:gd name="connsiteY285" fmla="*/ 12042929 h 12188825"/>
              <a:gd name="connsiteX286" fmla="*/ 2375119 w 4703181"/>
              <a:gd name="connsiteY286" fmla="*/ 12188825 h 12188825"/>
              <a:gd name="connsiteX287" fmla="*/ 2392293 w 4703181"/>
              <a:gd name="connsiteY287" fmla="*/ 12188825 h 12188825"/>
              <a:gd name="connsiteX288" fmla="*/ 2293718 w 4703181"/>
              <a:gd name="connsiteY288" fmla="*/ 12030174 h 12188825"/>
              <a:gd name="connsiteX289" fmla="*/ 2027534 w 4703181"/>
              <a:gd name="connsiteY289" fmla="*/ 11542343 h 12188825"/>
              <a:gd name="connsiteX290" fmla="*/ 1739615 w 4703181"/>
              <a:gd name="connsiteY290" fmla="*/ 10874877 h 12188825"/>
              <a:gd name="connsiteX291" fmla="*/ 1058154 w 4703181"/>
              <a:gd name="connsiteY291" fmla="*/ 7498278 h 12188825"/>
              <a:gd name="connsiteX292" fmla="*/ 991652 w 4703181"/>
              <a:gd name="connsiteY292" fmla="*/ 5238385 h 12188825"/>
              <a:gd name="connsiteX293" fmla="*/ 1194681 w 4703181"/>
              <a:gd name="connsiteY293" fmla="*/ 3602132 h 12188825"/>
              <a:gd name="connsiteX294" fmla="*/ 1303825 w 4703181"/>
              <a:gd name="connsiteY294" fmla="*/ 2868924 h 12188825"/>
              <a:gd name="connsiteX295" fmla="*/ 1482601 w 4703181"/>
              <a:gd name="connsiteY295" fmla="*/ 2740 h 12188825"/>
              <a:gd name="connsiteX296" fmla="*/ 1470474 w 4703181"/>
              <a:gd name="connsiteY296" fmla="*/ 2740 h 12188825"/>
              <a:gd name="connsiteX297" fmla="*/ 1288567 w 4703181"/>
              <a:gd name="connsiteY297" fmla="*/ 2865272 h 12188825"/>
              <a:gd name="connsiteX298" fmla="*/ 1182554 w 4703181"/>
              <a:gd name="connsiteY298" fmla="*/ 3598481 h 12188825"/>
              <a:gd name="connsiteX299" fmla="*/ 979525 w 4703181"/>
              <a:gd name="connsiteY299" fmla="*/ 5234734 h 12188825"/>
              <a:gd name="connsiteX300" fmla="*/ 959287 w 4703181"/>
              <a:gd name="connsiteY300" fmla="*/ 5865907 h 12188825"/>
              <a:gd name="connsiteX301" fmla="*/ 840186 w 4703181"/>
              <a:gd name="connsiteY301" fmla="*/ 5825530 h 12188825"/>
              <a:gd name="connsiteX302" fmla="*/ 930625 w 4703181"/>
              <a:gd name="connsiteY302" fmla="*/ 7594154 h 12188825"/>
              <a:gd name="connsiteX303" fmla="*/ 1627342 w 4703181"/>
              <a:gd name="connsiteY303" fmla="*/ 10979883 h 12188825"/>
              <a:gd name="connsiteX304" fmla="*/ 1917999 w 4703181"/>
              <a:gd name="connsiteY304" fmla="*/ 11647349 h 12188825"/>
              <a:gd name="connsiteX305" fmla="*/ 2186524 w 4703181"/>
              <a:gd name="connsiteY305" fmla="*/ 12137948 h 12188825"/>
              <a:gd name="connsiteX306" fmla="*/ 2218239 w 4703181"/>
              <a:gd name="connsiteY306" fmla="*/ 12188825 h 12188825"/>
              <a:gd name="connsiteX307" fmla="*/ 2235959 w 4703181"/>
              <a:gd name="connsiteY307" fmla="*/ 12188825 h 12188825"/>
              <a:gd name="connsiteX308" fmla="*/ 2196903 w 4703181"/>
              <a:gd name="connsiteY308" fmla="*/ 12126177 h 12188825"/>
              <a:gd name="connsiteX309" fmla="*/ 1930127 w 4703181"/>
              <a:gd name="connsiteY309" fmla="*/ 11638217 h 12188825"/>
              <a:gd name="connsiteX310" fmla="*/ 1636339 w 4703181"/>
              <a:gd name="connsiteY310" fmla="*/ 10970751 h 12188825"/>
              <a:gd name="connsiteX311" fmla="*/ 942752 w 4703181"/>
              <a:gd name="connsiteY311" fmla="*/ 7589586 h 12188825"/>
              <a:gd name="connsiteX312" fmla="*/ 873120 w 4703181"/>
              <a:gd name="connsiteY312" fmla="*/ 5325130 h 12188825"/>
              <a:gd name="connsiteX313" fmla="*/ 1069890 w 4703181"/>
              <a:gd name="connsiteY313" fmla="*/ 3676093 h 12188825"/>
              <a:gd name="connsiteX314" fmla="*/ 1172775 w 4703181"/>
              <a:gd name="connsiteY314" fmla="*/ 2947449 h 12188825"/>
              <a:gd name="connsiteX315" fmla="*/ 1351550 w 4703181"/>
              <a:gd name="connsiteY315" fmla="*/ 2740 h 12188825"/>
              <a:gd name="connsiteX316" fmla="*/ 1336294 w 4703181"/>
              <a:gd name="connsiteY316" fmla="*/ 2740 h 12188825"/>
              <a:gd name="connsiteX317" fmla="*/ 1160646 w 4703181"/>
              <a:gd name="connsiteY317" fmla="*/ 2947449 h 12188825"/>
              <a:gd name="connsiteX318" fmla="*/ 1057764 w 4703181"/>
              <a:gd name="connsiteY318" fmla="*/ 3671527 h 12188825"/>
              <a:gd name="connsiteX319" fmla="*/ 857863 w 4703181"/>
              <a:gd name="connsiteY319" fmla="*/ 5325130 h 12188825"/>
              <a:gd name="connsiteX320" fmla="*/ 840186 w 4703181"/>
              <a:gd name="connsiteY320" fmla="*/ 5825530 h 12188825"/>
              <a:gd name="connsiteX321" fmla="*/ 722094 w 4703181"/>
              <a:gd name="connsiteY321" fmla="*/ 5919464 h 12188825"/>
              <a:gd name="connsiteX322" fmla="*/ 815614 w 4703181"/>
              <a:gd name="connsiteY322" fmla="*/ 7689116 h 12188825"/>
              <a:gd name="connsiteX323" fmla="*/ 1524458 w 4703181"/>
              <a:gd name="connsiteY323" fmla="*/ 11074841 h 12188825"/>
              <a:gd name="connsiteX324" fmla="*/ 1821373 w 4703181"/>
              <a:gd name="connsiteY324" fmla="*/ 11742309 h 12188825"/>
              <a:gd name="connsiteX325" fmla="*/ 1950186 w 4703181"/>
              <a:gd name="connsiteY325" fmla="*/ 11988534 h 12188825"/>
              <a:gd name="connsiteX326" fmla="*/ 2065263 w 4703181"/>
              <a:gd name="connsiteY326" fmla="*/ 12188825 h 12188825"/>
              <a:gd name="connsiteX327" fmla="*/ 2081369 w 4703181"/>
              <a:gd name="connsiteY327" fmla="*/ 12188825 h 12188825"/>
              <a:gd name="connsiteX328" fmla="*/ 1959970 w 4703181"/>
              <a:gd name="connsiteY328" fmla="*/ 11978801 h 12188825"/>
              <a:gd name="connsiteX329" fmla="*/ 1830372 w 4703181"/>
              <a:gd name="connsiteY329" fmla="*/ 11734091 h 12188825"/>
              <a:gd name="connsiteX330" fmla="*/ 1536586 w 4703181"/>
              <a:gd name="connsiteY330" fmla="*/ 11066623 h 12188825"/>
              <a:gd name="connsiteX331" fmla="*/ 827740 w 4703181"/>
              <a:gd name="connsiteY331" fmla="*/ 7685460 h 12188825"/>
              <a:gd name="connsiteX332" fmla="*/ 751848 w 4703181"/>
              <a:gd name="connsiteY332" fmla="*/ 5416439 h 12188825"/>
              <a:gd name="connsiteX333" fmla="*/ 945882 w 4703181"/>
              <a:gd name="connsiteY333" fmla="*/ 3750052 h 12188825"/>
              <a:gd name="connsiteX334" fmla="*/ 1046028 w 4703181"/>
              <a:gd name="connsiteY334" fmla="*/ 3030539 h 12188825"/>
              <a:gd name="connsiteX335" fmla="*/ 1218545 w 4703181"/>
              <a:gd name="connsiteY335" fmla="*/ 2740 h 12188825"/>
              <a:gd name="connsiteX336" fmla="*/ 1206418 w 4703181"/>
              <a:gd name="connsiteY336" fmla="*/ 2740 h 12188825"/>
              <a:gd name="connsiteX337" fmla="*/ 1033901 w 4703181"/>
              <a:gd name="connsiteY337" fmla="*/ 3025976 h 12188825"/>
              <a:gd name="connsiteX338" fmla="*/ 933753 w 4703181"/>
              <a:gd name="connsiteY338" fmla="*/ 3750052 h 12188825"/>
              <a:gd name="connsiteX339" fmla="*/ 739722 w 4703181"/>
              <a:gd name="connsiteY339" fmla="*/ 5416439 h 12188825"/>
              <a:gd name="connsiteX340" fmla="*/ 722094 w 4703181"/>
              <a:gd name="connsiteY340" fmla="*/ 5919464 h 12188825"/>
              <a:gd name="connsiteX341" fmla="*/ 603508 w 4703181"/>
              <a:gd name="connsiteY341" fmla="*/ 6013313 h 12188825"/>
              <a:gd name="connsiteX342" fmla="*/ 700603 w 4703181"/>
              <a:gd name="connsiteY342" fmla="*/ 7786812 h 12188825"/>
              <a:gd name="connsiteX343" fmla="*/ 1424703 w 4703181"/>
              <a:gd name="connsiteY343" fmla="*/ 11172543 h 12188825"/>
              <a:gd name="connsiteX344" fmla="*/ 1721620 w 4703181"/>
              <a:gd name="connsiteY344" fmla="*/ 11840011 h 12188825"/>
              <a:gd name="connsiteX345" fmla="*/ 1851477 w 4703181"/>
              <a:gd name="connsiteY345" fmla="*/ 12084841 h 12188825"/>
              <a:gd name="connsiteX346" fmla="*/ 1911933 w 4703181"/>
              <a:gd name="connsiteY346" fmla="*/ 12188825 h 12188825"/>
              <a:gd name="connsiteX347" fmla="*/ 1927592 w 4703181"/>
              <a:gd name="connsiteY347" fmla="*/ 12188825 h 12188825"/>
              <a:gd name="connsiteX348" fmla="*/ 1860469 w 4703181"/>
              <a:gd name="connsiteY348" fmla="*/ 12073940 h 12188825"/>
              <a:gd name="connsiteX349" fmla="*/ 1730618 w 4703181"/>
              <a:gd name="connsiteY349" fmla="*/ 11830879 h 12188825"/>
              <a:gd name="connsiteX350" fmla="*/ 1433702 w 4703181"/>
              <a:gd name="connsiteY350" fmla="*/ 11163411 h 12188825"/>
              <a:gd name="connsiteX351" fmla="*/ 715859 w 4703181"/>
              <a:gd name="connsiteY351" fmla="*/ 7782246 h 12188825"/>
              <a:gd name="connsiteX352" fmla="*/ 630971 w 4703181"/>
              <a:gd name="connsiteY352" fmla="*/ 5509573 h 12188825"/>
              <a:gd name="connsiteX353" fmla="*/ 821873 w 4703181"/>
              <a:gd name="connsiteY353" fmla="*/ 3829491 h 12188825"/>
              <a:gd name="connsiteX354" fmla="*/ 918889 w 4703181"/>
              <a:gd name="connsiteY354" fmla="*/ 3113632 h 12188825"/>
              <a:gd name="connsiteX355" fmla="*/ 1088668 w 4703181"/>
              <a:gd name="connsiteY355" fmla="*/ 2740 h 12188825"/>
              <a:gd name="connsiteX356" fmla="*/ 1073411 w 4703181"/>
              <a:gd name="connsiteY356" fmla="*/ 2740 h 12188825"/>
              <a:gd name="connsiteX357" fmla="*/ 906763 w 4703181"/>
              <a:gd name="connsiteY357" fmla="*/ 3109066 h 12188825"/>
              <a:gd name="connsiteX358" fmla="*/ 806616 w 4703181"/>
              <a:gd name="connsiteY358" fmla="*/ 3824928 h 12188825"/>
              <a:gd name="connsiteX359" fmla="*/ 618843 w 4703181"/>
              <a:gd name="connsiteY359" fmla="*/ 5505008 h 12188825"/>
              <a:gd name="connsiteX360" fmla="*/ 603508 w 4703181"/>
              <a:gd name="connsiteY360" fmla="*/ 6013313 h 12188825"/>
              <a:gd name="connsiteX361" fmla="*/ 484138 w 4703181"/>
              <a:gd name="connsiteY361" fmla="*/ 6104622 h 12188825"/>
              <a:gd name="connsiteX362" fmla="*/ 588330 w 4703181"/>
              <a:gd name="connsiteY362" fmla="*/ 7878123 h 12188825"/>
              <a:gd name="connsiteX363" fmla="*/ 1321429 w 4703181"/>
              <a:gd name="connsiteY363" fmla="*/ 11268417 h 12188825"/>
              <a:gd name="connsiteX364" fmla="*/ 1621474 w 4703181"/>
              <a:gd name="connsiteY364" fmla="*/ 11935885 h 12188825"/>
              <a:gd name="connsiteX365" fmla="*/ 1752247 w 4703181"/>
              <a:gd name="connsiteY365" fmla="*/ 12177898 h 12188825"/>
              <a:gd name="connsiteX366" fmla="*/ 1758681 w 4703181"/>
              <a:gd name="connsiteY366" fmla="*/ 12188825 h 12188825"/>
              <a:gd name="connsiteX367" fmla="*/ 1777889 w 4703181"/>
              <a:gd name="connsiteY367" fmla="*/ 12188825 h 12188825"/>
              <a:gd name="connsiteX368" fmla="*/ 1763464 w 4703181"/>
              <a:gd name="connsiteY368" fmla="*/ 12164202 h 12188825"/>
              <a:gd name="connsiteX369" fmla="*/ 1633601 w 4703181"/>
              <a:gd name="connsiteY369" fmla="*/ 11922189 h 12188825"/>
              <a:gd name="connsiteX370" fmla="*/ 1333556 w 4703181"/>
              <a:gd name="connsiteY370" fmla="*/ 11259285 h 12188825"/>
              <a:gd name="connsiteX371" fmla="*/ 600457 w 4703181"/>
              <a:gd name="connsiteY371" fmla="*/ 7878123 h 12188825"/>
              <a:gd name="connsiteX372" fmla="*/ 509699 w 4703181"/>
              <a:gd name="connsiteY372" fmla="*/ 5600881 h 12188825"/>
              <a:gd name="connsiteX373" fmla="*/ 694343 w 4703181"/>
              <a:gd name="connsiteY373" fmla="*/ 3898887 h 12188825"/>
              <a:gd name="connsiteX374" fmla="*/ 791360 w 4703181"/>
              <a:gd name="connsiteY374" fmla="*/ 3196721 h 12188825"/>
              <a:gd name="connsiteX375" fmla="*/ 954878 w 4703181"/>
              <a:gd name="connsiteY375" fmla="*/ 2740 h 12188825"/>
              <a:gd name="connsiteX376" fmla="*/ 942752 w 4703181"/>
              <a:gd name="connsiteY376" fmla="*/ 2740 h 12188825"/>
              <a:gd name="connsiteX377" fmla="*/ 776104 w 4703181"/>
              <a:gd name="connsiteY377" fmla="*/ 3192156 h 12188825"/>
              <a:gd name="connsiteX378" fmla="*/ 682216 w 4703181"/>
              <a:gd name="connsiteY378" fmla="*/ 3898887 h 12188825"/>
              <a:gd name="connsiteX379" fmla="*/ 497572 w 4703181"/>
              <a:gd name="connsiteY379" fmla="*/ 5596316 h 12188825"/>
              <a:gd name="connsiteX380" fmla="*/ 484138 w 4703181"/>
              <a:gd name="connsiteY380" fmla="*/ 6104622 h 12188825"/>
              <a:gd name="connsiteX381" fmla="*/ 365502 w 4703181"/>
              <a:gd name="connsiteY381" fmla="*/ 6198056 h 12188825"/>
              <a:gd name="connsiteX382" fmla="*/ 473711 w 4703181"/>
              <a:gd name="connsiteY382" fmla="*/ 7973996 h 12188825"/>
              <a:gd name="connsiteX383" fmla="*/ 1218935 w 4703181"/>
              <a:gd name="connsiteY383" fmla="*/ 11364293 h 12188825"/>
              <a:gd name="connsiteX384" fmla="*/ 1524850 w 4703181"/>
              <a:gd name="connsiteY384" fmla="*/ 12031759 h 12188825"/>
              <a:gd name="connsiteX385" fmla="*/ 1609825 w 4703181"/>
              <a:gd name="connsiteY385" fmla="*/ 12188825 h 12188825"/>
              <a:gd name="connsiteX386" fmla="*/ 1626613 w 4703181"/>
              <a:gd name="connsiteY386" fmla="*/ 12188825 h 12188825"/>
              <a:gd name="connsiteX387" fmla="*/ 1533847 w 4703181"/>
              <a:gd name="connsiteY387" fmla="*/ 12017149 h 12188825"/>
              <a:gd name="connsiteX388" fmla="*/ 1231062 w 4703181"/>
              <a:gd name="connsiteY388" fmla="*/ 11354247 h 12188825"/>
              <a:gd name="connsiteX389" fmla="*/ 485837 w 4703181"/>
              <a:gd name="connsiteY389" fmla="*/ 7968518 h 12188825"/>
              <a:gd name="connsiteX390" fmla="*/ 388820 w 4703181"/>
              <a:gd name="connsiteY390" fmla="*/ 5686713 h 12188825"/>
              <a:gd name="connsiteX391" fmla="*/ 570726 w 4703181"/>
              <a:gd name="connsiteY391" fmla="*/ 3971935 h 12188825"/>
              <a:gd name="connsiteX392" fmla="*/ 661483 w 4703181"/>
              <a:gd name="connsiteY392" fmla="*/ 3277986 h 12188825"/>
              <a:gd name="connsiteX393" fmla="*/ 821873 w 4703181"/>
              <a:gd name="connsiteY393" fmla="*/ 1828 h 12188825"/>
              <a:gd name="connsiteX394" fmla="*/ 809747 w 4703181"/>
              <a:gd name="connsiteY394" fmla="*/ 1828 h 12188825"/>
              <a:gd name="connsiteX395" fmla="*/ 649356 w 4703181"/>
              <a:gd name="connsiteY395" fmla="*/ 3274335 h 12188825"/>
              <a:gd name="connsiteX396" fmla="*/ 558599 w 4703181"/>
              <a:gd name="connsiteY396" fmla="*/ 3968280 h 12188825"/>
              <a:gd name="connsiteX397" fmla="*/ 376694 w 4703181"/>
              <a:gd name="connsiteY397" fmla="*/ 5687625 h 12188825"/>
              <a:gd name="connsiteX398" fmla="*/ 365502 w 4703181"/>
              <a:gd name="connsiteY398" fmla="*/ 6198056 h 12188825"/>
              <a:gd name="connsiteX399" fmla="*/ 246359 w 4703181"/>
              <a:gd name="connsiteY399" fmla="*/ 6291090 h 12188825"/>
              <a:gd name="connsiteX400" fmla="*/ 361829 w 4703181"/>
              <a:gd name="connsiteY400" fmla="*/ 8068958 h 12188825"/>
              <a:gd name="connsiteX401" fmla="*/ 1119180 w 4703181"/>
              <a:gd name="connsiteY401" fmla="*/ 11459251 h 12188825"/>
              <a:gd name="connsiteX402" fmla="*/ 1425096 w 4703181"/>
              <a:gd name="connsiteY402" fmla="*/ 12126717 h 12188825"/>
              <a:gd name="connsiteX403" fmla="*/ 1459172 w 4703181"/>
              <a:gd name="connsiteY403" fmla="*/ 12188825 h 12188825"/>
              <a:gd name="connsiteX404" fmla="*/ 1475636 w 4703181"/>
              <a:gd name="connsiteY404" fmla="*/ 12188825 h 12188825"/>
              <a:gd name="connsiteX405" fmla="*/ 1434092 w 4703181"/>
              <a:gd name="connsiteY405" fmla="*/ 12113023 h 12188825"/>
              <a:gd name="connsiteX406" fmla="*/ 1131307 w 4703181"/>
              <a:gd name="connsiteY406" fmla="*/ 11450123 h 12188825"/>
              <a:gd name="connsiteX407" fmla="*/ 373956 w 4703181"/>
              <a:gd name="connsiteY407" fmla="*/ 8064394 h 12188825"/>
              <a:gd name="connsiteX408" fmla="*/ 271072 w 4703181"/>
              <a:gd name="connsiteY408" fmla="*/ 5778021 h 12188825"/>
              <a:gd name="connsiteX409" fmla="*/ 446717 w 4703181"/>
              <a:gd name="connsiteY409" fmla="*/ 4045894 h 12188825"/>
              <a:gd name="connsiteX410" fmla="*/ 534736 w 4703181"/>
              <a:gd name="connsiteY410" fmla="*/ 3356513 h 12188825"/>
              <a:gd name="connsiteX411" fmla="*/ 692388 w 4703181"/>
              <a:gd name="connsiteY411" fmla="*/ 1828 h 12188825"/>
              <a:gd name="connsiteX412" fmla="*/ 677130 w 4703181"/>
              <a:gd name="connsiteY412" fmla="*/ 1828 h 12188825"/>
              <a:gd name="connsiteX413" fmla="*/ 522609 w 4703181"/>
              <a:gd name="connsiteY413" fmla="*/ 3356513 h 12188825"/>
              <a:gd name="connsiteX414" fmla="*/ 434590 w 4703181"/>
              <a:gd name="connsiteY414" fmla="*/ 4041328 h 12188825"/>
              <a:gd name="connsiteX415" fmla="*/ 255815 w 4703181"/>
              <a:gd name="connsiteY415" fmla="*/ 5778021 h 12188825"/>
              <a:gd name="connsiteX416" fmla="*/ 246359 w 4703181"/>
              <a:gd name="connsiteY416" fmla="*/ 6291090 h 12188825"/>
              <a:gd name="connsiteX417" fmla="*/ 126714 w 4703181"/>
              <a:gd name="connsiteY417" fmla="*/ 6383042 h 12188825"/>
              <a:gd name="connsiteX418" fmla="*/ 246035 w 4703181"/>
              <a:gd name="connsiteY418" fmla="*/ 8160267 h 12188825"/>
              <a:gd name="connsiteX419" fmla="*/ 1015514 w 4703181"/>
              <a:gd name="connsiteY419" fmla="*/ 11554213 h 12188825"/>
              <a:gd name="connsiteX420" fmla="*/ 1163142 w 4703181"/>
              <a:gd name="connsiteY420" fmla="*/ 11894453 h 12188825"/>
              <a:gd name="connsiteX421" fmla="*/ 1308351 w 4703181"/>
              <a:gd name="connsiteY421" fmla="*/ 12188825 h 12188825"/>
              <a:gd name="connsiteX422" fmla="*/ 1326652 w 4703181"/>
              <a:gd name="connsiteY422" fmla="*/ 12188825 h 12188825"/>
              <a:gd name="connsiteX423" fmla="*/ 1174242 w 4703181"/>
              <a:gd name="connsiteY423" fmla="*/ 11883952 h 12188825"/>
              <a:gd name="connsiteX424" fmla="*/ 1027641 w 4703181"/>
              <a:gd name="connsiteY424" fmla="*/ 11545997 h 12188825"/>
              <a:gd name="connsiteX425" fmla="*/ 258162 w 4703181"/>
              <a:gd name="connsiteY425" fmla="*/ 8160267 h 12188825"/>
              <a:gd name="connsiteX426" fmla="*/ 149019 w 4703181"/>
              <a:gd name="connsiteY426" fmla="*/ 5869330 h 12188825"/>
              <a:gd name="connsiteX427" fmla="*/ 321534 w 4703181"/>
              <a:gd name="connsiteY427" fmla="*/ 4119855 h 12188825"/>
              <a:gd name="connsiteX428" fmla="*/ 406424 w 4703181"/>
              <a:gd name="connsiteY428" fmla="*/ 3439603 h 12188825"/>
              <a:gd name="connsiteX429" fmla="*/ 557818 w 4703181"/>
              <a:gd name="connsiteY429" fmla="*/ 1828 h 12188825"/>
              <a:gd name="connsiteX430" fmla="*/ 545691 w 4703181"/>
              <a:gd name="connsiteY430" fmla="*/ 1828 h 12188825"/>
              <a:gd name="connsiteX431" fmla="*/ 394297 w 4703181"/>
              <a:gd name="connsiteY431" fmla="*/ 3435039 h 12188825"/>
              <a:gd name="connsiteX432" fmla="*/ 309407 w 4703181"/>
              <a:gd name="connsiteY432" fmla="*/ 4115287 h 12188825"/>
              <a:gd name="connsiteX433" fmla="*/ 136890 w 4703181"/>
              <a:gd name="connsiteY433" fmla="*/ 5869330 h 12188825"/>
              <a:gd name="connsiteX434" fmla="*/ 126714 w 4703181"/>
              <a:gd name="connsiteY434" fmla="*/ 6383042 h 12188825"/>
              <a:gd name="connsiteX435" fmla="*/ 7913 w 4703181"/>
              <a:gd name="connsiteY435" fmla="*/ 6475962 h 12188825"/>
              <a:gd name="connsiteX436" fmla="*/ 131415 w 4703181"/>
              <a:gd name="connsiteY436" fmla="*/ 8256141 h 12188825"/>
              <a:gd name="connsiteX437" fmla="*/ 915760 w 4703181"/>
              <a:gd name="connsiteY437" fmla="*/ 11650087 h 12188825"/>
              <a:gd name="connsiteX438" fmla="*/ 1063778 w 4703181"/>
              <a:gd name="connsiteY438" fmla="*/ 11990327 h 12188825"/>
              <a:gd name="connsiteX439" fmla="*/ 1163355 w 4703181"/>
              <a:gd name="connsiteY439" fmla="*/ 12188825 h 12188825"/>
              <a:gd name="connsiteX440" fmla="*/ 1179133 w 4703181"/>
              <a:gd name="connsiteY440" fmla="*/ 12188825 h 12188825"/>
              <a:gd name="connsiteX441" fmla="*/ 1074096 w 4703181"/>
              <a:gd name="connsiteY441" fmla="*/ 11978115 h 12188825"/>
              <a:gd name="connsiteX442" fmla="*/ 924758 w 4703181"/>
              <a:gd name="connsiteY442" fmla="*/ 11641871 h 12188825"/>
              <a:gd name="connsiteX443" fmla="*/ 143150 w 4703181"/>
              <a:gd name="connsiteY443" fmla="*/ 8256141 h 12188825"/>
              <a:gd name="connsiteX444" fmla="*/ 28140 w 4703181"/>
              <a:gd name="connsiteY444" fmla="*/ 5961553 h 12188825"/>
              <a:gd name="connsiteX445" fmla="*/ 197919 w 4703181"/>
              <a:gd name="connsiteY445" fmla="*/ 4190161 h 12188825"/>
              <a:gd name="connsiteX446" fmla="*/ 279678 w 4703181"/>
              <a:gd name="connsiteY446" fmla="*/ 3522695 h 12188825"/>
              <a:gd name="connsiteX447" fmla="*/ 425203 w 4703181"/>
              <a:gd name="connsiteY447" fmla="*/ 1828 h 12188825"/>
              <a:gd name="connsiteX448" fmla="*/ 413074 w 4703181"/>
              <a:gd name="connsiteY448" fmla="*/ 1828 h 12188825"/>
              <a:gd name="connsiteX449" fmla="*/ 264813 w 4703181"/>
              <a:gd name="connsiteY449" fmla="*/ 3518129 h 12188825"/>
              <a:gd name="connsiteX450" fmla="*/ 186181 w 4703181"/>
              <a:gd name="connsiteY450" fmla="*/ 4190161 h 12188825"/>
              <a:gd name="connsiteX451" fmla="*/ 16403 w 4703181"/>
              <a:gd name="connsiteY451" fmla="*/ 5956988 h 12188825"/>
              <a:gd name="connsiteX452" fmla="*/ 7913 w 4703181"/>
              <a:gd name="connsiteY452" fmla="*/ 6475962 h 12188825"/>
              <a:gd name="connsiteX453" fmla="*/ 0 w 4703181"/>
              <a:gd name="connsiteY453" fmla="*/ 12143747 h 12188825"/>
              <a:gd name="connsiteX454" fmla="*/ 0 w 4703181"/>
              <a:gd name="connsiteY454" fmla="*/ 12180859 h 12188825"/>
              <a:gd name="connsiteX455" fmla="*/ 3313 w 4703181"/>
              <a:gd name="connsiteY455" fmla="*/ 12188825 h 12188825"/>
              <a:gd name="connsiteX456" fmla="*/ 18829 w 4703181"/>
              <a:gd name="connsiteY456" fmla="*/ 12188825 h 12188825"/>
              <a:gd name="connsiteX457" fmla="*/ 0 w 4703181"/>
              <a:gd name="connsiteY457" fmla="*/ 11770999 h 12188825"/>
              <a:gd name="connsiteX458" fmla="*/ 0 w 4703181"/>
              <a:gd name="connsiteY458" fmla="*/ 11814171 h 12188825"/>
              <a:gd name="connsiteX459" fmla="*/ 60618 w 4703181"/>
              <a:gd name="connsiteY459" fmla="*/ 11981565 h 12188825"/>
              <a:gd name="connsiteX460" fmla="*/ 146370 w 4703181"/>
              <a:gd name="connsiteY460" fmla="*/ 12188825 h 12188825"/>
              <a:gd name="connsiteX461" fmla="*/ 162634 w 4703181"/>
              <a:gd name="connsiteY461" fmla="*/ 12188825 h 12188825"/>
              <a:gd name="connsiteX462" fmla="*/ 73136 w 4703181"/>
              <a:gd name="connsiteY462" fmla="*/ 11972637 h 12188825"/>
              <a:gd name="connsiteX463" fmla="*/ 0 w 4703181"/>
              <a:gd name="connsiteY463" fmla="*/ 11369071 h 12188825"/>
              <a:gd name="connsiteX464" fmla="*/ 0 w 4703181"/>
              <a:gd name="connsiteY464" fmla="*/ 11418249 h 12188825"/>
              <a:gd name="connsiteX465" fmla="*/ 32033 w 4703181"/>
              <a:gd name="connsiteY465" fmla="*/ 11521001 h 12188825"/>
              <a:gd name="connsiteX466" fmla="*/ 162467 w 4703181"/>
              <a:gd name="connsiteY466" fmla="*/ 11885886 h 12188825"/>
              <a:gd name="connsiteX467" fmla="*/ 286040 w 4703181"/>
              <a:gd name="connsiteY467" fmla="*/ 12188825 h 12188825"/>
              <a:gd name="connsiteX468" fmla="*/ 302282 w 4703181"/>
              <a:gd name="connsiteY468" fmla="*/ 12188825 h 12188825"/>
              <a:gd name="connsiteX469" fmla="*/ 174974 w 4703181"/>
              <a:gd name="connsiteY469" fmla="*/ 11876763 h 12188825"/>
              <a:gd name="connsiteX470" fmla="*/ 44539 w 4703181"/>
              <a:gd name="connsiteY470" fmla="*/ 11511941 h 12188825"/>
              <a:gd name="connsiteX471" fmla="*/ 0 w 4703181"/>
              <a:gd name="connsiteY471" fmla="*/ 10915801 h 12188825"/>
              <a:gd name="connsiteX472" fmla="*/ 0 w 4703181"/>
              <a:gd name="connsiteY472" fmla="*/ 10968869 h 12188825"/>
              <a:gd name="connsiteX473" fmla="*/ 18605 w 4703181"/>
              <a:gd name="connsiteY473" fmla="*/ 11038443 h 12188825"/>
              <a:gd name="connsiteX474" fmla="*/ 406816 w 4703181"/>
              <a:gd name="connsiteY474" fmla="*/ 12134939 h 12188825"/>
              <a:gd name="connsiteX475" fmla="*/ 431731 w 4703181"/>
              <a:gd name="connsiteY475" fmla="*/ 12188825 h 12188825"/>
              <a:gd name="connsiteX476" fmla="*/ 447977 w 4703181"/>
              <a:gd name="connsiteY476" fmla="*/ 12188825 h 12188825"/>
              <a:gd name="connsiteX477" fmla="*/ 418943 w 4703181"/>
              <a:gd name="connsiteY477" fmla="*/ 12125805 h 12188825"/>
              <a:gd name="connsiteX478" fmla="*/ 30732 w 4703181"/>
              <a:gd name="connsiteY478" fmla="*/ 11030513 h 12188825"/>
              <a:gd name="connsiteX479" fmla="*/ 0 w 4703181"/>
              <a:gd name="connsiteY479" fmla="*/ 10393437 h 12188825"/>
              <a:gd name="connsiteX480" fmla="*/ 0 w 4703181"/>
              <a:gd name="connsiteY480" fmla="*/ 10453311 h 12188825"/>
              <a:gd name="connsiteX481" fmla="*/ 18311 w 4703181"/>
              <a:gd name="connsiteY481" fmla="*/ 10534067 h 12188825"/>
              <a:gd name="connsiteX482" fmla="*/ 509699 w 4703181"/>
              <a:gd name="connsiteY482" fmla="*/ 12039063 h 12188825"/>
              <a:gd name="connsiteX483" fmla="*/ 577788 w 4703181"/>
              <a:gd name="connsiteY483" fmla="*/ 12188825 h 12188825"/>
              <a:gd name="connsiteX484" fmla="*/ 592107 w 4703181"/>
              <a:gd name="connsiteY484" fmla="*/ 12188825 h 12188825"/>
              <a:gd name="connsiteX485" fmla="*/ 519088 w 4703181"/>
              <a:gd name="connsiteY485" fmla="*/ 12029931 h 12188825"/>
              <a:gd name="connsiteX486" fmla="*/ 30241 w 4703181"/>
              <a:gd name="connsiteY486" fmla="*/ 10526875 h 12188825"/>
              <a:gd name="connsiteX487" fmla="*/ 0 w 4703181"/>
              <a:gd name="connsiteY487" fmla="*/ 9782675 h 12188825"/>
              <a:gd name="connsiteX488" fmla="*/ 0 w 4703181"/>
              <a:gd name="connsiteY488" fmla="*/ 9857953 h 12188825"/>
              <a:gd name="connsiteX489" fmla="*/ 28505 w 4703181"/>
              <a:gd name="connsiteY489" fmla="*/ 10006729 h 12188825"/>
              <a:gd name="connsiteX490" fmla="*/ 609455 w 4703181"/>
              <a:gd name="connsiteY490" fmla="*/ 11943189 h 12188825"/>
              <a:gd name="connsiteX491" fmla="*/ 721132 w 4703181"/>
              <a:gd name="connsiteY491" fmla="*/ 12188825 h 12188825"/>
              <a:gd name="connsiteX492" fmla="*/ 736965 w 4703181"/>
              <a:gd name="connsiteY492" fmla="*/ 12188825 h 12188825"/>
              <a:gd name="connsiteX493" fmla="*/ 621973 w 4703181"/>
              <a:gd name="connsiteY493" fmla="*/ 11934059 h 12188825"/>
              <a:gd name="connsiteX494" fmla="*/ 41519 w 4703181"/>
              <a:gd name="connsiteY494" fmla="*/ 9999829 h 12188825"/>
              <a:gd name="connsiteX495" fmla="*/ 0 w 4703181"/>
              <a:gd name="connsiteY495" fmla="*/ 9049167 h 12188825"/>
              <a:gd name="connsiteX496" fmla="*/ 0 w 4703181"/>
              <a:gd name="connsiteY496" fmla="*/ 9129723 h 12188825"/>
              <a:gd name="connsiteX497" fmla="*/ 51764 w 4703181"/>
              <a:gd name="connsiteY497" fmla="*/ 9453627 h 12188825"/>
              <a:gd name="connsiteX498" fmla="*/ 712731 w 4703181"/>
              <a:gd name="connsiteY498" fmla="*/ 11847315 h 12188825"/>
              <a:gd name="connsiteX499" fmla="*/ 862264 w 4703181"/>
              <a:gd name="connsiteY499" fmla="*/ 12183103 h 12188825"/>
              <a:gd name="connsiteX500" fmla="*/ 865190 w 4703181"/>
              <a:gd name="connsiteY500" fmla="*/ 12188825 h 12188825"/>
              <a:gd name="connsiteX501" fmla="*/ 882725 w 4703181"/>
              <a:gd name="connsiteY501" fmla="*/ 12188825 h 12188825"/>
              <a:gd name="connsiteX502" fmla="*/ 874391 w 4703181"/>
              <a:gd name="connsiteY502" fmla="*/ 12172488 h 12188825"/>
              <a:gd name="connsiteX503" fmla="*/ 722119 w 4703181"/>
              <a:gd name="connsiteY503" fmla="*/ 11834531 h 12188825"/>
              <a:gd name="connsiteX504" fmla="*/ 63904 w 4703181"/>
              <a:gd name="connsiteY504" fmla="*/ 9448935 h 12188825"/>
              <a:gd name="connsiteX505" fmla="*/ 0 w 4703181"/>
              <a:gd name="connsiteY505" fmla="*/ 8077111 h 12188825"/>
              <a:gd name="connsiteX506" fmla="*/ 0 w 4703181"/>
              <a:gd name="connsiteY506" fmla="*/ 8185701 h 12188825"/>
              <a:gd name="connsiteX507" fmla="*/ 19143 w 4703181"/>
              <a:gd name="connsiteY507" fmla="*/ 8352928 h 12188825"/>
              <a:gd name="connsiteX508" fmla="*/ 812876 w 4703181"/>
              <a:gd name="connsiteY508" fmla="*/ 11751441 h 12188825"/>
              <a:gd name="connsiteX509" fmla="*/ 962410 w 4703181"/>
              <a:gd name="connsiteY509" fmla="*/ 12087684 h 12188825"/>
              <a:gd name="connsiteX510" fmla="*/ 1013614 w 4703181"/>
              <a:gd name="connsiteY510" fmla="*/ 12188825 h 12188825"/>
              <a:gd name="connsiteX511" fmla="*/ 1031131 w 4703181"/>
              <a:gd name="connsiteY511" fmla="*/ 12188825 h 12188825"/>
              <a:gd name="connsiteX512" fmla="*/ 974341 w 4703181"/>
              <a:gd name="connsiteY512" fmla="*/ 12074901 h 12188825"/>
              <a:gd name="connsiteX513" fmla="*/ 825003 w 4703181"/>
              <a:gd name="connsiteY513" fmla="*/ 11738659 h 12188825"/>
              <a:gd name="connsiteX514" fmla="*/ 31269 w 4703181"/>
              <a:gd name="connsiteY514" fmla="*/ 8348363 h 12188825"/>
              <a:gd name="connsiteX515" fmla="*/ 0 w 4703181"/>
              <a:gd name="connsiteY515" fmla="*/ 4775048 h 12188825"/>
              <a:gd name="connsiteX516" fmla="*/ 0 w 4703181"/>
              <a:gd name="connsiteY516" fmla="*/ 4887079 h 12188825"/>
              <a:gd name="connsiteX517" fmla="*/ 20145 w 4703181"/>
              <a:gd name="connsiteY517" fmla="*/ 4703802 h 12188825"/>
              <a:gd name="connsiteX518" fmla="*/ 73910 w 4703181"/>
              <a:gd name="connsiteY518" fmla="*/ 4265036 h 12188825"/>
              <a:gd name="connsiteX519" fmla="*/ 149800 w 4703181"/>
              <a:gd name="connsiteY519" fmla="*/ 3605785 h 12188825"/>
              <a:gd name="connsiteX520" fmla="*/ 292196 w 4703181"/>
              <a:gd name="connsiteY520" fmla="*/ 1828 h 12188825"/>
              <a:gd name="connsiteX521" fmla="*/ 280069 w 4703181"/>
              <a:gd name="connsiteY521" fmla="*/ 1828 h 12188825"/>
              <a:gd name="connsiteX522" fmla="*/ 137674 w 4703181"/>
              <a:gd name="connsiteY522" fmla="*/ 3601219 h 12188825"/>
              <a:gd name="connsiteX523" fmla="*/ 61784 w 4703181"/>
              <a:gd name="connsiteY523" fmla="*/ 4260470 h 12188825"/>
              <a:gd name="connsiteX524" fmla="*/ 8018 w 4703181"/>
              <a:gd name="connsiteY524" fmla="*/ 4701876 h 12188825"/>
              <a:gd name="connsiteX525" fmla="*/ 0 w 4703181"/>
              <a:gd name="connsiteY525" fmla="*/ 3771216 h 12188825"/>
              <a:gd name="connsiteX526" fmla="*/ 0 w 4703181"/>
              <a:gd name="connsiteY526" fmla="*/ 3885405 h 12188825"/>
              <a:gd name="connsiteX527" fmla="*/ 22272 w 4703181"/>
              <a:gd name="connsiteY527" fmla="*/ 3684311 h 12188825"/>
              <a:gd name="connsiteX528" fmla="*/ 158407 w 4703181"/>
              <a:gd name="connsiteY528" fmla="*/ 1828 h 12188825"/>
              <a:gd name="connsiteX529" fmla="*/ 146280 w 4703181"/>
              <a:gd name="connsiteY529" fmla="*/ 1828 h 12188825"/>
              <a:gd name="connsiteX530" fmla="*/ 10144 w 4703181"/>
              <a:gd name="connsiteY530" fmla="*/ 3684311 h 12188825"/>
              <a:gd name="connsiteX531" fmla="*/ 0 w 4703181"/>
              <a:gd name="connsiteY531" fmla="*/ 2184485 h 12188825"/>
              <a:gd name="connsiteX532" fmla="*/ 0 w 4703181"/>
              <a:gd name="connsiteY532" fmla="*/ 2456148 h 12188825"/>
              <a:gd name="connsiteX533" fmla="*/ 7103 w 4703181"/>
              <a:gd name="connsiteY533" fmla="*/ 2339528 h 12188825"/>
              <a:gd name="connsiteX534" fmla="*/ 28532 w 4703181"/>
              <a:gd name="connsiteY534" fmla="*/ 1828 h 12188825"/>
              <a:gd name="connsiteX535" fmla="*/ 13275 w 4703181"/>
              <a:gd name="connsiteY535" fmla="*/ 1828 h 12188825"/>
              <a:gd name="connsiteX536" fmla="*/ 14008 w 4703181"/>
              <a:gd name="connsiteY536" fmla="*/ 1862814 h 12188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</a:cxnLst>
            <a:rect l="l" t="t" r="r" b="b"/>
            <a:pathLst>
              <a:path w="4703181" h="12188825">
                <a:moveTo>
                  <a:pt x="2608751" y="5105305"/>
                </a:moveTo>
                <a:cubicBezTo>
                  <a:pt x="2608359" y="5478986"/>
                  <a:pt x="2622736" y="5840113"/>
                  <a:pt x="2639362" y="6171565"/>
                </a:cubicBezTo>
                <a:cubicBezTo>
                  <a:pt x="2691000" y="7144914"/>
                  <a:pt x="2797013" y="8409541"/>
                  <a:pt x="3151435" y="9535377"/>
                </a:cubicBezTo>
                <a:cubicBezTo>
                  <a:pt x="3339209" y="10133449"/>
                  <a:pt x="3599744" y="10695911"/>
                  <a:pt x="3923653" y="11210893"/>
                </a:cubicBezTo>
                <a:cubicBezTo>
                  <a:pt x="4079740" y="11457426"/>
                  <a:pt x="4248639" y="11689807"/>
                  <a:pt x="4428881" y="11906322"/>
                </a:cubicBezTo>
                <a:lnTo>
                  <a:pt x="4680688" y="12188825"/>
                </a:lnTo>
                <a:lnTo>
                  <a:pt x="4703181" y="12188825"/>
                </a:lnTo>
                <a:lnTo>
                  <a:pt x="4426466" y="11877318"/>
                </a:lnTo>
                <a:cubicBezTo>
                  <a:pt x="3876881" y="11212833"/>
                  <a:pt x="3438475" y="10400298"/>
                  <a:pt x="3163562" y="9527159"/>
                </a:cubicBezTo>
                <a:cubicBezTo>
                  <a:pt x="2809140" y="8401321"/>
                  <a:pt x="2703127" y="7140349"/>
                  <a:pt x="2654618" y="6167910"/>
                </a:cubicBezTo>
                <a:cubicBezTo>
                  <a:pt x="2618238" y="5508662"/>
                  <a:pt x="2593983" y="4727970"/>
                  <a:pt x="2682002" y="3969193"/>
                </a:cubicBezTo>
                <a:cubicBezTo>
                  <a:pt x="2736378" y="3474299"/>
                  <a:pt x="2836133" y="2990362"/>
                  <a:pt x="2936278" y="2523777"/>
                </a:cubicBezTo>
                <a:cubicBezTo>
                  <a:pt x="2990654" y="2261721"/>
                  <a:pt x="3045422" y="1991445"/>
                  <a:pt x="3093930" y="1721172"/>
                </a:cubicBezTo>
                <a:cubicBezTo>
                  <a:pt x="3194075" y="1158709"/>
                  <a:pt x="3260577" y="582551"/>
                  <a:pt x="3293830" y="1828"/>
                </a:cubicBezTo>
                <a:lnTo>
                  <a:pt x="3281703" y="1828"/>
                </a:lnTo>
                <a:cubicBezTo>
                  <a:pt x="3248451" y="577988"/>
                  <a:pt x="3181557" y="1153231"/>
                  <a:pt x="3081803" y="1716605"/>
                </a:cubicBezTo>
                <a:cubicBezTo>
                  <a:pt x="3033295" y="1986881"/>
                  <a:pt x="2978918" y="2258068"/>
                  <a:pt x="2924151" y="2519212"/>
                </a:cubicBezTo>
                <a:cubicBezTo>
                  <a:pt x="2824006" y="2985799"/>
                  <a:pt x="2724252" y="3470649"/>
                  <a:pt x="2666745" y="3963715"/>
                </a:cubicBezTo>
                <a:cubicBezTo>
                  <a:pt x="2624300" y="4345387"/>
                  <a:pt x="2609142" y="4731622"/>
                  <a:pt x="2608751" y="5105305"/>
                </a:cubicBezTo>
                <a:close/>
                <a:moveTo>
                  <a:pt x="2492175" y="5200265"/>
                </a:moveTo>
                <a:cubicBezTo>
                  <a:pt x="2492957" y="5574402"/>
                  <a:pt x="2508898" y="5935529"/>
                  <a:pt x="2527089" y="6267436"/>
                </a:cubicBezTo>
                <a:cubicBezTo>
                  <a:pt x="2581465" y="7240788"/>
                  <a:pt x="2687479" y="8500849"/>
                  <a:pt x="3048160" y="9631249"/>
                </a:cubicBezTo>
                <a:cubicBezTo>
                  <a:pt x="3124052" y="9862263"/>
                  <a:pt x="3208550" y="10089623"/>
                  <a:pt x="3302436" y="10307849"/>
                </a:cubicBezTo>
                <a:cubicBezTo>
                  <a:pt x="3572849" y="10934228"/>
                  <a:pt x="3922033" y="11503282"/>
                  <a:pt x="4337932" y="12000941"/>
                </a:cubicBezTo>
                <a:lnTo>
                  <a:pt x="4501908" y="12188825"/>
                </a:lnTo>
                <a:lnTo>
                  <a:pt x="4522453" y="12188825"/>
                </a:lnTo>
                <a:lnTo>
                  <a:pt x="4347456" y="11988315"/>
                </a:lnTo>
                <a:cubicBezTo>
                  <a:pt x="3932155" y="11491354"/>
                  <a:pt x="3585368" y="10925095"/>
                  <a:pt x="3314954" y="10298717"/>
                </a:cubicBezTo>
                <a:cubicBezTo>
                  <a:pt x="3221069" y="10080491"/>
                  <a:pt x="3136179" y="9854045"/>
                  <a:pt x="3060679" y="9622121"/>
                </a:cubicBezTo>
                <a:cubicBezTo>
                  <a:pt x="2703127" y="8496283"/>
                  <a:pt x="2594374" y="7235309"/>
                  <a:pt x="2539607" y="6262871"/>
                </a:cubicBezTo>
                <a:cubicBezTo>
                  <a:pt x="2503226" y="5603622"/>
                  <a:pt x="2475842" y="4822930"/>
                  <a:pt x="2560732" y="4059590"/>
                </a:cubicBezTo>
                <a:cubicBezTo>
                  <a:pt x="2615108" y="3561957"/>
                  <a:pt x="2715253" y="3073458"/>
                  <a:pt x="2812269" y="2602301"/>
                </a:cubicBezTo>
                <a:cubicBezTo>
                  <a:pt x="2863908" y="2340246"/>
                  <a:pt x="2918283" y="2069971"/>
                  <a:pt x="2966791" y="1804263"/>
                </a:cubicBezTo>
                <a:cubicBezTo>
                  <a:pt x="3069675" y="1210755"/>
                  <a:pt x="3136570" y="609029"/>
                  <a:pt x="3166692" y="2740"/>
                </a:cubicBezTo>
                <a:lnTo>
                  <a:pt x="3154565" y="2740"/>
                </a:lnTo>
                <a:cubicBezTo>
                  <a:pt x="3124052" y="608117"/>
                  <a:pt x="3057548" y="1210755"/>
                  <a:pt x="2954274" y="1799697"/>
                </a:cubicBezTo>
                <a:cubicBezTo>
                  <a:pt x="2905766" y="2065406"/>
                  <a:pt x="2851389" y="2336593"/>
                  <a:pt x="2796622" y="2597736"/>
                </a:cubicBezTo>
                <a:cubicBezTo>
                  <a:pt x="2702736" y="3068889"/>
                  <a:pt x="2602590" y="3557391"/>
                  <a:pt x="2548215" y="4055025"/>
                </a:cubicBezTo>
                <a:cubicBezTo>
                  <a:pt x="2505769" y="4438978"/>
                  <a:pt x="2491392" y="4826128"/>
                  <a:pt x="2492175" y="5200265"/>
                </a:cubicBezTo>
                <a:close/>
                <a:moveTo>
                  <a:pt x="2374376" y="5294998"/>
                </a:moveTo>
                <a:cubicBezTo>
                  <a:pt x="2375892" y="5669136"/>
                  <a:pt x="2392518" y="6029120"/>
                  <a:pt x="2412078" y="6358744"/>
                </a:cubicBezTo>
                <a:cubicBezTo>
                  <a:pt x="2469583" y="7335748"/>
                  <a:pt x="2581856" y="8596723"/>
                  <a:pt x="2948406" y="9727125"/>
                </a:cubicBezTo>
                <a:cubicBezTo>
                  <a:pt x="3024297" y="9958135"/>
                  <a:pt x="3108795" y="10185495"/>
                  <a:pt x="3205812" y="10403723"/>
                </a:cubicBezTo>
                <a:cubicBezTo>
                  <a:pt x="3476225" y="11030102"/>
                  <a:pt x="3825409" y="11595660"/>
                  <a:pt x="4245239" y="12093056"/>
                </a:cubicBezTo>
                <a:lnTo>
                  <a:pt x="4329667" y="12188825"/>
                </a:lnTo>
                <a:lnTo>
                  <a:pt x="4346385" y="12188825"/>
                </a:lnTo>
                <a:lnTo>
                  <a:pt x="4252139" y="12081456"/>
                </a:lnTo>
                <a:cubicBezTo>
                  <a:pt x="3834706" y="11584558"/>
                  <a:pt x="3487619" y="11018803"/>
                  <a:pt x="3214810" y="10396417"/>
                </a:cubicBezTo>
                <a:cubicBezTo>
                  <a:pt x="3120922" y="10178191"/>
                  <a:pt x="3032904" y="9951745"/>
                  <a:pt x="2960533" y="9719821"/>
                </a:cubicBezTo>
                <a:cubicBezTo>
                  <a:pt x="2593983" y="8593985"/>
                  <a:pt x="2482101" y="7333009"/>
                  <a:pt x="2424205" y="6360572"/>
                </a:cubicBezTo>
                <a:cubicBezTo>
                  <a:pt x="2387825" y="5697668"/>
                  <a:pt x="2357702" y="4920633"/>
                  <a:pt x="2439462" y="4148159"/>
                </a:cubicBezTo>
                <a:cubicBezTo>
                  <a:pt x="2491099" y="3650527"/>
                  <a:pt x="2590855" y="3157459"/>
                  <a:pt x="2687870" y="2682653"/>
                </a:cubicBezTo>
                <a:cubicBezTo>
                  <a:pt x="2739508" y="2420598"/>
                  <a:pt x="2790754" y="2154889"/>
                  <a:pt x="2839262" y="1888267"/>
                </a:cubicBezTo>
                <a:cubicBezTo>
                  <a:pt x="2945276" y="1268282"/>
                  <a:pt x="3011779" y="640075"/>
                  <a:pt x="3039162" y="3653"/>
                </a:cubicBezTo>
                <a:lnTo>
                  <a:pt x="3027035" y="3653"/>
                </a:lnTo>
                <a:cubicBezTo>
                  <a:pt x="2999652" y="634597"/>
                  <a:pt x="2930018" y="1262803"/>
                  <a:pt x="2824006" y="1881876"/>
                </a:cubicBezTo>
                <a:cubicBezTo>
                  <a:pt x="2778627" y="2147586"/>
                  <a:pt x="2726990" y="2414206"/>
                  <a:pt x="2672613" y="2676260"/>
                </a:cubicBezTo>
                <a:cubicBezTo>
                  <a:pt x="2578727" y="3151979"/>
                  <a:pt x="2478581" y="3645049"/>
                  <a:pt x="2427334" y="4146333"/>
                </a:cubicBezTo>
                <a:cubicBezTo>
                  <a:pt x="2386455" y="4532571"/>
                  <a:pt x="2372860" y="4920861"/>
                  <a:pt x="2374376" y="5294998"/>
                </a:cubicBezTo>
                <a:close/>
                <a:moveTo>
                  <a:pt x="2257654" y="5387105"/>
                </a:moveTo>
                <a:cubicBezTo>
                  <a:pt x="2260294" y="5762270"/>
                  <a:pt x="2277703" y="6123169"/>
                  <a:pt x="2297458" y="6454621"/>
                </a:cubicBezTo>
                <a:cubicBezTo>
                  <a:pt x="2358094" y="7427973"/>
                  <a:pt x="2476233" y="8692597"/>
                  <a:pt x="2845912" y="9822999"/>
                </a:cubicBezTo>
                <a:cubicBezTo>
                  <a:pt x="2921805" y="10054009"/>
                  <a:pt x="3009432" y="10281369"/>
                  <a:pt x="3106448" y="10499599"/>
                </a:cubicBezTo>
                <a:cubicBezTo>
                  <a:pt x="3379599" y="11121981"/>
                  <a:pt x="3731221" y="11687040"/>
                  <a:pt x="4153715" y="12187433"/>
                </a:cubicBezTo>
                <a:lnTo>
                  <a:pt x="4154941" y="12188825"/>
                </a:lnTo>
                <a:lnTo>
                  <a:pt x="4172800" y="12188825"/>
                </a:lnTo>
                <a:lnTo>
                  <a:pt x="4160605" y="12174920"/>
                </a:lnTo>
                <a:cubicBezTo>
                  <a:pt x="3740176" y="11675027"/>
                  <a:pt x="3388597" y="11109768"/>
                  <a:pt x="3118184" y="10491381"/>
                </a:cubicBezTo>
                <a:cubicBezTo>
                  <a:pt x="3021168" y="10273151"/>
                  <a:pt x="2933541" y="10046705"/>
                  <a:pt x="2857649" y="9814781"/>
                </a:cubicBezTo>
                <a:cubicBezTo>
                  <a:pt x="2487970" y="8688945"/>
                  <a:pt x="2372958" y="7427973"/>
                  <a:pt x="2312323" y="6455534"/>
                </a:cubicBezTo>
                <a:cubicBezTo>
                  <a:pt x="2270075" y="5792630"/>
                  <a:pt x="2239561" y="5015591"/>
                  <a:pt x="2318191" y="4239467"/>
                </a:cubicBezTo>
                <a:cubicBezTo>
                  <a:pt x="2369830" y="3737270"/>
                  <a:pt x="2466454" y="3240551"/>
                  <a:pt x="2560341" y="2760265"/>
                </a:cubicBezTo>
                <a:cubicBezTo>
                  <a:pt x="2611978" y="2498209"/>
                  <a:pt x="2666353" y="2232501"/>
                  <a:pt x="2708603" y="1965881"/>
                </a:cubicBezTo>
                <a:cubicBezTo>
                  <a:pt x="2817746" y="1320326"/>
                  <a:pt x="2884250" y="665643"/>
                  <a:pt x="2911633" y="2740"/>
                </a:cubicBezTo>
                <a:lnTo>
                  <a:pt x="2899506" y="2740"/>
                </a:lnTo>
                <a:cubicBezTo>
                  <a:pt x="2872514" y="661078"/>
                  <a:pt x="2806010" y="1319413"/>
                  <a:pt x="2696868" y="1960401"/>
                </a:cubicBezTo>
                <a:cubicBezTo>
                  <a:pt x="2651489" y="2226110"/>
                  <a:pt x="2599851" y="2492731"/>
                  <a:pt x="2548606" y="2754787"/>
                </a:cubicBezTo>
                <a:cubicBezTo>
                  <a:pt x="2454718" y="3235073"/>
                  <a:pt x="2357702" y="3731792"/>
                  <a:pt x="2306455" y="4233992"/>
                </a:cubicBezTo>
                <a:cubicBezTo>
                  <a:pt x="2267140" y="4622509"/>
                  <a:pt x="2255013" y="5011940"/>
                  <a:pt x="2257654" y="5387105"/>
                </a:cubicBezTo>
                <a:close/>
                <a:moveTo>
                  <a:pt x="2140304" y="5197653"/>
                </a:moveTo>
                <a:cubicBezTo>
                  <a:pt x="2135345" y="5675498"/>
                  <a:pt x="2158388" y="6136181"/>
                  <a:pt x="2184795" y="6550494"/>
                </a:cubicBezTo>
                <a:cubicBezTo>
                  <a:pt x="2248559" y="7523843"/>
                  <a:pt x="2369438" y="8783905"/>
                  <a:pt x="2744985" y="9918873"/>
                </a:cubicBezTo>
                <a:cubicBezTo>
                  <a:pt x="2820876" y="10149885"/>
                  <a:pt x="2908504" y="10377245"/>
                  <a:pt x="3005520" y="10595473"/>
                </a:cubicBezTo>
                <a:cubicBezTo>
                  <a:pt x="3241703" y="11125519"/>
                  <a:pt x="3535979" y="11616532"/>
                  <a:pt x="3881746" y="12060806"/>
                </a:cubicBezTo>
                <a:lnTo>
                  <a:pt x="3985674" y="12188825"/>
                </a:lnTo>
                <a:lnTo>
                  <a:pt x="4004655" y="12188825"/>
                </a:lnTo>
                <a:lnTo>
                  <a:pt x="3890402" y="12048093"/>
                </a:lnTo>
                <a:cubicBezTo>
                  <a:pt x="3544782" y="11604032"/>
                  <a:pt x="3251092" y="11113876"/>
                  <a:pt x="3017256" y="10587253"/>
                </a:cubicBezTo>
                <a:cubicBezTo>
                  <a:pt x="2920240" y="10369025"/>
                  <a:pt x="2832611" y="10142579"/>
                  <a:pt x="2756720" y="9910657"/>
                </a:cubicBezTo>
                <a:cubicBezTo>
                  <a:pt x="2381174" y="8780251"/>
                  <a:pt x="2259903" y="7520194"/>
                  <a:pt x="2196530" y="6546842"/>
                </a:cubicBezTo>
                <a:cubicBezTo>
                  <a:pt x="2154280" y="5887591"/>
                  <a:pt x="2120638" y="5106902"/>
                  <a:pt x="2196530" y="4330779"/>
                </a:cubicBezTo>
                <a:cubicBezTo>
                  <a:pt x="2248168" y="3824928"/>
                  <a:pt x="2344792" y="3322729"/>
                  <a:pt x="2435940" y="2838792"/>
                </a:cubicBezTo>
                <a:cubicBezTo>
                  <a:pt x="2487578" y="2581299"/>
                  <a:pt x="2538825" y="2315593"/>
                  <a:pt x="2581465" y="2048971"/>
                </a:cubicBezTo>
                <a:cubicBezTo>
                  <a:pt x="2693347" y="1376939"/>
                  <a:pt x="2760240" y="692124"/>
                  <a:pt x="2781366" y="2740"/>
                </a:cubicBezTo>
                <a:lnTo>
                  <a:pt x="2769238" y="2740"/>
                </a:lnTo>
                <a:cubicBezTo>
                  <a:pt x="2748504" y="691209"/>
                  <a:pt x="2681611" y="1371459"/>
                  <a:pt x="2569730" y="2043491"/>
                </a:cubicBezTo>
                <a:cubicBezTo>
                  <a:pt x="2527481" y="2309202"/>
                  <a:pt x="2475842" y="2575821"/>
                  <a:pt x="2424205" y="2833314"/>
                </a:cubicBezTo>
                <a:cubicBezTo>
                  <a:pt x="2333448" y="3317248"/>
                  <a:pt x="2236432" y="3819448"/>
                  <a:pt x="2184795" y="4325297"/>
                </a:cubicBezTo>
                <a:cubicBezTo>
                  <a:pt x="2156335" y="4618056"/>
                  <a:pt x="2143279" y="4910944"/>
                  <a:pt x="2140304" y="5197653"/>
                </a:cubicBezTo>
                <a:close/>
                <a:moveTo>
                  <a:pt x="2021831" y="5292172"/>
                </a:moveTo>
                <a:cubicBezTo>
                  <a:pt x="2017797" y="5770944"/>
                  <a:pt x="2041421" y="6231483"/>
                  <a:pt x="2069783" y="6646365"/>
                </a:cubicBezTo>
                <a:cubicBezTo>
                  <a:pt x="2136286" y="7619717"/>
                  <a:pt x="2260686" y="8879779"/>
                  <a:pt x="2642100" y="10014747"/>
                </a:cubicBezTo>
                <a:cubicBezTo>
                  <a:pt x="2720731" y="10245759"/>
                  <a:pt x="2808749" y="10473119"/>
                  <a:pt x="2908504" y="10691345"/>
                </a:cubicBezTo>
                <a:cubicBezTo>
                  <a:pt x="3144687" y="11217968"/>
                  <a:pt x="3438963" y="11705557"/>
                  <a:pt x="3787206" y="12152185"/>
                </a:cubicBezTo>
                <a:lnTo>
                  <a:pt x="3816965" y="12188825"/>
                </a:lnTo>
                <a:lnTo>
                  <a:pt x="3837535" y="12188825"/>
                </a:lnTo>
                <a:lnTo>
                  <a:pt x="3795646" y="12137547"/>
                </a:lnTo>
                <a:cubicBezTo>
                  <a:pt x="3447349" y="11693059"/>
                  <a:pt x="3153293" y="11206327"/>
                  <a:pt x="2917110" y="10683127"/>
                </a:cubicBezTo>
                <a:cubicBezTo>
                  <a:pt x="2820093" y="10464901"/>
                  <a:pt x="2732467" y="10238455"/>
                  <a:pt x="2653445" y="10006529"/>
                </a:cubicBezTo>
                <a:cubicBezTo>
                  <a:pt x="2271639" y="8876127"/>
                  <a:pt x="2147630" y="7616067"/>
                  <a:pt x="2081128" y="6642714"/>
                </a:cubicBezTo>
                <a:cubicBezTo>
                  <a:pt x="2038879" y="5983464"/>
                  <a:pt x="2002498" y="5202776"/>
                  <a:pt x="2077998" y="4422087"/>
                </a:cubicBezTo>
                <a:cubicBezTo>
                  <a:pt x="2126506" y="3911670"/>
                  <a:pt x="2220393" y="3405819"/>
                  <a:pt x="2311150" y="2912753"/>
                </a:cubicBezTo>
                <a:cubicBezTo>
                  <a:pt x="2359659" y="2659826"/>
                  <a:pt x="2411296" y="2393204"/>
                  <a:pt x="2453544" y="2132061"/>
                </a:cubicBezTo>
                <a:cubicBezTo>
                  <a:pt x="2565427" y="1429898"/>
                  <a:pt x="2632321" y="718602"/>
                  <a:pt x="2653445" y="2740"/>
                </a:cubicBezTo>
                <a:lnTo>
                  <a:pt x="2641318" y="2740"/>
                </a:lnTo>
                <a:cubicBezTo>
                  <a:pt x="2621367" y="717687"/>
                  <a:pt x="2554473" y="1428071"/>
                  <a:pt x="2442591" y="2126581"/>
                </a:cubicBezTo>
                <a:cubicBezTo>
                  <a:pt x="2400342" y="2388641"/>
                  <a:pt x="2348705" y="2654348"/>
                  <a:pt x="2300196" y="2907272"/>
                </a:cubicBezTo>
                <a:cubicBezTo>
                  <a:pt x="2209439" y="3400340"/>
                  <a:pt x="2112423" y="3906192"/>
                  <a:pt x="2063915" y="4416608"/>
                </a:cubicBezTo>
                <a:cubicBezTo>
                  <a:pt x="2036629" y="4711079"/>
                  <a:pt x="2024252" y="5004908"/>
                  <a:pt x="2021831" y="5292172"/>
                </a:cubicBezTo>
                <a:close/>
                <a:moveTo>
                  <a:pt x="1904686" y="5400875"/>
                </a:moveTo>
                <a:cubicBezTo>
                  <a:pt x="1902639" y="5888191"/>
                  <a:pt x="1929931" y="6352011"/>
                  <a:pt x="1958292" y="6739501"/>
                </a:cubicBezTo>
                <a:cubicBezTo>
                  <a:pt x="2024795" y="7712854"/>
                  <a:pt x="2155063" y="8977479"/>
                  <a:pt x="2542738" y="10112449"/>
                </a:cubicBezTo>
                <a:cubicBezTo>
                  <a:pt x="2621367" y="10343459"/>
                  <a:pt x="2709386" y="10570817"/>
                  <a:pt x="2809140" y="10789045"/>
                </a:cubicBezTo>
                <a:cubicBezTo>
                  <a:pt x="3007916" y="11225615"/>
                  <a:pt x="3246880" y="11636148"/>
                  <a:pt x="3523933" y="12019084"/>
                </a:cubicBezTo>
                <a:lnTo>
                  <a:pt x="3651957" y="12188825"/>
                </a:lnTo>
                <a:lnTo>
                  <a:pt x="3669378" y="12188825"/>
                </a:lnTo>
                <a:lnTo>
                  <a:pt x="3532332" y="12006541"/>
                </a:lnTo>
                <a:cubicBezTo>
                  <a:pt x="3256319" y="11624007"/>
                  <a:pt x="3018087" y="11214544"/>
                  <a:pt x="2821267" y="10780829"/>
                </a:cubicBezTo>
                <a:cubicBezTo>
                  <a:pt x="2721122" y="10562601"/>
                  <a:pt x="2630364" y="10336157"/>
                  <a:pt x="2551735" y="10104229"/>
                </a:cubicBezTo>
                <a:cubicBezTo>
                  <a:pt x="2167190" y="8973827"/>
                  <a:pt x="2039661" y="7713766"/>
                  <a:pt x="1970028" y="6740414"/>
                </a:cubicBezTo>
                <a:cubicBezTo>
                  <a:pt x="1924650" y="6116776"/>
                  <a:pt x="1885140" y="5305041"/>
                  <a:pt x="1957901" y="4510657"/>
                </a:cubicBezTo>
                <a:cubicBezTo>
                  <a:pt x="2003280" y="3995673"/>
                  <a:pt x="2097166" y="3485258"/>
                  <a:pt x="2187923" y="2992193"/>
                </a:cubicBezTo>
                <a:cubicBezTo>
                  <a:pt x="2236431" y="2739265"/>
                  <a:pt x="2284940" y="2477209"/>
                  <a:pt x="2327189" y="2215153"/>
                </a:cubicBezTo>
                <a:cubicBezTo>
                  <a:pt x="2442200" y="1486508"/>
                  <a:pt x="2509094" y="745082"/>
                  <a:pt x="2523959" y="2740"/>
                </a:cubicBezTo>
                <a:lnTo>
                  <a:pt x="2511832" y="2740"/>
                </a:lnTo>
                <a:cubicBezTo>
                  <a:pt x="2496967" y="743255"/>
                  <a:pt x="2430465" y="1481029"/>
                  <a:pt x="2312323" y="2209675"/>
                </a:cubicBezTo>
                <a:cubicBezTo>
                  <a:pt x="2272813" y="2471731"/>
                  <a:pt x="2224305" y="2732874"/>
                  <a:pt x="2176187" y="2986712"/>
                </a:cubicBezTo>
                <a:cubicBezTo>
                  <a:pt x="2085430" y="3479778"/>
                  <a:pt x="1991544" y="3994760"/>
                  <a:pt x="1946165" y="4509744"/>
                </a:cubicBezTo>
                <a:cubicBezTo>
                  <a:pt x="1917706" y="4807638"/>
                  <a:pt x="1905915" y="5108485"/>
                  <a:pt x="1904686" y="5400875"/>
                </a:cubicBezTo>
                <a:close/>
                <a:moveTo>
                  <a:pt x="1787040" y="5492377"/>
                </a:moveTo>
                <a:cubicBezTo>
                  <a:pt x="1786558" y="5980014"/>
                  <a:pt x="1814919" y="6444689"/>
                  <a:pt x="1843281" y="6834463"/>
                </a:cubicBezTo>
                <a:cubicBezTo>
                  <a:pt x="1916044" y="7807817"/>
                  <a:pt x="2049441" y="9072441"/>
                  <a:pt x="2439853" y="10207409"/>
                </a:cubicBezTo>
                <a:cubicBezTo>
                  <a:pt x="2518483" y="10438421"/>
                  <a:pt x="2609631" y="10665781"/>
                  <a:pt x="2709386" y="10884007"/>
                </a:cubicBezTo>
                <a:cubicBezTo>
                  <a:pt x="2908162" y="11314870"/>
                  <a:pt x="3148349" y="11725403"/>
                  <a:pt x="3427751" y="12110033"/>
                </a:cubicBezTo>
                <a:lnTo>
                  <a:pt x="3487403" y="12188825"/>
                </a:lnTo>
                <a:lnTo>
                  <a:pt x="3507219" y="12188825"/>
                </a:lnTo>
                <a:lnTo>
                  <a:pt x="3436975" y="12096025"/>
                </a:lnTo>
                <a:cubicBezTo>
                  <a:pt x="3159253" y="11713491"/>
                  <a:pt x="2920289" y="11304028"/>
                  <a:pt x="2721513" y="10870309"/>
                </a:cubicBezTo>
                <a:cubicBezTo>
                  <a:pt x="2621367" y="10656647"/>
                  <a:pt x="2530610" y="10429289"/>
                  <a:pt x="2451980" y="10198279"/>
                </a:cubicBezTo>
                <a:cubicBezTo>
                  <a:pt x="2061177" y="9064225"/>
                  <a:pt x="1927780" y="7803250"/>
                  <a:pt x="1855408" y="6834463"/>
                </a:cubicBezTo>
                <a:cubicBezTo>
                  <a:pt x="1810029" y="6210825"/>
                  <a:pt x="1767390" y="5399088"/>
                  <a:pt x="1837413" y="4601050"/>
                </a:cubicBezTo>
                <a:cubicBezTo>
                  <a:pt x="1882792" y="4081503"/>
                  <a:pt x="1976679" y="3567435"/>
                  <a:pt x="2064697" y="3069802"/>
                </a:cubicBezTo>
                <a:cubicBezTo>
                  <a:pt x="2110076" y="2816877"/>
                  <a:pt x="2158584" y="2554821"/>
                  <a:pt x="2198094" y="2292765"/>
                </a:cubicBezTo>
                <a:cubicBezTo>
                  <a:pt x="2316235" y="1537641"/>
                  <a:pt x="2382738" y="774301"/>
                  <a:pt x="2397994" y="1828"/>
                </a:cubicBezTo>
                <a:lnTo>
                  <a:pt x="2385867" y="1828"/>
                </a:lnTo>
                <a:cubicBezTo>
                  <a:pt x="2370611" y="769733"/>
                  <a:pt x="2304109" y="1537641"/>
                  <a:pt x="2185968" y="2288202"/>
                </a:cubicBezTo>
                <a:cubicBezTo>
                  <a:pt x="2146456" y="2550255"/>
                  <a:pt x="2097949" y="2811401"/>
                  <a:pt x="2052571" y="3065236"/>
                </a:cubicBezTo>
                <a:cubicBezTo>
                  <a:pt x="1964551" y="3562872"/>
                  <a:pt x="1870665" y="4077850"/>
                  <a:pt x="1825286" y="4601050"/>
                </a:cubicBezTo>
                <a:cubicBezTo>
                  <a:pt x="1798001" y="4898946"/>
                  <a:pt x="1787329" y="5199793"/>
                  <a:pt x="1787040" y="5492377"/>
                </a:cubicBezTo>
                <a:close/>
                <a:moveTo>
                  <a:pt x="1667909" y="5586534"/>
                </a:moveTo>
                <a:cubicBezTo>
                  <a:pt x="1668466" y="6076445"/>
                  <a:pt x="1697561" y="6541477"/>
                  <a:pt x="1727879" y="6931252"/>
                </a:cubicBezTo>
                <a:cubicBezTo>
                  <a:pt x="1803770" y="7904604"/>
                  <a:pt x="1939906" y="9164663"/>
                  <a:pt x="2339707" y="10304197"/>
                </a:cubicBezTo>
                <a:cubicBezTo>
                  <a:pt x="2418337" y="10535207"/>
                  <a:pt x="2509485" y="10762567"/>
                  <a:pt x="2612370" y="10980795"/>
                </a:cubicBezTo>
                <a:cubicBezTo>
                  <a:pt x="2771390" y="11323203"/>
                  <a:pt x="2957696" y="11653740"/>
                  <a:pt x="3169382" y="11968983"/>
                </a:cubicBezTo>
                <a:lnTo>
                  <a:pt x="3323303" y="12188825"/>
                </a:lnTo>
                <a:lnTo>
                  <a:pt x="3342512" y="12188825"/>
                </a:lnTo>
                <a:lnTo>
                  <a:pt x="3179553" y="11956086"/>
                </a:lnTo>
                <a:cubicBezTo>
                  <a:pt x="2968259" y="11641413"/>
                  <a:pt x="2781952" y="11310876"/>
                  <a:pt x="2621367" y="10966185"/>
                </a:cubicBezTo>
                <a:cubicBezTo>
                  <a:pt x="2521221" y="10752523"/>
                  <a:pt x="2430465" y="10525165"/>
                  <a:pt x="2348705" y="10294153"/>
                </a:cubicBezTo>
                <a:cubicBezTo>
                  <a:pt x="1952033" y="9160099"/>
                  <a:pt x="1815506" y="7899123"/>
                  <a:pt x="1740006" y="6925774"/>
                </a:cubicBezTo>
                <a:cubicBezTo>
                  <a:pt x="1694627" y="6305788"/>
                  <a:pt x="1649249" y="5490399"/>
                  <a:pt x="1715752" y="4692361"/>
                </a:cubicBezTo>
                <a:cubicBezTo>
                  <a:pt x="1761130" y="4169161"/>
                  <a:pt x="1851887" y="3649615"/>
                  <a:pt x="1939906" y="3147416"/>
                </a:cubicBezTo>
                <a:cubicBezTo>
                  <a:pt x="1985285" y="2894491"/>
                  <a:pt x="2030663" y="2632435"/>
                  <a:pt x="2070174" y="2374942"/>
                </a:cubicBezTo>
                <a:cubicBezTo>
                  <a:pt x="2191444" y="1594253"/>
                  <a:pt x="2254818" y="799867"/>
                  <a:pt x="2266945" y="1828"/>
                </a:cubicBezTo>
                <a:lnTo>
                  <a:pt x="2254818" y="1828"/>
                </a:lnTo>
                <a:cubicBezTo>
                  <a:pt x="2242691" y="796214"/>
                  <a:pt x="2176187" y="1589687"/>
                  <a:pt x="2058047" y="2371292"/>
                </a:cubicBezTo>
                <a:cubicBezTo>
                  <a:pt x="2018536" y="2628780"/>
                  <a:pt x="1973157" y="2890836"/>
                  <a:pt x="1927780" y="3143763"/>
                </a:cubicBezTo>
                <a:cubicBezTo>
                  <a:pt x="1839760" y="3645049"/>
                  <a:pt x="1749003" y="4164595"/>
                  <a:pt x="1703625" y="4688707"/>
                </a:cubicBezTo>
                <a:cubicBezTo>
                  <a:pt x="1677513" y="4989685"/>
                  <a:pt x="1667574" y="5292586"/>
                  <a:pt x="1667909" y="5586534"/>
                </a:cubicBezTo>
                <a:close/>
                <a:moveTo>
                  <a:pt x="1550530" y="5681294"/>
                </a:moveTo>
                <a:cubicBezTo>
                  <a:pt x="1553009" y="6172319"/>
                  <a:pt x="1583969" y="6637352"/>
                  <a:pt x="1615997" y="7027126"/>
                </a:cubicBezTo>
                <a:cubicBezTo>
                  <a:pt x="1691889" y="7995910"/>
                  <a:pt x="1834284" y="9260537"/>
                  <a:pt x="2236823" y="10400071"/>
                </a:cubicBezTo>
                <a:cubicBezTo>
                  <a:pt x="2318582" y="10631081"/>
                  <a:pt x="2409340" y="10858441"/>
                  <a:pt x="2512615" y="11076669"/>
                </a:cubicBezTo>
                <a:cubicBezTo>
                  <a:pt x="2673200" y="11416794"/>
                  <a:pt x="2860974" y="11746190"/>
                  <a:pt x="3074126" y="12061434"/>
                </a:cubicBezTo>
                <a:lnTo>
                  <a:pt x="3163837" y="12188825"/>
                </a:lnTo>
                <a:lnTo>
                  <a:pt x="3182377" y="12188825"/>
                </a:lnTo>
                <a:lnTo>
                  <a:pt x="3083514" y="12048879"/>
                </a:lnTo>
                <a:cubicBezTo>
                  <a:pt x="2870753" y="11734777"/>
                  <a:pt x="2683763" y="11405381"/>
                  <a:pt x="2524742" y="11062973"/>
                </a:cubicBezTo>
                <a:cubicBezTo>
                  <a:pt x="2421857" y="10849309"/>
                  <a:pt x="2330709" y="10621951"/>
                  <a:pt x="2248950" y="10390941"/>
                </a:cubicBezTo>
                <a:cubicBezTo>
                  <a:pt x="1846019" y="9256885"/>
                  <a:pt x="1703625" y="7995910"/>
                  <a:pt x="1628124" y="7022561"/>
                </a:cubicBezTo>
                <a:cubicBezTo>
                  <a:pt x="1576487" y="6402575"/>
                  <a:pt x="1531109" y="5587186"/>
                  <a:pt x="1594873" y="4784582"/>
                </a:cubicBezTo>
                <a:cubicBezTo>
                  <a:pt x="1637121" y="4256817"/>
                  <a:pt x="1728270" y="3729053"/>
                  <a:pt x="1815897" y="3222290"/>
                </a:cubicBezTo>
                <a:cubicBezTo>
                  <a:pt x="1858146" y="2973928"/>
                  <a:pt x="1903916" y="2716437"/>
                  <a:pt x="1943036" y="2458948"/>
                </a:cubicBezTo>
                <a:cubicBezTo>
                  <a:pt x="2064306" y="1647212"/>
                  <a:pt x="2127679" y="827260"/>
                  <a:pt x="2137069" y="2740"/>
                </a:cubicBezTo>
                <a:lnTo>
                  <a:pt x="2124941" y="2740"/>
                </a:lnTo>
                <a:cubicBezTo>
                  <a:pt x="2115944" y="827260"/>
                  <a:pt x="2052180" y="1647212"/>
                  <a:pt x="1930909" y="2454383"/>
                </a:cubicBezTo>
                <a:cubicBezTo>
                  <a:pt x="1891399" y="2711872"/>
                  <a:pt x="1846019" y="2969362"/>
                  <a:pt x="1803770" y="3217722"/>
                </a:cubicBezTo>
                <a:cubicBezTo>
                  <a:pt x="1715752" y="3728139"/>
                  <a:pt x="1624994" y="4251338"/>
                  <a:pt x="1582746" y="4780017"/>
                </a:cubicBezTo>
                <a:cubicBezTo>
                  <a:pt x="1557807" y="5082705"/>
                  <a:pt x="1549042" y="5386677"/>
                  <a:pt x="1550530" y="5681294"/>
                </a:cubicBezTo>
                <a:close/>
                <a:moveTo>
                  <a:pt x="1431558" y="5774658"/>
                </a:moveTo>
                <a:cubicBezTo>
                  <a:pt x="1435657" y="6266210"/>
                  <a:pt x="1467931" y="6730030"/>
                  <a:pt x="1500204" y="7117519"/>
                </a:cubicBezTo>
                <a:cubicBezTo>
                  <a:pt x="1621474" y="8562025"/>
                  <a:pt x="1815115" y="9604771"/>
                  <a:pt x="2133156" y="10494119"/>
                </a:cubicBezTo>
                <a:cubicBezTo>
                  <a:pt x="2218046" y="10725129"/>
                  <a:pt x="2311932" y="10952487"/>
                  <a:pt x="2411687" y="11170717"/>
                </a:cubicBezTo>
                <a:cubicBezTo>
                  <a:pt x="2573837" y="11509016"/>
                  <a:pt x="2762393" y="11836129"/>
                  <a:pt x="2976670" y="12150117"/>
                </a:cubicBezTo>
                <a:lnTo>
                  <a:pt x="3004167" y="12188825"/>
                </a:lnTo>
                <a:lnTo>
                  <a:pt x="3021808" y="12188825"/>
                </a:lnTo>
                <a:lnTo>
                  <a:pt x="2986254" y="12138704"/>
                </a:lnTo>
                <a:cubicBezTo>
                  <a:pt x="2772662" y="11825173"/>
                  <a:pt x="2584791" y="11498059"/>
                  <a:pt x="2424205" y="11157933"/>
                </a:cubicBezTo>
                <a:cubicBezTo>
                  <a:pt x="2321321" y="10944271"/>
                  <a:pt x="2227435" y="10716911"/>
                  <a:pt x="2145674" y="10490465"/>
                </a:cubicBezTo>
                <a:cubicBezTo>
                  <a:pt x="1827633" y="9600205"/>
                  <a:pt x="1633601" y="8557461"/>
                  <a:pt x="1512722" y="7117519"/>
                </a:cubicBezTo>
                <a:cubicBezTo>
                  <a:pt x="1461085" y="6497536"/>
                  <a:pt x="1409839" y="5682148"/>
                  <a:pt x="1476341" y="4870413"/>
                </a:cubicBezTo>
                <a:cubicBezTo>
                  <a:pt x="1515851" y="4338081"/>
                  <a:pt x="1606609" y="3810316"/>
                  <a:pt x="1691498" y="3299899"/>
                </a:cubicBezTo>
                <a:cubicBezTo>
                  <a:pt x="1733747" y="3051541"/>
                  <a:pt x="1776387" y="2794049"/>
                  <a:pt x="1815506" y="2541124"/>
                </a:cubicBezTo>
                <a:cubicBezTo>
                  <a:pt x="1936777" y="1703823"/>
                  <a:pt x="2000150" y="852825"/>
                  <a:pt x="2006409" y="1828"/>
                </a:cubicBezTo>
                <a:lnTo>
                  <a:pt x="1994282" y="1828"/>
                </a:lnTo>
                <a:cubicBezTo>
                  <a:pt x="1988414" y="852825"/>
                  <a:pt x="1924650" y="1699258"/>
                  <a:pt x="1800249" y="2536561"/>
                </a:cubicBezTo>
                <a:cubicBezTo>
                  <a:pt x="1763869" y="2789484"/>
                  <a:pt x="1721620" y="3046976"/>
                  <a:pt x="1678979" y="3295335"/>
                </a:cubicBezTo>
                <a:cubicBezTo>
                  <a:pt x="1590961" y="3805753"/>
                  <a:pt x="1503334" y="4338081"/>
                  <a:pt x="1460694" y="4870413"/>
                </a:cubicBezTo>
                <a:cubicBezTo>
                  <a:pt x="1436782" y="5174814"/>
                  <a:pt x="1429099" y="5479728"/>
                  <a:pt x="1431558" y="5774658"/>
                </a:cubicBezTo>
                <a:close/>
                <a:moveTo>
                  <a:pt x="1316783" y="5983239"/>
                </a:moveTo>
                <a:cubicBezTo>
                  <a:pt x="1323580" y="6351441"/>
                  <a:pt x="1346269" y="6754112"/>
                  <a:pt x="1385585" y="7212481"/>
                </a:cubicBezTo>
                <a:cubicBezTo>
                  <a:pt x="1509593" y="8656987"/>
                  <a:pt x="1709885" y="9699733"/>
                  <a:pt x="2033793" y="10593645"/>
                </a:cubicBezTo>
                <a:cubicBezTo>
                  <a:pt x="2115553" y="10820091"/>
                  <a:pt x="2212569" y="11047449"/>
                  <a:pt x="2315453" y="11261111"/>
                </a:cubicBezTo>
                <a:cubicBezTo>
                  <a:pt x="2437066" y="11514836"/>
                  <a:pt x="2573972" y="11762269"/>
                  <a:pt x="2725552" y="12002591"/>
                </a:cubicBezTo>
                <a:lnTo>
                  <a:pt x="2848013" y="12188825"/>
                </a:lnTo>
                <a:lnTo>
                  <a:pt x="2864698" y="12188825"/>
                </a:lnTo>
                <a:lnTo>
                  <a:pt x="2734549" y="11991212"/>
                </a:lnTo>
                <a:cubicBezTo>
                  <a:pt x="2582968" y="11751398"/>
                  <a:pt x="2446062" y="11504907"/>
                  <a:pt x="2324449" y="11252895"/>
                </a:cubicBezTo>
                <a:cubicBezTo>
                  <a:pt x="2221567" y="11039233"/>
                  <a:pt x="2127679" y="10811873"/>
                  <a:pt x="2045921" y="10585427"/>
                </a:cubicBezTo>
                <a:cubicBezTo>
                  <a:pt x="1721620" y="9695167"/>
                  <a:pt x="1521720" y="8652419"/>
                  <a:pt x="1400840" y="7212481"/>
                </a:cubicBezTo>
                <a:cubicBezTo>
                  <a:pt x="1322210" y="6296655"/>
                  <a:pt x="1306954" y="5602710"/>
                  <a:pt x="1355462" y="4960808"/>
                </a:cubicBezTo>
                <a:cubicBezTo>
                  <a:pt x="1394973" y="4423911"/>
                  <a:pt x="1482601" y="3891583"/>
                  <a:pt x="1567490" y="3372947"/>
                </a:cubicBezTo>
                <a:cubicBezTo>
                  <a:pt x="1607000" y="3128241"/>
                  <a:pt x="1649249" y="2871662"/>
                  <a:pt x="1685629" y="2617826"/>
                </a:cubicBezTo>
                <a:cubicBezTo>
                  <a:pt x="1809638" y="1754044"/>
                  <a:pt x="1873404" y="876566"/>
                  <a:pt x="1876533" y="0"/>
                </a:cubicBezTo>
                <a:lnTo>
                  <a:pt x="1864406" y="0"/>
                </a:lnTo>
                <a:cubicBezTo>
                  <a:pt x="1861276" y="876566"/>
                  <a:pt x="1797902" y="1754044"/>
                  <a:pt x="1673502" y="2617826"/>
                </a:cubicBezTo>
                <a:cubicBezTo>
                  <a:pt x="1637121" y="2866186"/>
                  <a:pt x="1594873" y="3123676"/>
                  <a:pt x="1555363" y="3368384"/>
                </a:cubicBezTo>
                <a:cubicBezTo>
                  <a:pt x="1470474" y="3887928"/>
                  <a:pt x="1382847" y="4420260"/>
                  <a:pt x="1343334" y="4960808"/>
                </a:cubicBezTo>
                <a:cubicBezTo>
                  <a:pt x="1319081" y="5281303"/>
                  <a:pt x="1309986" y="5615037"/>
                  <a:pt x="1316783" y="5983239"/>
                </a:cubicBezTo>
                <a:close/>
                <a:moveTo>
                  <a:pt x="1197424" y="5940738"/>
                </a:moveTo>
                <a:cubicBezTo>
                  <a:pt x="1202374" y="6346811"/>
                  <a:pt x="1227321" y="6793204"/>
                  <a:pt x="1273311" y="7308355"/>
                </a:cubicBezTo>
                <a:cubicBezTo>
                  <a:pt x="1400449" y="8752861"/>
                  <a:pt x="1603479" y="9795609"/>
                  <a:pt x="1930518" y="10689519"/>
                </a:cubicBezTo>
                <a:cubicBezTo>
                  <a:pt x="2015406" y="10915965"/>
                  <a:pt x="2112423" y="11143325"/>
                  <a:pt x="2215308" y="11356985"/>
                </a:cubicBezTo>
                <a:cubicBezTo>
                  <a:pt x="2336920" y="11608998"/>
                  <a:pt x="2474266" y="11855489"/>
                  <a:pt x="2626706" y="12095496"/>
                </a:cubicBezTo>
                <a:lnTo>
                  <a:pt x="2688496" y="12188825"/>
                </a:lnTo>
                <a:lnTo>
                  <a:pt x="2705295" y="12188825"/>
                </a:lnTo>
                <a:lnTo>
                  <a:pt x="2636193" y="12084548"/>
                </a:lnTo>
                <a:cubicBezTo>
                  <a:pt x="2484248" y="11845403"/>
                  <a:pt x="2347728" y="11599983"/>
                  <a:pt x="2227435" y="11349683"/>
                </a:cubicBezTo>
                <a:cubicBezTo>
                  <a:pt x="2121420" y="11136021"/>
                  <a:pt x="2027534" y="10908661"/>
                  <a:pt x="1942645" y="10682215"/>
                </a:cubicBezTo>
                <a:cubicBezTo>
                  <a:pt x="1615606" y="9787387"/>
                  <a:pt x="1412576" y="8749207"/>
                  <a:pt x="1285438" y="7305617"/>
                </a:cubicBezTo>
                <a:cubicBezTo>
                  <a:pt x="1203679" y="6393443"/>
                  <a:pt x="1188423" y="5695841"/>
                  <a:pt x="1233801" y="5053943"/>
                </a:cubicBezTo>
                <a:cubicBezTo>
                  <a:pt x="1273311" y="4512482"/>
                  <a:pt x="1357809" y="3971935"/>
                  <a:pt x="1442698" y="3452387"/>
                </a:cubicBezTo>
                <a:cubicBezTo>
                  <a:pt x="1482210" y="3207680"/>
                  <a:pt x="1521328" y="2954754"/>
                  <a:pt x="1557710" y="2701828"/>
                </a:cubicBezTo>
                <a:cubicBezTo>
                  <a:pt x="1684847" y="1811566"/>
                  <a:pt x="1745483" y="903959"/>
                  <a:pt x="1745483" y="915"/>
                </a:cubicBezTo>
                <a:lnTo>
                  <a:pt x="1733356" y="915"/>
                </a:lnTo>
                <a:cubicBezTo>
                  <a:pt x="1733356" y="903959"/>
                  <a:pt x="1669591" y="1807003"/>
                  <a:pt x="1545583" y="2697263"/>
                </a:cubicBezTo>
                <a:cubicBezTo>
                  <a:pt x="1509201" y="2950189"/>
                  <a:pt x="1469691" y="3203114"/>
                  <a:pt x="1430572" y="3447819"/>
                </a:cubicBezTo>
                <a:cubicBezTo>
                  <a:pt x="1345682" y="3967367"/>
                  <a:pt x="1260793" y="4507919"/>
                  <a:pt x="1221675" y="5053030"/>
                </a:cubicBezTo>
                <a:cubicBezTo>
                  <a:pt x="1210330" y="5213277"/>
                  <a:pt x="1202775" y="5377119"/>
                  <a:pt x="1199101" y="5547053"/>
                </a:cubicBezTo>
                <a:cubicBezTo>
                  <a:pt x="1196346" y="5674503"/>
                  <a:pt x="1195774" y="5805381"/>
                  <a:pt x="1197424" y="5940738"/>
                </a:cubicBezTo>
                <a:close/>
                <a:moveTo>
                  <a:pt x="1078828" y="6036519"/>
                </a:moveTo>
                <a:cubicBezTo>
                  <a:pt x="1084564" y="6444062"/>
                  <a:pt x="1110159" y="6890391"/>
                  <a:pt x="1157909" y="7406058"/>
                </a:cubicBezTo>
                <a:cubicBezTo>
                  <a:pt x="1291307" y="8850559"/>
                  <a:pt x="1497074" y="9893309"/>
                  <a:pt x="1830372" y="10787217"/>
                </a:cubicBezTo>
                <a:cubicBezTo>
                  <a:pt x="1915261" y="11013665"/>
                  <a:pt x="2012277" y="11241023"/>
                  <a:pt x="2115162" y="11454687"/>
                </a:cubicBezTo>
                <a:cubicBezTo>
                  <a:pt x="2196922" y="11621554"/>
                  <a:pt x="2285698" y="11786252"/>
                  <a:pt x="2381296" y="11948440"/>
                </a:cubicBezTo>
                <a:lnTo>
                  <a:pt x="2529188" y="12188825"/>
                </a:lnTo>
                <a:lnTo>
                  <a:pt x="2547321" y="12188825"/>
                </a:lnTo>
                <a:lnTo>
                  <a:pt x="2539574" y="12177213"/>
                </a:lnTo>
                <a:cubicBezTo>
                  <a:pt x="2386632" y="11938496"/>
                  <a:pt x="2248901" y="11694145"/>
                  <a:pt x="2127288" y="11445557"/>
                </a:cubicBezTo>
                <a:cubicBezTo>
                  <a:pt x="2021274" y="11231895"/>
                  <a:pt x="1927388" y="11004535"/>
                  <a:pt x="1842499" y="10778089"/>
                </a:cubicBezTo>
                <a:cubicBezTo>
                  <a:pt x="1509201" y="9883263"/>
                  <a:pt x="1303433" y="8840517"/>
                  <a:pt x="1170035" y="7401491"/>
                </a:cubicBezTo>
                <a:cubicBezTo>
                  <a:pt x="1088277" y="6489317"/>
                  <a:pt x="1069890" y="5791717"/>
                  <a:pt x="1112530" y="5146165"/>
                </a:cubicBezTo>
                <a:cubicBezTo>
                  <a:pt x="1152042" y="4596487"/>
                  <a:pt x="1236539" y="4055025"/>
                  <a:pt x="1318690" y="3527258"/>
                </a:cubicBezTo>
                <a:cubicBezTo>
                  <a:pt x="1358200" y="3282552"/>
                  <a:pt x="1394582" y="3034192"/>
                  <a:pt x="1430572" y="2785833"/>
                </a:cubicBezTo>
                <a:cubicBezTo>
                  <a:pt x="1557710" y="1865440"/>
                  <a:pt x="1618344" y="931350"/>
                  <a:pt x="1612477" y="1828"/>
                </a:cubicBezTo>
                <a:lnTo>
                  <a:pt x="1600350" y="1828"/>
                </a:lnTo>
                <a:cubicBezTo>
                  <a:pt x="1606218" y="931350"/>
                  <a:pt x="1545974" y="1860874"/>
                  <a:pt x="1418445" y="2781267"/>
                </a:cubicBezTo>
                <a:cubicBezTo>
                  <a:pt x="1382064" y="3029627"/>
                  <a:pt x="1342552" y="3278900"/>
                  <a:pt x="1306563" y="3522695"/>
                </a:cubicBezTo>
                <a:cubicBezTo>
                  <a:pt x="1224804" y="4050457"/>
                  <a:pt x="1136784" y="4595574"/>
                  <a:pt x="1100403" y="5141598"/>
                </a:cubicBezTo>
                <a:cubicBezTo>
                  <a:pt x="1089841" y="5304128"/>
                  <a:pt x="1082848" y="5469626"/>
                  <a:pt x="1079627" y="5640773"/>
                </a:cubicBezTo>
                <a:cubicBezTo>
                  <a:pt x="1077211" y="5769133"/>
                  <a:pt x="1076916" y="5900671"/>
                  <a:pt x="1078828" y="6036519"/>
                </a:cubicBezTo>
                <a:close/>
                <a:moveTo>
                  <a:pt x="959287" y="5865907"/>
                </a:moveTo>
                <a:cubicBezTo>
                  <a:pt x="957471" y="6488917"/>
                  <a:pt x="1004562" y="7073921"/>
                  <a:pt x="1043290" y="7499191"/>
                </a:cubicBezTo>
                <a:cubicBezTo>
                  <a:pt x="1182554" y="8943695"/>
                  <a:pt x="1391453" y="9986441"/>
                  <a:pt x="1727879" y="10884919"/>
                </a:cubicBezTo>
                <a:cubicBezTo>
                  <a:pt x="1815897" y="11111365"/>
                  <a:pt x="1912523" y="11338725"/>
                  <a:pt x="2018536" y="11552387"/>
                </a:cubicBezTo>
                <a:cubicBezTo>
                  <a:pt x="2100296" y="11718113"/>
                  <a:pt x="2189073" y="11881669"/>
                  <a:pt x="2284769" y="12042929"/>
                </a:cubicBezTo>
                <a:lnTo>
                  <a:pt x="2375119" y="12188825"/>
                </a:lnTo>
                <a:lnTo>
                  <a:pt x="2392293" y="12188825"/>
                </a:lnTo>
                <a:lnTo>
                  <a:pt x="2293718" y="12030174"/>
                </a:lnTo>
                <a:cubicBezTo>
                  <a:pt x="2198071" y="11869628"/>
                  <a:pt x="2109294" y="11706927"/>
                  <a:pt x="2027534" y="11542343"/>
                </a:cubicBezTo>
                <a:cubicBezTo>
                  <a:pt x="1921520" y="11328679"/>
                  <a:pt x="1824504" y="11101323"/>
                  <a:pt x="1739615" y="10874877"/>
                </a:cubicBezTo>
                <a:cubicBezTo>
                  <a:pt x="1403580" y="9980053"/>
                  <a:pt x="1194291" y="8937305"/>
                  <a:pt x="1058154" y="7498278"/>
                </a:cubicBezTo>
                <a:cubicBezTo>
                  <a:pt x="970136" y="6595236"/>
                  <a:pt x="952141" y="5879376"/>
                  <a:pt x="991652" y="5238385"/>
                </a:cubicBezTo>
                <a:cubicBezTo>
                  <a:pt x="1028033" y="4684142"/>
                  <a:pt x="1112922" y="4134464"/>
                  <a:pt x="1194681" y="3602132"/>
                </a:cubicBezTo>
                <a:cubicBezTo>
                  <a:pt x="1231062" y="3361992"/>
                  <a:pt x="1270574" y="3113632"/>
                  <a:pt x="1303825" y="2868924"/>
                </a:cubicBezTo>
                <a:cubicBezTo>
                  <a:pt x="1430963" y="1917486"/>
                  <a:pt x="1491597" y="957830"/>
                  <a:pt x="1482601" y="2740"/>
                </a:cubicBezTo>
                <a:lnTo>
                  <a:pt x="1470474" y="2740"/>
                </a:lnTo>
                <a:cubicBezTo>
                  <a:pt x="1479471" y="957830"/>
                  <a:pt x="1418836" y="1918399"/>
                  <a:pt x="1288567" y="2865272"/>
                </a:cubicBezTo>
                <a:cubicBezTo>
                  <a:pt x="1255317" y="3109979"/>
                  <a:pt x="1218935" y="3358338"/>
                  <a:pt x="1182554" y="3598481"/>
                </a:cubicBezTo>
                <a:cubicBezTo>
                  <a:pt x="1100795" y="4130810"/>
                  <a:pt x="1015905" y="4680490"/>
                  <a:pt x="979525" y="5234734"/>
                </a:cubicBezTo>
                <a:cubicBezTo>
                  <a:pt x="965931" y="5446343"/>
                  <a:pt x="959892" y="5658236"/>
                  <a:pt x="959287" y="5865907"/>
                </a:cubicBezTo>
                <a:close/>
                <a:moveTo>
                  <a:pt x="840186" y="5825530"/>
                </a:moveTo>
                <a:cubicBezTo>
                  <a:pt x="834464" y="6343678"/>
                  <a:pt x="864611" y="6919607"/>
                  <a:pt x="930625" y="7594154"/>
                </a:cubicBezTo>
                <a:cubicBezTo>
                  <a:pt x="1018644" y="8488979"/>
                  <a:pt x="1184901" y="9814781"/>
                  <a:pt x="1627342" y="10979883"/>
                </a:cubicBezTo>
                <a:cubicBezTo>
                  <a:pt x="1712231" y="11206327"/>
                  <a:pt x="1811985" y="11433687"/>
                  <a:pt x="1917999" y="11647349"/>
                </a:cubicBezTo>
                <a:cubicBezTo>
                  <a:pt x="2001324" y="11814216"/>
                  <a:pt x="2090687" y="11977544"/>
                  <a:pt x="2186524" y="12137948"/>
                </a:cubicBezTo>
                <a:lnTo>
                  <a:pt x="2218239" y="12188825"/>
                </a:lnTo>
                <a:lnTo>
                  <a:pt x="2235959" y="12188825"/>
                </a:lnTo>
                <a:lnTo>
                  <a:pt x="2196903" y="12126177"/>
                </a:lnTo>
                <a:cubicBezTo>
                  <a:pt x="2101470" y="11966415"/>
                  <a:pt x="2012669" y="11803943"/>
                  <a:pt x="1930127" y="11638217"/>
                </a:cubicBezTo>
                <a:cubicBezTo>
                  <a:pt x="1820982" y="11424555"/>
                  <a:pt x="1723967" y="11197195"/>
                  <a:pt x="1636339" y="10970751"/>
                </a:cubicBezTo>
                <a:cubicBezTo>
                  <a:pt x="1197029" y="9810215"/>
                  <a:pt x="1030380" y="8483499"/>
                  <a:pt x="942752" y="7589586"/>
                </a:cubicBezTo>
                <a:cubicBezTo>
                  <a:pt x="854733" y="6691109"/>
                  <a:pt x="833609" y="5970683"/>
                  <a:pt x="873120" y="5325130"/>
                </a:cubicBezTo>
                <a:cubicBezTo>
                  <a:pt x="906372" y="4770887"/>
                  <a:pt x="988130" y="4212990"/>
                  <a:pt x="1069890" y="3676093"/>
                </a:cubicBezTo>
                <a:cubicBezTo>
                  <a:pt x="1106272" y="3440515"/>
                  <a:pt x="1142652" y="3192156"/>
                  <a:pt x="1172775" y="2947449"/>
                </a:cubicBezTo>
                <a:cubicBezTo>
                  <a:pt x="1303042" y="1970445"/>
                  <a:pt x="1360548" y="984309"/>
                  <a:pt x="1351550" y="2740"/>
                </a:cubicBezTo>
                <a:lnTo>
                  <a:pt x="1336294" y="2740"/>
                </a:lnTo>
                <a:cubicBezTo>
                  <a:pt x="1348421" y="984309"/>
                  <a:pt x="1290916" y="1970445"/>
                  <a:pt x="1160646" y="2947449"/>
                </a:cubicBezTo>
                <a:cubicBezTo>
                  <a:pt x="1130526" y="3192156"/>
                  <a:pt x="1091016" y="3435952"/>
                  <a:pt x="1057764" y="3671527"/>
                </a:cubicBezTo>
                <a:cubicBezTo>
                  <a:pt x="976004" y="4212990"/>
                  <a:pt x="894245" y="4766320"/>
                  <a:pt x="857863" y="5325130"/>
                </a:cubicBezTo>
                <a:cubicBezTo>
                  <a:pt x="847985" y="5486519"/>
                  <a:pt x="842093" y="5652814"/>
                  <a:pt x="840186" y="5825530"/>
                </a:cubicBezTo>
                <a:close/>
                <a:moveTo>
                  <a:pt x="722094" y="5919464"/>
                </a:moveTo>
                <a:cubicBezTo>
                  <a:pt x="716520" y="6439497"/>
                  <a:pt x="747253" y="7015256"/>
                  <a:pt x="815614" y="7689116"/>
                </a:cubicBezTo>
                <a:cubicBezTo>
                  <a:pt x="958009" y="9111705"/>
                  <a:pt x="1185292" y="10189147"/>
                  <a:pt x="1524458" y="11074841"/>
                </a:cubicBezTo>
                <a:cubicBezTo>
                  <a:pt x="1612477" y="11301289"/>
                  <a:pt x="1712231" y="11528647"/>
                  <a:pt x="1821373" y="11742309"/>
                </a:cubicBezTo>
                <a:cubicBezTo>
                  <a:pt x="1862644" y="11825172"/>
                  <a:pt x="1905572" y="11907221"/>
                  <a:pt x="1950186" y="11988534"/>
                </a:cubicBezTo>
                <a:lnTo>
                  <a:pt x="2065263" y="12188825"/>
                </a:lnTo>
                <a:lnTo>
                  <a:pt x="2081369" y="12188825"/>
                </a:lnTo>
                <a:lnTo>
                  <a:pt x="1959970" y="11978801"/>
                </a:lnTo>
                <a:cubicBezTo>
                  <a:pt x="1915212" y="11897933"/>
                  <a:pt x="1872034" y="11816383"/>
                  <a:pt x="1830372" y="11734091"/>
                </a:cubicBezTo>
                <a:cubicBezTo>
                  <a:pt x="1721229" y="11520429"/>
                  <a:pt x="1624212" y="11293069"/>
                  <a:pt x="1536586" y="11066623"/>
                </a:cubicBezTo>
                <a:cubicBezTo>
                  <a:pt x="1197419" y="10180929"/>
                  <a:pt x="973265" y="9108051"/>
                  <a:pt x="827740" y="7685460"/>
                </a:cubicBezTo>
                <a:cubicBezTo>
                  <a:pt x="739722" y="6786983"/>
                  <a:pt x="712731" y="6066558"/>
                  <a:pt x="751848" y="5416439"/>
                </a:cubicBezTo>
                <a:cubicBezTo>
                  <a:pt x="785100" y="4853977"/>
                  <a:pt x="866861" y="4295169"/>
                  <a:pt x="945882" y="3750052"/>
                </a:cubicBezTo>
                <a:cubicBezTo>
                  <a:pt x="979134" y="3514476"/>
                  <a:pt x="1015514" y="3274335"/>
                  <a:pt x="1046028" y="3030539"/>
                </a:cubicBezTo>
                <a:cubicBezTo>
                  <a:pt x="1176295" y="2027056"/>
                  <a:pt x="1233801" y="1010789"/>
                  <a:pt x="1218545" y="2740"/>
                </a:cubicBezTo>
                <a:lnTo>
                  <a:pt x="1206418" y="2740"/>
                </a:lnTo>
                <a:cubicBezTo>
                  <a:pt x="1221675" y="1006224"/>
                  <a:pt x="1164168" y="2022491"/>
                  <a:pt x="1033901" y="3025976"/>
                </a:cubicBezTo>
                <a:cubicBezTo>
                  <a:pt x="1003777" y="3270683"/>
                  <a:pt x="967398" y="3514476"/>
                  <a:pt x="933753" y="3750052"/>
                </a:cubicBezTo>
                <a:cubicBezTo>
                  <a:pt x="851995" y="4291514"/>
                  <a:pt x="770235" y="4853977"/>
                  <a:pt x="739722" y="5416439"/>
                </a:cubicBezTo>
                <a:cubicBezTo>
                  <a:pt x="729844" y="5578969"/>
                  <a:pt x="723952" y="5746120"/>
                  <a:pt x="722094" y="5919464"/>
                </a:cubicBezTo>
                <a:close/>
                <a:moveTo>
                  <a:pt x="603508" y="6013313"/>
                </a:moveTo>
                <a:cubicBezTo>
                  <a:pt x="600115" y="6537196"/>
                  <a:pt x="632535" y="7112954"/>
                  <a:pt x="700603" y="7786812"/>
                </a:cubicBezTo>
                <a:cubicBezTo>
                  <a:pt x="848865" y="9209407"/>
                  <a:pt x="1079279" y="10286849"/>
                  <a:pt x="1424703" y="11172543"/>
                </a:cubicBezTo>
                <a:cubicBezTo>
                  <a:pt x="1512722" y="11398989"/>
                  <a:pt x="1612477" y="11626349"/>
                  <a:pt x="1721620" y="11840011"/>
                </a:cubicBezTo>
                <a:cubicBezTo>
                  <a:pt x="1763282" y="11922417"/>
                  <a:pt x="1806552" y="12003995"/>
                  <a:pt x="1851477" y="12084841"/>
                </a:cubicBezTo>
                <a:lnTo>
                  <a:pt x="1911933" y="12188825"/>
                </a:lnTo>
                <a:lnTo>
                  <a:pt x="1927592" y="12188825"/>
                </a:lnTo>
                <a:lnTo>
                  <a:pt x="1860469" y="12073940"/>
                </a:lnTo>
                <a:cubicBezTo>
                  <a:pt x="1815550" y="11993594"/>
                  <a:pt x="1772280" y="11912600"/>
                  <a:pt x="1730618" y="11830879"/>
                </a:cubicBezTo>
                <a:cubicBezTo>
                  <a:pt x="1621474" y="11617215"/>
                  <a:pt x="1521720" y="11389857"/>
                  <a:pt x="1433702" y="11163411"/>
                </a:cubicBezTo>
                <a:cubicBezTo>
                  <a:pt x="1091406" y="10277717"/>
                  <a:pt x="861384" y="9204839"/>
                  <a:pt x="715859" y="7782246"/>
                </a:cubicBezTo>
                <a:cubicBezTo>
                  <a:pt x="621973" y="6883770"/>
                  <a:pt x="594590" y="6163343"/>
                  <a:pt x="630971" y="5509573"/>
                </a:cubicBezTo>
                <a:cubicBezTo>
                  <a:pt x="661092" y="4942545"/>
                  <a:pt x="742852" y="4375518"/>
                  <a:pt x="821873" y="3829491"/>
                </a:cubicBezTo>
                <a:cubicBezTo>
                  <a:pt x="855124" y="3593913"/>
                  <a:pt x="888377" y="3353773"/>
                  <a:pt x="918889" y="3113632"/>
                </a:cubicBezTo>
                <a:cubicBezTo>
                  <a:pt x="1049158" y="2080017"/>
                  <a:pt x="1106663" y="1037269"/>
                  <a:pt x="1088668" y="2740"/>
                </a:cubicBezTo>
                <a:lnTo>
                  <a:pt x="1073411" y="2740"/>
                </a:lnTo>
                <a:cubicBezTo>
                  <a:pt x="1091406" y="1032702"/>
                  <a:pt x="1037031" y="2075449"/>
                  <a:pt x="906763" y="3109066"/>
                </a:cubicBezTo>
                <a:cubicBezTo>
                  <a:pt x="876640" y="3349208"/>
                  <a:pt x="840259" y="3589348"/>
                  <a:pt x="806616" y="3824928"/>
                </a:cubicBezTo>
                <a:cubicBezTo>
                  <a:pt x="730725" y="4370039"/>
                  <a:pt x="648966" y="4937067"/>
                  <a:pt x="618843" y="5505008"/>
                </a:cubicBezTo>
                <a:cubicBezTo>
                  <a:pt x="609748" y="5669820"/>
                  <a:pt x="604638" y="5838685"/>
                  <a:pt x="603508" y="6013313"/>
                </a:cubicBezTo>
                <a:close/>
                <a:moveTo>
                  <a:pt x="484138" y="6104622"/>
                </a:moveTo>
                <a:cubicBezTo>
                  <a:pt x="482341" y="6628504"/>
                  <a:pt x="515862" y="7204265"/>
                  <a:pt x="588330" y="7878123"/>
                </a:cubicBezTo>
                <a:cubicBezTo>
                  <a:pt x="739722" y="9304365"/>
                  <a:pt x="972874" y="10378157"/>
                  <a:pt x="1321429" y="11268417"/>
                </a:cubicBezTo>
                <a:cubicBezTo>
                  <a:pt x="1412186" y="11499429"/>
                  <a:pt x="1512330" y="11722223"/>
                  <a:pt x="1621474" y="11935885"/>
                </a:cubicBezTo>
                <a:cubicBezTo>
                  <a:pt x="1663479" y="12017150"/>
                  <a:pt x="1707048" y="12097801"/>
                  <a:pt x="1752247" y="12177898"/>
                </a:cubicBezTo>
                <a:lnTo>
                  <a:pt x="1758681" y="12188825"/>
                </a:lnTo>
                <a:lnTo>
                  <a:pt x="1777889" y="12188825"/>
                </a:lnTo>
                <a:lnTo>
                  <a:pt x="1763464" y="12164202"/>
                </a:lnTo>
                <a:cubicBezTo>
                  <a:pt x="1718533" y="12084105"/>
                  <a:pt x="1675263" y="12003454"/>
                  <a:pt x="1633601" y="11922189"/>
                </a:cubicBezTo>
                <a:cubicBezTo>
                  <a:pt x="1524458" y="11713091"/>
                  <a:pt x="1421575" y="11485733"/>
                  <a:pt x="1333556" y="11259285"/>
                </a:cubicBezTo>
                <a:cubicBezTo>
                  <a:pt x="985392" y="10373591"/>
                  <a:pt x="751848" y="9296147"/>
                  <a:pt x="600457" y="7878123"/>
                </a:cubicBezTo>
                <a:cubicBezTo>
                  <a:pt x="506570" y="6979644"/>
                  <a:pt x="476448" y="6254652"/>
                  <a:pt x="509699" y="5600881"/>
                </a:cubicBezTo>
                <a:cubicBezTo>
                  <a:pt x="539823" y="5024723"/>
                  <a:pt x="618843" y="4453129"/>
                  <a:pt x="694343" y="3898887"/>
                </a:cubicBezTo>
                <a:cubicBezTo>
                  <a:pt x="727595" y="3672440"/>
                  <a:pt x="760848" y="3432300"/>
                  <a:pt x="791360" y="3196721"/>
                </a:cubicBezTo>
                <a:cubicBezTo>
                  <a:pt x="921627" y="2132061"/>
                  <a:pt x="976004" y="1059182"/>
                  <a:pt x="954878" y="2740"/>
                </a:cubicBezTo>
                <a:lnTo>
                  <a:pt x="942752" y="2740"/>
                </a:lnTo>
                <a:cubicBezTo>
                  <a:pt x="963876" y="1058270"/>
                  <a:pt x="909500" y="2127499"/>
                  <a:pt x="776104" y="3192156"/>
                </a:cubicBezTo>
                <a:cubicBezTo>
                  <a:pt x="748719" y="3427732"/>
                  <a:pt x="715468" y="3667874"/>
                  <a:pt x="682216" y="3898887"/>
                </a:cubicBezTo>
                <a:cubicBezTo>
                  <a:pt x="606326" y="4448566"/>
                  <a:pt x="527695" y="5024723"/>
                  <a:pt x="497572" y="5596316"/>
                </a:cubicBezTo>
                <a:cubicBezTo>
                  <a:pt x="489260" y="5761128"/>
                  <a:pt x="484737" y="5929993"/>
                  <a:pt x="484138" y="6104622"/>
                </a:cubicBezTo>
                <a:close/>
                <a:moveTo>
                  <a:pt x="365502" y="6198056"/>
                </a:moveTo>
                <a:cubicBezTo>
                  <a:pt x="365814" y="6723525"/>
                  <a:pt x="400948" y="7299453"/>
                  <a:pt x="473711" y="7973996"/>
                </a:cubicBezTo>
                <a:cubicBezTo>
                  <a:pt x="631362" y="9396587"/>
                  <a:pt x="867643" y="10474031"/>
                  <a:pt x="1218935" y="11364293"/>
                </a:cubicBezTo>
                <a:cubicBezTo>
                  <a:pt x="1309693" y="11595303"/>
                  <a:pt x="1412967" y="11818095"/>
                  <a:pt x="1524850" y="12031759"/>
                </a:cubicBezTo>
                <a:lnTo>
                  <a:pt x="1609825" y="12188825"/>
                </a:lnTo>
                <a:lnTo>
                  <a:pt x="1626613" y="12188825"/>
                </a:lnTo>
                <a:lnTo>
                  <a:pt x="1533847" y="12017149"/>
                </a:lnTo>
                <a:cubicBezTo>
                  <a:pt x="1424703" y="11808053"/>
                  <a:pt x="1321820" y="11580693"/>
                  <a:pt x="1231062" y="11354247"/>
                </a:cubicBezTo>
                <a:cubicBezTo>
                  <a:pt x="879771" y="10468553"/>
                  <a:pt x="643489" y="9391111"/>
                  <a:pt x="485837" y="7968518"/>
                </a:cubicBezTo>
                <a:cubicBezTo>
                  <a:pt x="388820" y="7073693"/>
                  <a:pt x="358699" y="6349614"/>
                  <a:pt x="388820" y="5686713"/>
                </a:cubicBezTo>
                <a:cubicBezTo>
                  <a:pt x="418943" y="5110553"/>
                  <a:pt x="494835" y="4530744"/>
                  <a:pt x="570726" y="3971935"/>
                </a:cubicBezTo>
                <a:cubicBezTo>
                  <a:pt x="603977" y="3745489"/>
                  <a:pt x="634491" y="3509911"/>
                  <a:pt x="661483" y="3277986"/>
                </a:cubicBezTo>
                <a:cubicBezTo>
                  <a:pt x="794881" y="2183195"/>
                  <a:pt x="849256" y="1083837"/>
                  <a:pt x="821873" y="1828"/>
                </a:cubicBezTo>
                <a:lnTo>
                  <a:pt x="809747" y="1828"/>
                </a:lnTo>
                <a:cubicBezTo>
                  <a:pt x="834000" y="1083837"/>
                  <a:pt x="782362" y="2178629"/>
                  <a:pt x="649356" y="3274335"/>
                </a:cubicBezTo>
                <a:cubicBezTo>
                  <a:pt x="621973" y="3505345"/>
                  <a:pt x="588721" y="3740924"/>
                  <a:pt x="558599" y="3968280"/>
                </a:cubicBezTo>
                <a:cubicBezTo>
                  <a:pt x="482708" y="4530744"/>
                  <a:pt x="404079" y="5106902"/>
                  <a:pt x="376694" y="5687625"/>
                </a:cubicBezTo>
                <a:cubicBezTo>
                  <a:pt x="369163" y="5853352"/>
                  <a:pt x="365398" y="6022901"/>
                  <a:pt x="365502" y="6198056"/>
                </a:cubicBezTo>
                <a:close/>
                <a:moveTo>
                  <a:pt x="246359" y="6291090"/>
                </a:moveTo>
                <a:cubicBezTo>
                  <a:pt x="248211" y="6818483"/>
                  <a:pt x="284666" y="7394413"/>
                  <a:pt x="361829" y="8068958"/>
                </a:cubicBezTo>
                <a:cubicBezTo>
                  <a:pt x="519480" y="9491549"/>
                  <a:pt x="761629" y="10568991"/>
                  <a:pt x="1119180" y="11459251"/>
                </a:cubicBezTo>
                <a:cubicBezTo>
                  <a:pt x="1209939" y="11690263"/>
                  <a:pt x="1313214" y="11913055"/>
                  <a:pt x="1425096" y="12126717"/>
                </a:cubicBezTo>
                <a:lnTo>
                  <a:pt x="1459172" y="12188825"/>
                </a:lnTo>
                <a:lnTo>
                  <a:pt x="1475636" y="12188825"/>
                </a:lnTo>
                <a:lnTo>
                  <a:pt x="1434092" y="12113023"/>
                </a:lnTo>
                <a:cubicBezTo>
                  <a:pt x="1324949" y="11903927"/>
                  <a:pt x="1222066" y="11676567"/>
                  <a:pt x="1131307" y="11450123"/>
                </a:cubicBezTo>
                <a:cubicBezTo>
                  <a:pt x="773756" y="10559861"/>
                  <a:pt x="531607" y="9486985"/>
                  <a:pt x="373956" y="8064394"/>
                </a:cubicBezTo>
                <a:cubicBezTo>
                  <a:pt x="273809" y="7169564"/>
                  <a:pt x="240557" y="6445487"/>
                  <a:pt x="271072" y="5778021"/>
                </a:cubicBezTo>
                <a:cubicBezTo>
                  <a:pt x="295325" y="5193645"/>
                  <a:pt x="373956" y="4608355"/>
                  <a:pt x="446717" y="4045894"/>
                </a:cubicBezTo>
                <a:cubicBezTo>
                  <a:pt x="476839" y="3819448"/>
                  <a:pt x="507352" y="3587524"/>
                  <a:pt x="534736" y="3356513"/>
                </a:cubicBezTo>
                <a:cubicBezTo>
                  <a:pt x="668133" y="2235241"/>
                  <a:pt x="719380" y="1109403"/>
                  <a:pt x="692388" y="1828"/>
                </a:cubicBezTo>
                <a:lnTo>
                  <a:pt x="677130" y="1828"/>
                </a:lnTo>
                <a:cubicBezTo>
                  <a:pt x="707253" y="1105750"/>
                  <a:pt x="656007" y="2231589"/>
                  <a:pt x="522609" y="3356513"/>
                </a:cubicBezTo>
                <a:cubicBezTo>
                  <a:pt x="495226" y="3582959"/>
                  <a:pt x="465103" y="3818535"/>
                  <a:pt x="434590" y="4041328"/>
                </a:cubicBezTo>
                <a:cubicBezTo>
                  <a:pt x="361829" y="4608355"/>
                  <a:pt x="283198" y="5192732"/>
                  <a:pt x="255815" y="5778021"/>
                </a:cubicBezTo>
                <a:cubicBezTo>
                  <a:pt x="248969" y="5944887"/>
                  <a:pt x="245742" y="6115293"/>
                  <a:pt x="246359" y="6291090"/>
                </a:cubicBezTo>
                <a:close/>
                <a:moveTo>
                  <a:pt x="126714" y="6383042"/>
                </a:moveTo>
                <a:cubicBezTo>
                  <a:pt x="128970" y="6911506"/>
                  <a:pt x="168578" y="7489148"/>
                  <a:pt x="246035" y="8160267"/>
                </a:cubicBezTo>
                <a:cubicBezTo>
                  <a:pt x="409553" y="9586509"/>
                  <a:pt x="654833" y="10664867"/>
                  <a:pt x="1015514" y="11554213"/>
                </a:cubicBezTo>
                <a:cubicBezTo>
                  <a:pt x="1062458" y="11669718"/>
                  <a:pt x="1111651" y="11783169"/>
                  <a:pt x="1163142" y="11894453"/>
                </a:cubicBezTo>
                <a:lnTo>
                  <a:pt x="1308351" y="12188825"/>
                </a:lnTo>
                <a:lnTo>
                  <a:pt x="1326652" y="12188825"/>
                </a:lnTo>
                <a:lnTo>
                  <a:pt x="1174242" y="11883952"/>
                </a:lnTo>
                <a:cubicBezTo>
                  <a:pt x="1122311" y="11772670"/>
                  <a:pt x="1073020" y="11659219"/>
                  <a:pt x="1027641" y="11545997"/>
                </a:cubicBezTo>
                <a:cubicBezTo>
                  <a:pt x="667351" y="10655735"/>
                  <a:pt x="421682" y="9578293"/>
                  <a:pt x="258162" y="8160267"/>
                </a:cubicBezTo>
                <a:cubicBezTo>
                  <a:pt x="155278" y="7265443"/>
                  <a:pt x="122026" y="6536798"/>
                  <a:pt x="149019" y="5869330"/>
                </a:cubicBezTo>
                <a:cubicBezTo>
                  <a:pt x="173273" y="5280389"/>
                  <a:pt x="249165" y="4686883"/>
                  <a:pt x="321534" y="4119855"/>
                </a:cubicBezTo>
                <a:cubicBezTo>
                  <a:pt x="348919" y="3897059"/>
                  <a:pt x="379042" y="3666049"/>
                  <a:pt x="406424" y="3439603"/>
                </a:cubicBezTo>
                <a:cubicBezTo>
                  <a:pt x="539823" y="2288202"/>
                  <a:pt x="588330" y="1131316"/>
                  <a:pt x="557818" y="1828"/>
                </a:cubicBezTo>
                <a:lnTo>
                  <a:pt x="545691" y="1828"/>
                </a:lnTo>
                <a:cubicBezTo>
                  <a:pt x="575811" y="1132231"/>
                  <a:pt x="524565" y="2283634"/>
                  <a:pt x="394297" y="3435039"/>
                </a:cubicBezTo>
                <a:cubicBezTo>
                  <a:pt x="366915" y="3661484"/>
                  <a:pt x="336792" y="3893408"/>
                  <a:pt x="309407" y="4115287"/>
                </a:cubicBezTo>
                <a:cubicBezTo>
                  <a:pt x="236646" y="4686883"/>
                  <a:pt x="161146" y="5275824"/>
                  <a:pt x="136890" y="5869330"/>
                </a:cubicBezTo>
                <a:cubicBezTo>
                  <a:pt x="129360" y="6036197"/>
                  <a:pt x="125962" y="6206888"/>
                  <a:pt x="126714" y="6383042"/>
                </a:cubicBezTo>
                <a:close/>
                <a:moveTo>
                  <a:pt x="7913" y="6475962"/>
                </a:moveTo>
                <a:cubicBezTo>
                  <a:pt x="11562" y="7008234"/>
                  <a:pt x="51905" y="7585706"/>
                  <a:pt x="131415" y="8256141"/>
                </a:cubicBezTo>
                <a:cubicBezTo>
                  <a:pt x="301194" y="9678731"/>
                  <a:pt x="549602" y="10760741"/>
                  <a:pt x="915760" y="11650087"/>
                </a:cubicBezTo>
                <a:cubicBezTo>
                  <a:pt x="962703" y="11765593"/>
                  <a:pt x="1011896" y="11879044"/>
                  <a:pt x="1063778" y="11990327"/>
                </a:cubicBezTo>
                <a:lnTo>
                  <a:pt x="1163355" y="12188825"/>
                </a:lnTo>
                <a:lnTo>
                  <a:pt x="1179133" y="12188825"/>
                </a:lnTo>
                <a:lnTo>
                  <a:pt x="1074096" y="11978115"/>
                </a:lnTo>
                <a:cubicBezTo>
                  <a:pt x="1021774" y="11867404"/>
                  <a:pt x="971701" y="11755094"/>
                  <a:pt x="924758" y="11641871"/>
                </a:cubicBezTo>
                <a:cubicBezTo>
                  <a:pt x="561338" y="10751611"/>
                  <a:pt x="312930" y="9674167"/>
                  <a:pt x="143150" y="8256141"/>
                </a:cubicBezTo>
                <a:cubicBezTo>
                  <a:pt x="40267" y="7361314"/>
                  <a:pt x="3886" y="6632672"/>
                  <a:pt x="28140" y="5961553"/>
                </a:cubicBezTo>
                <a:cubicBezTo>
                  <a:pt x="52394" y="5363480"/>
                  <a:pt x="125155" y="4766320"/>
                  <a:pt x="197919" y="4190161"/>
                </a:cubicBezTo>
                <a:cubicBezTo>
                  <a:pt x="225302" y="3971935"/>
                  <a:pt x="252295" y="3745489"/>
                  <a:pt x="279678" y="3522695"/>
                </a:cubicBezTo>
                <a:cubicBezTo>
                  <a:pt x="409947" y="2340246"/>
                  <a:pt x="461583" y="1157796"/>
                  <a:pt x="425203" y="1828"/>
                </a:cubicBezTo>
                <a:lnTo>
                  <a:pt x="413074" y="1828"/>
                </a:lnTo>
                <a:cubicBezTo>
                  <a:pt x="446326" y="1153231"/>
                  <a:pt x="397818" y="2335680"/>
                  <a:pt x="264813" y="3518129"/>
                </a:cubicBezTo>
                <a:cubicBezTo>
                  <a:pt x="240557" y="3740924"/>
                  <a:pt x="213175" y="3967367"/>
                  <a:pt x="186181" y="4190161"/>
                </a:cubicBezTo>
                <a:cubicBezTo>
                  <a:pt x="113420" y="4766320"/>
                  <a:pt x="37919" y="5359827"/>
                  <a:pt x="16403" y="5956988"/>
                </a:cubicBezTo>
                <a:cubicBezTo>
                  <a:pt x="9557" y="6126137"/>
                  <a:pt x="6696" y="6298539"/>
                  <a:pt x="7913" y="6475962"/>
                </a:cubicBezTo>
                <a:close/>
                <a:moveTo>
                  <a:pt x="0" y="12143747"/>
                </a:moveTo>
                <a:lnTo>
                  <a:pt x="0" y="12180859"/>
                </a:lnTo>
                <a:lnTo>
                  <a:pt x="3313" y="12188825"/>
                </a:lnTo>
                <a:lnTo>
                  <a:pt x="18829" y="12188825"/>
                </a:lnTo>
                <a:close/>
                <a:moveTo>
                  <a:pt x="0" y="11770999"/>
                </a:moveTo>
                <a:lnTo>
                  <a:pt x="0" y="11814171"/>
                </a:lnTo>
                <a:lnTo>
                  <a:pt x="60618" y="11981565"/>
                </a:lnTo>
                <a:lnTo>
                  <a:pt x="146370" y="12188825"/>
                </a:lnTo>
                <a:lnTo>
                  <a:pt x="162634" y="12188825"/>
                </a:lnTo>
                <a:lnTo>
                  <a:pt x="73136" y="11972637"/>
                </a:lnTo>
                <a:close/>
                <a:moveTo>
                  <a:pt x="0" y="11369071"/>
                </a:moveTo>
                <a:lnTo>
                  <a:pt x="0" y="11418249"/>
                </a:lnTo>
                <a:lnTo>
                  <a:pt x="32033" y="11521001"/>
                </a:lnTo>
                <a:cubicBezTo>
                  <a:pt x="73790" y="11646008"/>
                  <a:pt x="117242" y="11767535"/>
                  <a:pt x="162467" y="11885886"/>
                </a:cubicBezTo>
                <a:lnTo>
                  <a:pt x="286040" y="12188825"/>
                </a:lnTo>
                <a:lnTo>
                  <a:pt x="302282" y="12188825"/>
                </a:lnTo>
                <a:lnTo>
                  <a:pt x="174974" y="11876763"/>
                </a:lnTo>
                <a:cubicBezTo>
                  <a:pt x="129745" y="11758420"/>
                  <a:pt x="86290" y="11636912"/>
                  <a:pt x="44539" y="11511941"/>
                </a:cubicBezTo>
                <a:close/>
                <a:moveTo>
                  <a:pt x="0" y="10915801"/>
                </a:moveTo>
                <a:lnTo>
                  <a:pt x="0" y="10968869"/>
                </a:lnTo>
                <a:lnTo>
                  <a:pt x="18605" y="11038443"/>
                </a:lnTo>
                <a:cubicBezTo>
                  <a:pt x="132674" y="11435271"/>
                  <a:pt x="261438" y="11798011"/>
                  <a:pt x="406816" y="12134939"/>
                </a:cubicBezTo>
                <a:lnTo>
                  <a:pt x="431731" y="12188825"/>
                </a:lnTo>
                <a:lnTo>
                  <a:pt x="447977" y="12188825"/>
                </a:lnTo>
                <a:lnTo>
                  <a:pt x="418943" y="12125805"/>
                </a:lnTo>
                <a:cubicBezTo>
                  <a:pt x="273565" y="11788877"/>
                  <a:pt x="144801" y="11426651"/>
                  <a:pt x="30732" y="11030513"/>
                </a:cubicBezTo>
                <a:close/>
                <a:moveTo>
                  <a:pt x="0" y="10393437"/>
                </a:moveTo>
                <a:lnTo>
                  <a:pt x="0" y="10453311"/>
                </a:lnTo>
                <a:lnTo>
                  <a:pt x="18311" y="10534067"/>
                </a:lnTo>
                <a:cubicBezTo>
                  <a:pt x="155375" y="11094703"/>
                  <a:pt x="317427" y="11589825"/>
                  <a:pt x="509699" y="12039063"/>
                </a:cubicBezTo>
                <a:lnTo>
                  <a:pt x="577788" y="12188825"/>
                </a:lnTo>
                <a:lnTo>
                  <a:pt x="592107" y="12188825"/>
                </a:lnTo>
                <a:lnTo>
                  <a:pt x="519088" y="12029931"/>
                </a:lnTo>
                <a:cubicBezTo>
                  <a:pt x="328185" y="11580693"/>
                  <a:pt x="166915" y="11086485"/>
                  <a:pt x="30241" y="10526875"/>
                </a:cubicBezTo>
                <a:close/>
                <a:moveTo>
                  <a:pt x="0" y="9782675"/>
                </a:moveTo>
                <a:lnTo>
                  <a:pt x="0" y="9857953"/>
                </a:lnTo>
                <a:lnTo>
                  <a:pt x="28505" y="10006729"/>
                </a:lnTo>
                <a:cubicBezTo>
                  <a:pt x="182411" y="10749827"/>
                  <a:pt x="372782" y="11381641"/>
                  <a:pt x="609455" y="11943189"/>
                </a:cubicBezTo>
                <a:lnTo>
                  <a:pt x="721132" y="12188825"/>
                </a:lnTo>
                <a:lnTo>
                  <a:pt x="736965" y="12188825"/>
                </a:lnTo>
                <a:lnTo>
                  <a:pt x="621973" y="11934059"/>
                </a:lnTo>
                <a:cubicBezTo>
                  <a:pt x="385301" y="11372511"/>
                  <a:pt x="194777" y="10740697"/>
                  <a:pt x="41519" y="9999829"/>
                </a:cubicBezTo>
                <a:close/>
                <a:moveTo>
                  <a:pt x="0" y="9049167"/>
                </a:moveTo>
                <a:lnTo>
                  <a:pt x="0" y="9129723"/>
                </a:lnTo>
                <a:lnTo>
                  <a:pt x="51764" y="9453627"/>
                </a:lnTo>
                <a:cubicBezTo>
                  <a:pt x="215864" y="10398931"/>
                  <a:pt x="431070" y="11173457"/>
                  <a:pt x="712731" y="11847315"/>
                </a:cubicBezTo>
                <a:cubicBezTo>
                  <a:pt x="759674" y="11960537"/>
                  <a:pt x="809649" y="12072847"/>
                  <a:pt x="862264" y="12183103"/>
                </a:cubicBezTo>
                <a:lnTo>
                  <a:pt x="865190" y="12188825"/>
                </a:lnTo>
                <a:lnTo>
                  <a:pt x="882725" y="12188825"/>
                </a:lnTo>
                <a:lnTo>
                  <a:pt x="874391" y="12172488"/>
                </a:lnTo>
                <a:cubicBezTo>
                  <a:pt x="821384" y="12062347"/>
                  <a:pt x="770627" y="11950037"/>
                  <a:pt x="722119" y="11834531"/>
                </a:cubicBezTo>
                <a:cubicBezTo>
                  <a:pt x="442806" y="11166837"/>
                  <a:pt x="227966" y="10393851"/>
                  <a:pt x="63904" y="9448935"/>
                </a:cubicBezTo>
                <a:close/>
                <a:moveTo>
                  <a:pt x="0" y="8077111"/>
                </a:moveTo>
                <a:lnTo>
                  <a:pt x="0" y="8185701"/>
                </a:lnTo>
                <a:lnTo>
                  <a:pt x="19143" y="8352928"/>
                </a:lnTo>
                <a:cubicBezTo>
                  <a:pt x="191659" y="9775519"/>
                  <a:pt x="443196" y="10857529"/>
                  <a:pt x="812876" y="11751441"/>
                </a:cubicBezTo>
                <a:cubicBezTo>
                  <a:pt x="859820" y="11864663"/>
                  <a:pt x="909794" y="11976973"/>
                  <a:pt x="962410" y="12087684"/>
                </a:cubicBezTo>
                <a:lnTo>
                  <a:pt x="1013614" y="12188825"/>
                </a:lnTo>
                <a:lnTo>
                  <a:pt x="1031131" y="12188825"/>
                </a:lnTo>
                <a:lnTo>
                  <a:pt x="974341" y="12074901"/>
                </a:lnTo>
                <a:cubicBezTo>
                  <a:pt x="922019" y="11964189"/>
                  <a:pt x="871946" y="11851880"/>
                  <a:pt x="825003" y="11738659"/>
                </a:cubicBezTo>
                <a:cubicBezTo>
                  <a:pt x="455323" y="10848397"/>
                  <a:pt x="204177" y="9770953"/>
                  <a:pt x="31269" y="8348363"/>
                </a:cubicBezTo>
                <a:close/>
                <a:moveTo>
                  <a:pt x="0" y="4775048"/>
                </a:moveTo>
                <a:lnTo>
                  <a:pt x="0" y="4887079"/>
                </a:lnTo>
                <a:lnTo>
                  <a:pt x="20145" y="4703802"/>
                </a:lnTo>
                <a:cubicBezTo>
                  <a:pt x="37528" y="4556367"/>
                  <a:pt x="55719" y="4409988"/>
                  <a:pt x="73910" y="4265036"/>
                </a:cubicBezTo>
                <a:cubicBezTo>
                  <a:pt x="98164" y="4046807"/>
                  <a:pt x="125547" y="3824016"/>
                  <a:pt x="149800" y="3605785"/>
                </a:cubicBezTo>
                <a:cubicBezTo>
                  <a:pt x="283198" y="2388641"/>
                  <a:pt x="331705" y="1179709"/>
                  <a:pt x="292196" y="1828"/>
                </a:cubicBezTo>
                <a:lnTo>
                  <a:pt x="280069" y="1828"/>
                </a:lnTo>
                <a:cubicBezTo>
                  <a:pt x="319579" y="1179709"/>
                  <a:pt x="271072" y="2388641"/>
                  <a:pt x="137674" y="3601219"/>
                </a:cubicBezTo>
                <a:cubicBezTo>
                  <a:pt x="113420" y="3824016"/>
                  <a:pt x="86037" y="4045894"/>
                  <a:pt x="61784" y="4260470"/>
                </a:cubicBezTo>
                <a:cubicBezTo>
                  <a:pt x="43593" y="4406564"/>
                  <a:pt x="25402" y="4553800"/>
                  <a:pt x="8018" y="4701876"/>
                </a:cubicBezTo>
                <a:close/>
                <a:moveTo>
                  <a:pt x="0" y="3771216"/>
                </a:moveTo>
                <a:lnTo>
                  <a:pt x="0" y="3885405"/>
                </a:lnTo>
                <a:lnTo>
                  <a:pt x="22272" y="3684311"/>
                </a:lnTo>
                <a:cubicBezTo>
                  <a:pt x="155669" y="2440685"/>
                  <a:pt x="201048" y="1201626"/>
                  <a:pt x="158407" y="1828"/>
                </a:cubicBezTo>
                <a:lnTo>
                  <a:pt x="146280" y="1828"/>
                </a:lnTo>
                <a:cubicBezTo>
                  <a:pt x="188530" y="1201626"/>
                  <a:pt x="143150" y="2440685"/>
                  <a:pt x="10144" y="3684311"/>
                </a:cubicBezTo>
                <a:close/>
                <a:moveTo>
                  <a:pt x="0" y="2184485"/>
                </a:moveTo>
                <a:lnTo>
                  <a:pt x="0" y="2456148"/>
                </a:lnTo>
                <a:lnTo>
                  <a:pt x="7103" y="2339528"/>
                </a:lnTo>
                <a:cubicBezTo>
                  <a:pt x="48335" y="1550011"/>
                  <a:pt x="54936" y="768251"/>
                  <a:pt x="28532" y="1828"/>
                </a:cubicBezTo>
                <a:lnTo>
                  <a:pt x="13275" y="1828"/>
                </a:lnTo>
                <a:cubicBezTo>
                  <a:pt x="35964" y="612683"/>
                  <a:pt x="35964" y="1234496"/>
                  <a:pt x="14008" y="1862814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  <a:ln w="12700">
            <a:solidFill>
              <a:schemeClr val="bg1">
                <a:lumMod val="95000"/>
                <a:alpha val="30000"/>
              </a:schemeClr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799"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60BD87-90A1-7149-BE3B-584C7BA621D8}"/>
              </a:ext>
            </a:extLst>
          </p:cNvPr>
          <p:cNvSpPr/>
          <p:nvPr userDrawn="1"/>
        </p:nvSpPr>
        <p:spPr>
          <a:xfrm>
            <a:off x="0" y="-15025"/>
            <a:ext cx="12191999" cy="1033946"/>
          </a:xfrm>
          <a:prstGeom prst="rect">
            <a:avLst/>
          </a:prstGeom>
          <a:gradFill>
            <a:gsLst>
              <a:gs pos="50000">
                <a:srgbClr val="605BCA"/>
              </a:gs>
              <a:gs pos="0">
                <a:schemeClr val="tx2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C211EE-CE6A-0174-A94C-292157083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419" y="248675"/>
            <a:ext cx="10515163" cy="506546"/>
          </a:xfrm>
          <a:prstGeom prst="rect">
            <a:avLst/>
          </a:prstGeom>
        </p:spPr>
        <p:txBody>
          <a:bodyPr/>
          <a:lstStyle>
            <a:lvl1pPr marL="0" marR="126962" indent="-36819" algn="ctr" defTabSz="914126" rtl="0" eaLnBrk="1" latinLnBrk="0" hangingPunct="1">
              <a:lnSpc>
                <a:spcPct val="90000"/>
              </a:lnSpc>
              <a:spcBef>
                <a:spcPct val="0"/>
              </a:spcBef>
              <a:defRPr lang="en-US" sz="2600" b="1" kern="1200" spc="100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4AB10759-683F-11D8-4AAE-B5EF69A318DE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0163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3356640" cy="6858000"/>
          </a:xfrm>
          <a:prstGeom prst="rect">
            <a:avLst/>
          </a:prstGeom>
          <a:gradFill flip="none" rotWithShape="1">
            <a:gsLst>
              <a:gs pos="61000">
                <a:schemeClr val="accent3"/>
              </a:gs>
              <a:gs pos="1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90B658AD-DC66-BB34-E137-AC6D5F8FD2E5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3320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-1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4">
                  <a:lumMod val="40000"/>
                  <a:lumOff val="60000"/>
                </a:schemeClr>
              </a:gs>
              <a:gs pos="0">
                <a:schemeClr val="accent4">
                  <a:lumMod val="50000"/>
                </a:schemeClr>
              </a:gs>
              <a:gs pos="54000">
                <a:schemeClr val="accent4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54AFFCA3-71F6-738F-EFF6-C10CC8B2A273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91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-1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75000"/>
                </a:schemeClr>
              </a:gs>
              <a:gs pos="54000">
                <a:schemeClr val="accent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73627FA7-D627-27BB-D367-7ABBA8FC3E2E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5635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-1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rgbClr val="9591DB"/>
              </a:gs>
              <a:gs pos="0">
                <a:srgbClr val="28246F"/>
              </a:gs>
              <a:gs pos="54000">
                <a:srgbClr val="605BCA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14C5B641-9FB7-2AE2-2A9B-EFE38BBC7A72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882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7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D15BBB8-7A44-5F44-A4F2-B873379545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73805" y="2509051"/>
            <a:ext cx="2610599" cy="434894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29B30FE-7335-D541-B319-3448D3EB67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1404" y="0"/>
            <a:ext cx="2610595" cy="43471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80AB29-4B3E-B24E-B360-4CEABF43A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1403" y="4467073"/>
            <a:ext cx="2610598" cy="239092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18D4F7B-5B2A-224C-8DBC-5830F6D55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7264" y="-1801"/>
            <a:ext cx="2608489" cy="43489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B73497B-4D44-2C48-9F34-DE82B4AE76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73805" y="-889"/>
            <a:ext cx="2610598" cy="239181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0AF7017-7EF9-0C43-9A2A-A854CBDC72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7256" y="4466189"/>
            <a:ext cx="2610599" cy="23918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4AFE6DD-8389-EE42-A890-58C918665CEC}"/>
              </a:ext>
            </a:extLst>
          </p:cNvPr>
          <p:cNvSpPr/>
          <p:nvPr userDrawn="1"/>
        </p:nvSpPr>
        <p:spPr>
          <a:xfrm>
            <a:off x="3649321" y="0"/>
            <a:ext cx="8542679" cy="6858000"/>
          </a:xfrm>
          <a:prstGeom prst="rect">
            <a:avLst/>
          </a:prstGeom>
          <a:gradFill flip="none" rotWithShape="1">
            <a:gsLst>
              <a:gs pos="5000">
                <a:schemeClr val="bg1"/>
              </a:gs>
              <a:gs pos="59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59B53035-5BB5-3F4D-8690-8462DA5D6823}"/>
              </a:ext>
            </a:extLst>
          </p:cNvPr>
          <p:cNvSpPr/>
          <p:nvPr userDrawn="1"/>
        </p:nvSpPr>
        <p:spPr>
          <a:xfrm>
            <a:off x="-2" y="0"/>
            <a:ext cx="9667345" cy="6858889"/>
          </a:xfrm>
          <a:custGeom>
            <a:avLst/>
            <a:gdLst>
              <a:gd name="connsiteX0" fmla="*/ 0 w 9667345"/>
              <a:gd name="connsiteY0" fmla="*/ 6810685 h 6858889"/>
              <a:gd name="connsiteX1" fmla="*/ 59283 w 9667345"/>
              <a:gd name="connsiteY1" fmla="*/ 6858456 h 6858889"/>
              <a:gd name="connsiteX2" fmla="*/ 39402 w 9667345"/>
              <a:gd name="connsiteY2" fmla="*/ 6858456 h 6858889"/>
              <a:gd name="connsiteX3" fmla="*/ 0 w 9667345"/>
              <a:gd name="connsiteY3" fmla="*/ 6827674 h 6858889"/>
              <a:gd name="connsiteX4" fmla="*/ 0 w 9667345"/>
              <a:gd name="connsiteY4" fmla="*/ 6672270 h 6858889"/>
              <a:gd name="connsiteX5" fmla="*/ 80461 w 9667345"/>
              <a:gd name="connsiteY5" fmla="*/ 6741333 h 6858889"/>
              <a:gd name="connsiteX6" fmla="*/ 232159 w 9667345"/>
              <a:gd name="connsiteY6" fmla="*/ 6857592 h 6858889"/>
              <a:gd name="connsiteX7" fmla="*/ 213144 w 9667345"/>
              <a:gd name="connsiteY7" fmla="*/ 6857592 h 6858889"/>
              <a:gd name="connsiteX8" fmla="*/ 70519 w 9667345"/>
              <a:gd name="connsiteY8" fmla="*/ 6747384 h 6858889"/>
              <a:gd name="connsiteX9" fmla="*/ 0 w 9667345"/>
              <a:gd name="connsiteY9" fmla="*/ 6686879 h 6858889"/>
              <a:gd name="connsiteX10" fmla="*/ 0 w 9667345"/>
              <a:gd name="connsiteY10" fmla="*/ 6527854 h 6858889"/>
              <a:gd name="connsiteX11" fmla="*/ 2977 w 9667345"/>
              <a:gd name="connsiteY11" fmla="*/ 6530761 h 6858889"/>
              <a:gd name="connsiteX12" fmla="*/ 194126 w 9667345"/>
              <a:gd name="connsiteY12" fmla="*/ 6695952 h 6858889"/>
              <a:gd name="connsiteX13" fmla="*/ 404173 w 9667345"/>
              <a:gd name="connsiteY13" fmla="*/ 6858024 h 6858889"/>
              <a:gd name="connsiteX14" fmla="*/ 386452 w 9667345"/>
              <a:gd name="connsiteY14" fmla="*/ 6858024 h 6858889"/>
              <a:gd name="connsiteX15" fmla="*/ 180728 w 9667345"/>
              <a:gd name="connsiteY15" fmla="*/ 6702435 h 6858889"/>
              <a:gd name="connsiteX16" fmla="*/ 0 w 9667345"/>
              <a:gd name="connsiteY16" fmla="*/ 6545608 h 6858889"/>
              <a:gd name="connsiteX17" fmla="*/ 0 w 9667345"/>
              <a:gd name="connsiteY17" fmla="*/ 6370764 h 6858889"/>
              <a:gd name="connsiteX18" fmla="*/ 116037 w 9667345"/>
              <a:gd name="connsiteY18" fmla="*/ 6485384 h 6858889"/>
              <a:gd name="connsiteX19" fmla="*/ 304768 w 9667345"/>
              <a:gd name="connsiteY19" fmla="*/ 6650572 h 6858889"/>
              <a:gd name="connsiteX20" fmla="*/ 578345 w 9667345"/>
              <a:gd name="connsiteY20" fmla="*/ 6858024 h 6858889"/>
              <a:gd name="connsiteX21" fmla="*/ 559329 w 9667345"/>
              <a:gd name="connsiteY21" fmla="*/ 6858024 h 6858889"/>
              <a:gd name="connsiteX22" fmla="*/ 294395 w 9667345"/>
              <a:gd name="connsiteY22" fmla="*/ 6657055 h 6858889"/>
              <a:gd name="connsiteX23" fmla="*/ 104541 w 9667345"/>
              <a:gd name="connsiteY23" fmla="*/ 6491293 h 6858889"/>
              <a:gd name="connsiteX24" fmla="*/ 0 w 9667345"/>
              <a:gd name="connsiteY24" fmla="*/ 6388228 h 6858889"/>
              <a:gd name="connsiteX25" fmla="*/ 0 w 9667345"/>
              <a:gd name="connsiteY25" fmla="*/ 6202503 h 6858889"/>
              <a:gd name="connsiteX26" fmla="*/ 55211 w 9667345"/>
              <a:gd name="connsiteY26" fmla="*/ 6264794 h 6858889"/>
              <a:gd name="connsiteX27" fmla="*/ 418434 w 9667345"/>
              <a:gd name="connsiteY27" fmla="*/ 6605192 h 6858889"/>
              <a:gd name="connsiteX28" fmla="*/ 754680 w 9667345"/>
              <a:gd name="connsiteY28" fmla="*/ 6857592 h 6858889"/>
              <a:gd name="connsiteX29" fmla="*/ 735663 w 9667345"/>
              <a:gd name="connsiteY29" fmla="*/ 6857592 h 6858889"/>
              <a:gd name="connsiteX30" fmla="*/ 408494 w 9667345"/>
              <a:gd name="connsiteY30" fmla="*/ 6611243 h 6858889"/>
              <a:gd name="connsiteX31" fmla="*/ 43521 w 9667345"/>
              <a:gd name="connsiteY31" fmla="*/ 6269568 h 6858889"/>
              <a:gd name="connsiteX32" fmla="*/ 0 w 9667345"/>
              <a:gd name="connsiteY32" fmla="*/ 6220508 h 6858889"/>
              <a:gd name="connsiteX33" fmla="*/ 0 w 9667345"/>
              <a:gd name="connsiteY33" fmla="*/ 6024018 h 6858889"/>
              <a:gd name="connsiteX34" fmla="*/ 8034 w 9667345"/>
              <a:gd name="connsiteY34" fmla="*/ 6034410 h 6858889"/>
              <a:gd name="connsiteX35" fmla="*/ 529076 w 9667345"/>
              <a:gd name="connsiteY35" fmla="*/ 6559812 h 6858889"/>
              <a:gd name="connsiteX36" fmla="*/ 932743 w 9667345"/>
              <a:gd name="connsiteY36" fmla="*/ 6858024 h 6858889"/>
              <a:gd name="connsiteX37" fmla="*/ 913294 w 9667345"/>
              <a:gd name="connsiteY37" fmla="*/ 6858024 h 6858889"/>
              <a:gd name="connsiteX38" fmla="*/ 519135 w 9667345"/>
              <a:gd name="connsiteY38" fmla="*/ 6564134 h 6858889"/>
              <a:gd name="connsiteX39" fmla="*/ 158491 w 9667345"/>
              <a:gd name="connsiteY39" fmla="*/ 6223702 h 6858889"/>
              <a:gd name="connsiteX40" fmla="*/ 0 w 9667345"/>
              <a:gd name="connsiteY40" fmla="*/ 6043322 h 6858889"/>
              <a:gd name="connsiteX41" fmla="*/ 0 w 9667345"/>
              <a:gd name="connsiteY41" fmla="*/ 5825690 h 6858889"/>
              <a:gd name="connsiteX42" fmla="*/ 125453 w 9667345"/>
              <a:gd name="connsiteY42" fmla="*/ 5989143 h 6858889"/>
              <a:gd name="connsiteX43" fmla="*/ 642743 w 9667345"/>
              <a:gd name="connsiteY43" fmla="*/ 6514432 h 6858889"/>
              <a:gd name="connsiteX44" fmla="*/ 1051163 w 9667345"/>
              <a:gd name="connsiteY44" fmla="*/ 6819992 h 6858889"/>
              <a:gd name="connsiteX45" fmla="*/ 1109942 w 9667345"/>
              <a:gd name="connsiteY45" fmla="*/ 6858456 h 6858889"/>
              <a:gd name="connsiteX46" fmla="*/ 1090062 w 9667345"/>
              <a:gd name="connsiteY46" fmla="*/ 6858456 h 6858889"/>
              <a:gd name="connsiteX47" fmla="*/ 1040791 w 9667345"/>
              <a:gd name="connsiteY47" fmla="*/ 6826907 h 6858889"/>
              <a:gd name="connsiteX48" fmla="*/ 632370 w 9667345"/>
              <a:gd name="connsiteY48" fmla="*/ 6519185 h 6858889"/>
              <a:gd name="connsiteX49" fmla="*/ 112604 w 9667345"/>
              <a:gd name="connsiteY49" fmla="*/ 5993214 h 6858889"/>
              <a:gd name="connsiteX50" fmla="*/ 0 w 9667345"/>
              <a:gd name="connsiteY50" fmla="*/ 5846530 h 6858889"/>
              <a:gd name="connsiteX51" fmla="*/ 0 w 9667345"/>
              <a:gd name="connsiteY51" fmla="*/ 5604549 h 6858889"/>
              <a:gd name="connsiteX52" fmla="*/ 95478 w 9667345"/>
              <a:gd name="connsiteY52" fmla="*/ 5747885 h 6858889"/>
              <a:gd name="connsiteX53" fmla="*/ 756408 w 9667345"/>
              <a:gd name="connsiteY53" fmla="*/ 6469052 h 6858889"/>
              <a:gd name="connsiteX54" fmla="*/ 1161372 w 9667345"/>
              <a:gd name="connsiteY54" fmla="*/ 6774611 h 6858889"/>
              <a:gd name="connsiteX55" fmla="*/ 1289734 w 9667345"/>
              <a:gd name="connsiteY55" fmla="*/ 6857592 h 6858889"/>
              <a:gd name="connsiteX56" fmla="*/ 1271150 w 9667345"/>
              <a:gd name="connsiteY56" fmla="*/ 6857592 h 6858889"/>
              <a:gd name="connsiteX57" fmla="*/ 1151432 w 9667345"/>
              <a:gd name="connsiteY57" fmla="*/ 6780662 h 6858889"/>
              <a:gd name="connsiteX58" fmla="*/ 743010 w 9667345"/>
              <a:gd name="connsiteY58" fmla="*/ 6472941 h 6858889"/>
              <a:gd name="connsiteX59" fmla="*/ 81919 w 9667345"/>
              <a:gd name="connsiteY59" fmla="*/ 5752315 h 6858889"/>
              <a:gd name="connsiteX60" fmla="*/ 0 w 9667345"/>
              <a:gd name="connsiteY60" fmla="*/ 5628996 h 6858889"/>
              <a:gd name="connsiteX61" fmla="*/ 0 w 9667345"/>
              <a:gd name="connsiteY61" fmla="*/ 5359076 h 6858889"/>
              <a:gd name="connsiteX62" fmla="*/ 78670 w 9667345"/>
              <a:gd name="connsiteY62" fmla="*/ 5496155 h 6858889"/>
              <a:gd name="connsiteX63" fmla="*/ 867049 w 9667345"/>
              <a:gd name="connsiteY63" fmla="*/ 6423672 h 6858889"/>
              <a:gd name="connsiteX64" fmla="*/ 1272015 w 9667345"/>
              <a:gd name="connsiteY64" fmla="*/ 6729231 h 6858889"/>
              <a:gd name="connsiteX65" fmla="*/ 1469526 w 9667345"/>
              <a:gd name="connsiteY65" fmla="*/ 6857592 h 6858889"/>
              <a:gd name="connsiteX66" fmla="*/ 1450509 w 9667345"/>
              <a:gd name="connsiteY66" fmla="*/ 6857592 h 6858889"/>
              <a:gd name="connsiteX67" fmla="*/ 1258184 w 9667345"/>
              <a:gd name="connsiteY67" fmla="*/ 6735282 h 6858889"/>
              <a:gd name="connsiteX68" fmla="*/ 856678 w 9667345"/>
              <a:gd name="connsiteY68" fmla="*/ 6427561 h 6858889"/>
              <a:gd name="connsiteX69" fmla="*/ 65196 w 9667345"/>
              <a:gd name="connsiteY69" fmla="*/ 5499518 h 6858889"/>
              <a:gd name="connsiteX70" fmla="*/ 0 w 9667345"/>
              <a:gd name="connsiteY70" fmla="*/ 5386698 h 6858889"/>
              <a:gd name="connsiteX71" fmla="*/ 0 w 9667345"/>
              <a:gd name="connsiteY71" fmla="*/ 5079907 h 6858889"/>
              <a:gd name="connsiteX72" fmla="*/ 75746 w 9667345"/>
              <a:gd name="connsiteY72" fmla="*/ 5232455 h 6858889"/>
              <a:gd name="connsiteX73" fmla="*/ 980716 w 9667345"/>
              <a:gd name="connsiteY73" fmla="*/ 6377859 h 6858889"/>
              <a:gd name="connsiteX74" fmla="*/ 1378765 w 9667345"/>
              <a:gd name="connsiteY74" fmla="*/ 6683419 h 6858889"/>
              <a:gd name="connsiteX75" fmla="*/ 1652775 w 9667345"/>
              <a:gd name="connsiteY75" fmla="*/ 6858024 h 6858889"/>
              <a:gd name="connsiteX76" fmla="*/ 1631165 w 9667345"/>
              <a:gd name="connsiteY76" fmla="*/ 6858024 h 6858889"/>
              <a:gd name="connsiteX77" fmla="*/ 1368824 w 9667345"/>
              <a:gd name="connsiteY77" fmla="*/ 6690334 h 6858889"/>
              <a:gd name="connsiteX78" fmla="*/ 967318 w 9667345"/>
              <a:gd name="connsiteY78" fmla="*/ 6382614 h 6858889"/>
              <a:gd name="connsiteX79" fmla="*/ 62592 w 9667345"/>
              <a:gd name="connsiteY79" fmla="*/ 5235569 h 6858889"/>
              <a:gd name="connsiteX80" fmla="*/ 0 w 9667345"/>
              <a:gd name="connsiteY80" fmla="*/ 5109615 h 6858889"/>
              <a:gd name="connsiteX81" fmla="*/ 0 w 9667345"/>
              <a:gd name="connsiteY81" fmla="*/ 4754262 h 6858889"/>
              <a:gd name="connsiteX82" fmla="*/ 86287 w 9667345"/>
              <a:gd name="connsiteY82" fmla="*/ 4958028 h 6858889"/>
              <a:gd name="connsiteX83" fmla="*/ 1091358 w 9667345"/>
              <a:gd name="connsiteY83" fmla="*/ 6332479 h 6858889"/>
              <a:gd name="connsiteX84" fmla="*/ 1489406 w 9667345"/>
              <a:gd name="connsiteY84" fmla="*/ 6638039 h 6858889"/>
              <a:gd name="connsiteX85" fmla="*/ 1836889 w 9667345"/>
              <a:gd name="connsiteY85" fmla="*/ 6857592 h 6858889"/>
              <a:gd name="connsiteX86" fmla="*/ 1816575 w 9667345"/>
              <a:gd name="connsiteY86" fmla="*/ 6857592 h 6858889"/>
              <a:gd name="connsiteX87" fmla="*/ 1479466 w 9667345"/>
              <a:gd name="connsiteY87" fmla="*/ 6644089 h 6858889"/>
              <a:gd name="connsiteX88" fmla="*/ 1081417 w 9667345"/>
              <a:gd name="connsiteY88" fmla="*/ 6336369 h 6858889"/>
              <a:gd name="connsiteX89" fmla="*/ 73038 w 9667345"/>
              <a:gd name="connsiteY89" fmla="*/ 4959848 h 6858889"/>
              <a:gd name="connsiteX90" fmla="*/ 0 w 9667345"/>
              <a:gd name="connsiteY90" fmla="*/ 4787554 h 6858889"/>
              <a:gd name="connsiteX91" fmla="*/ 0 w 9667345"/>
              <a:gd name="connsiteY91" fmla="*/ 4357497 h 6858889"/>
              <a:gd name="connsiteX92" fmla="*/ 3590 w 9667345"/>
              <a:gd name="connsiteY92" fmla="*/ 4371077 h 6858889"/>
              <a:gd name="connsiteX93" fmla="*/ 107256 w 9667345"/>
              <a:gd name="connsiteY93" fmla="*/ 4670269 h 6858889"/>
              <a:gd name="connsiteX94" fmla="*/ 1205024 w 9667345"/>
              <a:gd name="connsiteY94" fmla="*/ 6287099 h 6858889"/>
              <a:gd name="connsiteX95" fmla="*/ 1600048 w 9667345"/>
              <a:gd name="connsiteY95" fmla="*/ 6592659 h 6858889"/>
              <a:gd name="connsiteX96" fmla="*/ 2023165 w 9667345"/>
              <a:gd name="connsiteY96" fmla="*/ 6858024 h 6858889"/>
              <a:gd name="connsiteX97" fmla="*/ 2001554 w 9667345"/>
              <a:gd name="connsiteY97" fmla="*/ 6858024 h 6858889"/>
              <a:gd name="connsiteX98" fmla="*/ 1587082 w 9667345"/>
              <a:gd name="connsiteY98" fmla="*/ 6599142 h 6858889"/>
              <a:gd name="connsiteX99" fmla="*/ 1192058 w 9667345"/>
              <a:gd name="connsiteY99" fmla="*/ 6291421 h 6858889"/>
              <a:gd name="connsiteX100" fmla="*/ 94290 w 9667345"/>
              <a:gd name="connsiteY100" fmla="*/ 4672429 h 6858889"/>
              <a:gd name="connsiteX101" fmla="*/ 0 w 9667345"/>
              <a:gd name="connsiteY101" fmla="*/ 4400852 h 6858889"/>
              <a:gd name="connsiteX102" fmla="*/ 0 w 9667345"/>
              <a:gd name="connsiteY102" fmla="*/ 3631903 h 6858889"/>
              <a:gd name="connsiteX103" fmla="*/ 10844 w 9667345"/>
              <a:gd name="connsiteY103" fmla="*/ 3768898 h 6858889"/>
              <a:gd name="connsiteX104" fmla="*/ 234320 w 9667345"/>
              <a:gd name="connsiteY104" fmla="*/ 4624456 h 6858889"/>
              <a:gd name="connsiteX105" fmla="*/ 1315233 w 9667345"/>
              <a:gd name="connsiteY105" fmla="*/ 6239558 h 6858889"/>
              <a:gd name="connsiteX106" fmla="*/ 1706800 w 9667345"/>
              <a:gd name="connsiteY106" fmla="*/ 6547278 h 6858889"/>
              <a:gd name="connsiteX107" fmla="*/ 2205549 w 9667345"/>
              <a:gd name="connsiteY107" fmla="*/ 6857592 h 6858889"/>
              <a:gd name="connsiteX108" fmla="*/ 2183507 w 9667345"/>
              <a:gd name="connsiteY108" fmla="*/ 6857592 h 6858889"/>
              <a:gd name="connsiteX109" fmla="*/ 1696860 w 9667345"/>
              <a:gd name="connsiteY109" fmla="*/ 6553329 h 6858889"/>
              <a:gd name="connsiteX110" fmla="*/ 1305292 w 9667345"/>
              <a:gd name="connsiteY110" fmla="*/ 6245609 h 6858889"/>
              <a:gd name="connsiteX111" fmla="*/ 220923 w 9667345"/>
              <a:gd name="connsiteY111" fmla="*/ 4626617 h 6858889"/>
              <a:gd name="connsiteX112" fmla="*/ 42265 w 9667345"/>
              <a:gd name="connsiteY112" fmla="*/ 4041321 h 6858889"/>
              <a:gd name="connsiteX113" fmla="*/ 0 w 9667345"/>
              <a:gd name="connsiteY113" fmla="*/ 3795139 h 6858889"/>
              <a:gd name="connsiteX114" fmla="*/ 5434888 w 9667345"/>
              <a:gd name="connsiteY114" fmla="*/ 1729 h 6858889"/>
              <a:gd name="connsiteX115" fmla="*/ 5448286 w 9667345"/>
              <a:gd name="connsiteY115" fmla="*/ 1729 h 6858889"/>
              <a:gd name="connsiteX116" fmla="*/ 5227436 w 9667345"/>
              <a:gd name="connsiteY116" fmla="*/ 893774 h 6858889"/>
              <a:gd name="connsiteX117" fmla="*/ 5060177 w 9667345"/>
              <a:gd name="connsiteY117" fmla="*/ 1269781 h 6858889"/>
              <a:gd name="connsiteX118" fmla="*/ 4785736 w 9667345"/>
              <a:gd name="connsiteY118" fmla="*/ 1963449 h 6858889"/>
              <a:gd name="connsiteX119" fmla="*/ 4768880 w 9667345"/>
              <a:gd name="connsiteY119" fmla="*/ 3010651 h 6858889"/>
              <a:gd name="connsiteX120" fmla="*/ 5361416 w 9667345"/>
              <a:gd name="connsiteY120" fmla="*/ 4600686 h 6858889"/>
              <a:gd name="connsiteX121" fmla="*/ 5642341 w 9667345"/>
              <a:gd name="connsiteY121" fmla="*/ 4920939 h 6858889"/>
              <a:gd name="connsiteX122" fmla="*/ 6990779 w 9667345"/>
              <a:gd name="connsiteY122" fmla="*/ 5817306 h 6858889"/>
              <a:gd name="connsiteX123" fmla="*/ 7425997 w 9667345"/>
              <a:gd name="connsiteY123" fmla="*/ 6003148 h 6858889"/>
              <a:gd name="connsiteX124" fmla="*/ 8717818 w 9667345"/>
              <a:gd name="connsiteY124" fmla="*/ 6393418 h 6858889"/>
              <a:gd name="connsiteX125" fmla="*/ 9666913 w 9667345"/>
              <a:gd name="connsiteY125" fmla="*/ 6567592 h 6858889"/>
              <a:gd name="connsiteX126" fmla="*/ 9666913 w 9667345"/>
              <a:gd name="connsiteY126" fmla="*/ 6576236 h 6858889"/>
              <a:gd name="connsiteX127" fmla="*/ 8714362 w 9667345"/>
              <a:gd name="connsiteY127" fmla="*/ 6401198 h 6858889"/>
              <a:gd name="connsiteX128" fmla="*/ 7416056 w 9667345"/>
              <a:gd name="connsiteY128" fmla="*/ 6008767 h 6858889"/>
              <a:gd name="connsiteX129" fmla="*/ 6984296 w 9667345"/>
              <a:gd name="connsiteY129" fmla="*/ 5822924 h 6858889"/>
              <a:gd name="connsiteX130" fmla="*/ 5632400 w 9667345"/>
              <a:gd name="connsiteY130" fmla="*/ 4924397 h 6858889"/>
              <a:gd name="connsiteX131" fmla="*/ 5348018 w 9667345"/>
              <a:gd name="connsiteY131" fmla="*/ 4604143 h 6858889"/>
              <a:gd name="connsiteX132" fmla="*/ 4755482 w 9667345"/>
              <a:gd name="connsiteY132" fmla="*/ 3009786 h 6858889"/>
              <a:gd name="connsiteX133" fmla="*/ 4772337 w 9667345"/>
              <a:gd name="connsiteY133" fmla="*/ 1962585 h 6858889"/>
              <a:gd name="connsiteX134" fmla="*/ 5043322 w 9667345"/>
              <a:gd name="connsiteY134" fmla="*/ 1266755 h 6858889"/>
              <a:gd name="connsiteX135" fmla="*/ 5210581 w 9667345"/>
              <a:gd name="connsiteY135" fmla="*/ 890749 h 6858889"/>
              <a:gd name="connsiteX136" fmla="*/ 5434888 w 9667345"/>
              <a:gd name="connsiteY136" fmla="*/ 1729 h 6858889"/>
              <a:gd name="connsiteX137" fmla="*/ 5575783 w 9667345"/>
              <a:gd name="connsiteY137" fmla="*/ 1297 h 6858889"/>
              <a:gd name="connsiteX138" fmla="*/ 5589181 w 9667345"/>
              <a:gd name="connsiteY138" fmla="*/ 1297 h 6858889"/>
              <a:gd name="connsiteX139" fmla="*/ 5368330 w 9667345"/>
              <a:gd name="connsiteY139" fmla="*/ 854012 h 6858889"/>
              <a:gd name="connsiteX140" fmla="*/ 5197614 w 9667345"/>
              <a:gd name="connsiteY140" fmla="*/ 1231748 h 6858889"/>
              <a:gd name="connsiteX141" fmla="*/ 4919715 w 9667345"/>
              <a:gd name="connsiteY141" fmla="*/ 1921527 h 6858889"/>
              <a:gd name="connsiteX142" fmla="*/ 4896376 w 9667345"/>
              <a:gd name="connsiteY142" fmla="*/ 2964406 h 6858889"/>
              <a:gd name="connsiteX143" fmla="*/ 5472057 w 9667345"/>
              <a:gd name="connsiteY143" fmla="*/ 4554441 h 6858889"/>
              <a:gd name="connsiteX144" fmla="*/ 5752981 w 9667345"/>
              <a:gd name="connsiteY144" fmla="*/ 4874695 h 6858889"/>
              <a:gd name="connsiteX145" fmla="*/ 7094937 w 9667345"/>
              <a:gd name="connsiteY145" fmla="*/ 5773223 h 6858889"/>
              <a:gd name="connsiteX146" fmla="*/ 7526698 w 9667345"/>
              <a:gd name="connsiteY146" fmla="*/ 5956904 h 6858889"/>
              <a:gd name="connsiteX147" fmla="*/ 8818519 w 9667345"/>
              <a:gd name="connsiteY147" fmla="*/ 6343283 h 6858889"/>
              <a:gd name="connsiteX148" fmla="*/ 9666913 w 9667345"/>
              <a:gd name="connsiteY148" fmla="*/ 6500602 h 6858889"/>
              <a:gd name="connsiteX149" fmla="*/ 9666913 w 9667345"/>
              <a:gd name="connsiteY149" fmla="*/ 6509246 h 6858889"/>
              <a:gd name="connsiteX150" fmla="*/ 8811605 w 9667345"/>
              <a:gd name="connsiteY150" fmla="*/ 6351496 h 6858889"/>
              <a:gd name="connsiteX151" fmla="*/ 7516324 w 9667345"/>
              <a:gd name="connsiteY151" fmla="*/ 5965116 h 6858889"/>
              <a:gd name="connsiteX152" fmla="*/ 7084564 w 9667345"/>
              <a:gd name="connsiteY152" fmla="*/ 5779273 h 6858889"/>
              <a:gd name="connsiteX153" fmla="*/ 5739151 w 9667345"/>
              <a:gd name="connsiteY153" fmla="*/ 4879017 h 6858889"/>
              <a:gd name="connsiteX154" fmla="*/ 5458226 w 9667345"/>
              <a:gd name="connsiteY154" fmla="*/ 4558762 h 6858889"/>
              <a:gd name="connsiteX155" fmla="*/ 4882546 w 9667345"/>
              <a:gd name="connsiteY155" fmla="*/ 2966567 h 6858889"/>
              <a:gd name="connsiteX156" fmla="*/ 4905886 w 9667345"/>
              <a:gd name="connsiteY156" fmla="*/ 1919366 h 6858889"/>
              <a:gd name="connsiteX157" fmla="*/ 5180327 w 9667345"/>
              <a:gd name="connsiteY157" fmla="*/ 1229587 h 6858889"/>
              <a:gd name="connsiteX158" fmla="*/ 5354501 w 9667345"/>
              <a:gd name="connsiteY158" fmla="*/ 851851 h 6858889"/>
              <a:gd name="connsiteX159" fmla="*/ 5575783 w 9667345"/>
              <a:gd name="connsiteY159" fmla="*/ 1297 h 6858889"/>
              <a:gd name="connsiteX160" fmla="*/ 5293994 w 9667345"/>
              <a:gd name="connsiteY160" fmla="*/ 1297 h 6858889"/>
              <a:gd name="connsiteX161" fmla="*/ 5307392 w 9667345"/>
              <a:gd name="connsiteY161" fmla="*/ 1297 h 6858889"/>
              <a:gd name="connsiteX162" fmla="*/ 5083083 w 9667345"/>
              <a:gd name="connsiteY162" fmla="*/ 930511 h 6858889"/>
              <a:gd name="connsiteX163" fmla="*/ 4919283 w 9667345"/>
              <a:gd name="connsiteY163" fmla="*/ 1306517 h 6858889"/>
              <a:gd name="connsiteX164" fmla="*/ 4651756 w 9667345"/>
              <a:gd name="connsiteY164" fmla="*/ 2006668 h 6858889"/>
              <a:gd name="connsiteX165" fmla="*/ 4645273 w 9667345"/>
              <a:gd name="connsiteY165" fmla="*/ 3055599 h 6858889"/>
              <a:gd name="connsiteX166" fmla="*/ 5247749 w 9667345"/>
              <a:gd name="connsiteY166" fmla="*/ 4645633 h 6858889"/>
              <a:gd name="connsiteX167" fmla="*/ 5535589 w 9667345"/>
              <a:gd name="connsiteY167" fmla="*/ 4965888 h 6858889"/>
              <a:gd name="connsiteX168" fmla="*/ 6890942 w 9667345"/>
              <a:gd name="connsiteY168" fmla="*/ 5862254 h 6858889"/>
              <a:gd name="connsiteX169" fmla="*/ 7326160 w 9667345"/>
              <a:gd name="connsiteY169" fmla="*/ 6045935 h 6858889"/>
              <a:gd name="connsiteX170" fmla="*/ 8617983 w 9667345"/>
              <a:gd name="connsiteY170" fmla="*/ 6440527 h 6858889"/>
              <a:gd name="connsiteX171" fmla="*/ 9667345 w 9667345"/>
              <a:gd name="connsiteY171" fmla="*/ 6632852 h 6858889"/>
              <a:gd name="connsiteX172" fmla="*/ 9667345 w 9667345"/>
              <a:gd name="connsiteY172" fmla="*/ 6642793 h 6858889"/>
              <a:gd name="connsiteX173" fmla="*/ 8614525 w 9667345"/>
              <a:gd name="connsiteY173" fmla="*/ 6448739 h 6858889"/>
              <a:gd name="connsiteX174" fmla="*/ 7316220 w 9667345"/>
              <a:gd name="connsiteY174" fmla="*/ 6054147 h 6858889"/>
              <a:gd name="connsiteX175" fmla="*/ 6884460 w 9667345"/>
              <a:gd name="connsiteY175" fmla="*/ 5868305 h 6858889"/>
              <a:gd name="connsiteX176" fmla="*/ 5522623 w 9667345"/>
              <a:gd name="connsiteY176" fmla="*/ 4969778 h 6858889"/>
              <a:gd name="connsiteX177" fmla="*/ 5234783 w 9667345"/>
              <a:gd name="connsiteY177" fmla="*/ 4649523 h 6858889"/>
              <a:gd name="connsiteX178" fmla="*/ 4628850 w 9667345"/>
              <a:gd name="connsiteY178" fmla="*/ 3055167 h 6858889"/>
              <a:gd name="connsiteX179" fmla="*/ 4638790 w 9667345"/>
              <a:gd name="connsiteY179" fmla="*/ 2004076 h 6858889"/>
              <a:gd name="connsiteX180" fmla="*/ 4906318 w 9667345"/>
              <a:gd name="connsiteY180" fmla="*/ 1303924 h 6858889"/>
              <a:gd name="connsiteX181" fmla="*/ 5070118 w 9667345"/>
              <a:gd name="connsiteY181" fmla="*/ 927917 h 6858889"/>
              <a:gd name="connsiteX182" fmla="*/ 5293994 w 9667345"/>
              <a:gd name="connsiteY182" fmla="*/ 1297 h 6858889"/>
              <a:gd name="connsiteX183" fmla="*/ 5150073 w 9667345"/>
              <a:gd name="connsiteY183" fmla="*/ 1297 h 6858889"/>
              <a:gd name="connsiteX184" fmla="*/ 5163472 w 9667345"/>
              <a:gd name="connsiteY184" fmla="*/ 1297 h 6858889"/>
              <a:gd name="connsiteX185" fmla="*/ 4942621 w 9667345"/>
              <a:gd name="connsiteY185" fmla="*/ 969840 h 6858889"/>
              <a:gd name="connsiteX186" fmla="*/ 4781845 w 9667345"/>
              <a:gd name="connsiteY186" fmla="*/ 1343686 h 6858889"/>
              <a:gd name="connsiteX187" fmla="*/ 4517344 w 9667345"/>
              <a:gd name="connsiteY187" fmla="*/ 2049888 h 6858889"/>
              <a:gd name="connsiteX188" fmla="*/ 4517344 w 9667345"/>
              <a:gd name="connsiteY188" fmla="*/ 3098818 h 6858889"/>
              <a:gd name="connsiteX189" fmla="*/ 5136243 w 9667345"/>
              <a:gd name="connsiteY189" fmla="*/ 4691014 h 6858889"/>
              <a:gd name="connsiteX190" fmla="*/ 5424084 w 9667345"/>
              <a:gd name="connsiteY190" fmla="*/ 5011268 h 6858889"/>
              <a:gd name="connsiteX191" fmla="*/ 6789377 w 9667345"/>
              <a:gd name="connsiteY191" fmla="*/ 5905473 h 6858889"/>
              <a:gd name="connsiteX192" fmla="*/ 7224595 w 9667345"/>
              <a:gd name="connsiteY192" fmla="*/ 6091316 h 6858889"/>
              <a:gd name="connsiteX193" fmla="*/ 8519875 w 9667345"/>
              <a:gd name="connsiteY193" fmla="*/ 6487636 h 6858889"/>
              <a:gd name="connsiteX194" fmla="*/ 9666480 w 9667345"/>
              <a:gd name="connsiteY194" fmla="*/ 6699411 h 6858889"/>
              <a:gd name="connsiteX195" fmla="*/ 9666480 w 9667345"/>
              <a:gd name="connsiteY195" fmla="*/ 6708918 h 6858889"/>
              <a:gd name="connsiteX196" fmla="*/ 8513393 w 9667345"/>
              <a:gd name="connsiteY196" fmla="*/ 6495848 h 6858889"/>
              <a:gd name="connsiteX197" fmla="*/ 7218112 w 9667345"/>
              <a:gd name="connsiteY197" fmla="*/ 6099527 h 6858889"/>
              <a:gd name="connsiteX198" fmla="*/ 6779869 w 9667345"/>
              <a:gd name="connsiteY198" fmla="*/ 5911524 h 6858889"/>
              <a:gd name="connsiteX199" fmla="*/ 5411118 w 9667345"/>
              <a:gd name="connsiteY199" fmla="*/ 5015158 h 6858889"/>
              <a:gd name="connsiteX200" fmla="*/ 5123278 w 9667345"/>
              <a:gd name="connsiteY200" fmla="*/ 4694903 h 6858889"/>
              <a:gd name="connsiteX201" fmla="*/ 4504379 w 9667345"/>
              <a:gd name="connsiteY201" fmla="*/ 3100547 h 6858889"/>
              <a:gd name="connsiteX202" fmla="*/ 4504379 w 9667345"/>
              <a:gd name="connsiteY202" fmla="*/ 2047294 h 6858889"/>
              <a:gd name="connsiteX203" fmla="*/ 4768880 w 9667345"/>
              <a:gd name="connsiteY203" fmla="*/ 1341093 h 6858889"/>
              <a:gd name="connsiteX204" fmla="*/ 4929656 w 9667345"/>
              <a:gd name="connsiteY204" fmla="*/ 967246 h 6858889"/>
              <a:gd name="connsiteX205" fmla="*/ 5150073 w 9667345"/>
              <a:gd name="connsiteY205" fmla="*/ 1297 h 6858889"/>
              <a:gd name="connsiteX206" fmla="*/ 5008747 w 9667345"/>
              <a:gd name="connsiteY206" fmla="*/ 1297 h 6858889"/>
              <a:gd name="connsiteX207" fmla="*/ 5022145 w 9667345"/>
              <a:gd name="connsiteY207" fmla="*/ 1297 h 6858889"/>
              <a:gd name="connsiteX208" fmla="*/ 4801294 w 9667345"/>
              <a:gd name="connsiteY208" fmla="*/ 1009169 h 6858889"/>
              <a:gd name="connsiteX209" fmla="*/ 4643977 w 9667345"/>
              <a:gd name="connsiteY209" fmla="*/ 1378694 h 6858889"/>
              <a:gd name="connsiteX210" fmla="*/ 4386390 w 9667345"/>
              <a:gd name="connsiteY210" fmla="*/ 2093107 h 6858889"/>
              <a:gd name="connsiteX211" fmla="*/ 4389848 w 9667345"/>
              <a:gd name="connsiteY211" fmla="*/ 3144198 h 6858889"/>
              <a:gd name="connsiteX212" fmla="*/ 5022145 w 9667345"/>
              <a:gd name="connsiteY212" fmla="*/ 4736393 h 6858889"/>
              <a:gd name="connsiteX213" fmla="*/ 5313442 w 9667345"/>
              <a:gd name="connsiteY213" fmla="*/ 5056648 h 6858889"/>
              <a:gd name="connsiteX214" fmla="*/ 6688676 w 9667345"/>
              <a:gd name="connsiteY214" fmla="*/ 5948692 h 6858889"/>
              <a:gd name="connsiteX215" fmla="*/ 7123895 w 9667345"/>
              <a:gd name="connsiteY215" fmla="*/ 6136696 h 6858889"/>
              <a:gd name="connsiteX216" fmla="*/ 8419174 w 9667345"/>
              <a:gd name="connsiteY216" fmla="*/ 6537339 h 6858889"/>
              <a:gd name="connsiteX217" fmla="*/ 9666049 w 9667345"/>
              <a:gd name="connsiteY217" fmla="*/ 6767264 h 6858889"/>
              <a:gd name="connsiteX218" fmla="*/ 9666049 w 9667345"/>
              <a:gd name="connsiteY218" fmla="*/ 6775908 h 6858889"/>
              <a:gd name="connsiteX219" fmla="*/ 8412691 w 9667345"/>
              <a:gd name="connsiteY219" fmla="*/ 6545550 h 6858889"/>
              <a:gd name="connsiteX220" fmla="*/ 7117412 w 9667345"/>
              <a:gd name="connsiteY220" fmla="*/ 6142747 h 6858889"/>
              <a:gd name="connsiteX221" fmla="*/ 6679169 w 9667345"/>
              <a:gd name="connsiteY221" fmla="*/ 5956904 h 6858889"/>
              <a:gd name="connsiteX222" fmla="*/ 5303934 w 9667345"/>
              <a:gd name="connsiteY222" fmla="*/ 5060537 h 6858889"/>
              <a:gd name="connsiteX223" fmla="*/ 5009611 w 9667345"/>
              <a:gd name="connsiteY223" fmla="*/ 4740283 h 6858889"/>
              <a:gd name="connsiteX224" fmla="*/ 4377314 w 9667345"/>
              <a:gd name="connsiteY224" fmla="*/ 3145926 h 6858889"/>
              <a:gd name="connsiteX225" fmla="*/ 4370831 w 9667345"/>
              <a:gd name="connsiteY225" fmla="*/ 2090514 h 6858889"/>
              <a:gd name="connsiteX226" fmla="*/ 4631875 w 9667345"/>
              <a:gd name="connsiteY226" fmla="*/ 1376100 h 6858889"/>
              <a:gd name="connsiteX227" fmla="*/ 4789193 w 9667345"/>
              <a:gd name="connsiteY227" fmla="*/ 1006575 h 6858889"/>
              <a:gd name="connsiteX228" fmla="*/ 5008747 w 9667345"/>
              <a:gd name="connsiteY228" fmla="*/ 1297 h 6858889"/>
              <a:gd name="connsiteX229" fmla="*/ 4865691 w 9667345"/>
              <a:gd name="connsiteY229" fmla="*/ 1297 h 6858889"/>
              <a:gd name="connsiteX230" fmla="*/ 4879089 w 9667345"/>
              <a:gd name="connsiteY230" fmla="*/ 1297 h 6858889"/>
              <a:gd name="connsiteX231" fmla="*/ 4661697 w 9667345"/>
              <a:gd name="connsiteY231" fmla="*/ 1048499 h 6858889"/>
              <a:gd name="connsiteX232" fmla="*/ 4507836 w 9667345"/>
              <a:gd name="connsiteY232" fmla="*/ 1416295 h 6858889"/>
              <a:gd name="connsiteX233" fmla="*/ 4253707 w 9667345"/>
              <a:gd name="connsiteY233" fmla="*/ 2135030 h 6858889"/>
              <a:gd name="connsiteX234" fmla="*/ 4267105 w 9667345"/>
              <a:gd name="connsiteY234" fmla="*/ 3190442 h 6858889"/>
              <a:gd name="connsiteX235" fmla="*/ 4909775 w 9667345"/>
              <a:gd name="connsiteY235" fmla="*/ 4782638 h 6858889"/>
              <a:gd name="connsiteX236" fmla="*/ 5207555 w 9667345"/>
              <a:gd name="connsiteY236" fmla="*/ 5102893 h 6858889"/>
              <a:gd name="connsiteX237" fmla="*/ 6586247 w 9667345"/>
              <a:gd name="connsiteY237" fmla="*/ 5994937 h 6858889"/>
              <a:gd name="connsiteX238" fmla="*/ 7024491 w 9667345"/>
              <a:gd name="connsiteY238" fmla="*/ 6180779 h 6858889"/>
              <a:gd name="connsiteX239" fmla="*/ 8319770 w 9667345"/>
              <a:gd name="connsiteY239" fmla="*/ 6585744 h 6858889"/>
              <a:gd name="connsiteX240" fmla="*/ 9666913 w 9667345"/>
              <a:gd name="connsiteY240" fmla="*/ 6835982 h 6858889"/>
              <a:gd name="connsiteX241" fmla="*/ 9666913 w 9667345"/>
              <a:gd name="connsiteY241" fmla="*/ 6844626 h 6858889"/>
              <a:gd name="connsiteX242" fmla="*/ 8316312 w 9667345"/>
              <a:gd name="connsiteY242" fmla="*/ 6593955 h 6858889"/>
              <a:gd name="connsiteX243" fmla="*/ 7018008 w 9667345"/>
              <a:gd name="connsiteY243" fmla="*/ 6188992 h 6858889"/>
              <a:gd name="connsiteX244" fmla="*/ 6579764 w 9667345"/>
              <a:gd name="connsiteY244" fmla="*/ 6000988 h 6858889"/>
              <a:gd name="connsiteX245" fmla="*/ 5194157 w 9667345"/>
              <a:gd name="connsiteY245" fmla="*/ 5106782 h 6858889"/>
              <a:gd name="connsiteX246" fmla="*/ 4899835 w 9667345"/>
              <a:gd name="connsiteY246" fmla="*/ 4786528 h 6858889"/>
              <a:gd name="connsiteX247" fmla="*/ 4254139 w 9667345"/>
              <a:gd name="connsiteY247" fmla="*/ 3190010 h 6858889"/>
              <a:gd name="connsiteX248" fmla="*/ 4240741 w 9667345"/>
              <a:gd name="connsiteY248" fmla="*/ 2134598 h 6858889"/>
              <a:gd name="connsiteX249" fmla="*/ 4494870 w 9667345"/>
              <a:gd name="connsiteY249" fmla="*/ 1413701 h 6858889"/>
              <a:gd name="connsiteX250" fmla="*/ 4645273 w 9667345"/>
              <a:gd name="connsiteY250" fmla="*/ 1045906 h 6858889"/>
              <a:gd name="connsiteX251" fmla="*/ 4865691 w 9667345"/>
              <a:gd name="connsiteY251" fmla="*/ 1297 h 6858889"/>
              <a:gd name="connsiteX252" fmla="*/ 4438253 w 9667345"/>
              <a:gd name="connsiteY252" fmla="*/ 1297 h 6858889"/>
              <a:gd name="connsiteX253" fmla="*/ 4451652 w 9667345"/>
              <a:gd name="connsiteY253" fmla="*/ 1297 h 6858889"/>
              <a:gd name="connsiteX254" fmla="*/ 4237284 w 9667345"/>
              <a:gd name="connsiteY254" fmla="*/ 1163894 h 6858889"/>
              <a:gd name="connsiteX255" fmla="*/ 4096821 w 9667345"/>
              <a:gd name="connsiteY255" fmla="*/ 1525207 h 6858889"/>
              <a:gd name="connsiteX256" fmla="*/ 3852633 w 9667345"/>
              <a:gd name="connsiteY256" fmla="*/ 2264687 h 6858889"/>
              <a:gd name="connsiteX257" fmla="*/ 3889369 w 9667345"/>
              <a:gd name="connsiteY257" fmla="*/ 3323990 h 6858889"/>
              <a:gd name="connsiteX258" fmla="*/ 4575258 w 9667345"/>
              <a:gd name="connsiteY258" fmla="*/ 4918347 h 6858889"/>
              <a:gd name="connsiteX259" fmla="*/ 4879953 w 9667345"/>
              <a:gd name="connsiteY259" fmla="*/ 5236440 h 6858889"/>
              <a:gd name="connsiteX260" fmla="*/ 6285442 w 9667345"/>
              <a:gd name="connsiteY260" fmla="*/ 6126323 h 6858889"/>
              <a:gd name="connsiteX261" fmla="*/ 6723685 w 9667345"/>
              <a:gd name="connsiteY261" fmla="*/ 6314327 h 6858889"/>
              <a:gd name="connsiteX262" fmla="*/ 8021989 w 9667345"/>
              <a:gd name="connsiteY262" fmla="*/ 6729231 h 6858889"/>
              <a:gd name="connsiteX263" fmla="*/ 8590321 w 9667345"/>
              <a:gd name="connsiteY263" fmla="*/ 6858456 h 6858889"/>
              <a:gd name="connsiteX264" fmla="*/ 8546671 w 9667345"/>
              <a:gd name="connsiteY264" fmla="*/ 6858456 h 6858889"/>
              <a:gd name="connsiteX265" fmla="*/ 8018964 w 9667345"/>
              <a:gd name="connsiteY265" fmla="*/ 6737876 h 6858889"/>
              <a:gd name="connsiteX266" fmla="*/ 6717202 w 9667345"/>
              <a:gd name="connsiteY266" fmla="*/ 6322971 h 6858889"/>
              <a:gd name="connsiteX267" fmla="*/ 6275502 w 9667345"/>
              <a:gd name="connsiteY267" fmla="*/ 6134968 h 6858889"/>
              <a:gd name="connsiteX268" fmla="*/ 4866555 w 9667345"/>
              <a:gd name="connsiteY268" fmla="*/ 5242923 h 6858889"/>
              <a:gd name="connsiteX269" fmla="*/ 4561860 w 9667345"/>
              <a:gd name="connsiteY269" fmla="*/ 4922669 h 6858889"/>
              <a:gd name="connsiteX270" fmla="*/ 3875971 w 9667345"/>
              <a:gd name="connsiteY270" fmla="*/ 3326151 h 6858889"/>
              <a:gd name="connsiteX271" fmla="*/ 3839235 w 9667345"/>
              <a:gd name="connsiteY271" fmla="*/ 2262526 h 6858889"/>
              <a:gd name="connsiteX272" fmla="*/ 4083423 w 9667345"/>
              <a:gd name="connsiteY272" fmla="*/ 1523045 h 6858889"/>
              <a:gd name="connsiteX273" fmla="*/ 4223886 w 9667345"/>
              <a:gd name="connsiteY273" fmla="*/ 1161733 h 6858889"/>
              <a:gd name="connsiteX274" fmla="*/ 4438253 w 9667345"/>
              <a:gd name="connsiteY274" fmla="*/ 1297 h 6858889"/>
              <a:gd name="connsiteX275" fmla="*/ 3715197 w 9667345"/>
              <a:gd name="connsiteY275" fmla="*/ 1297 h 6858889"/>
              <a:gd name="connsiteX276" fmla="*/ 3728595 w 9667345"/>
              <a:gd name="connsiteY276" fmla="*/ 1297 h 6858889"/>
              <a:gd name="connsiteX277" fmla="*/ 3531083 w 9667345"/>
              <a:gd name="connsiteY277" fmla="*/ 1357948 h 6858889"/>
              <a:gd name="connsiteX278" fmla="*/ 3410501 w 9667345"/>
              <a:gd name="connsiteY278" fmla="*/ 1704998 h 6858889"/>
              <a:gd name="connsiteX279" fmla="*/ 3186194 w 9667345"/>
              <a:gd name="connsiteY279" fmla="*/ 2479486 h 6858889"/>
              <a:gd name="connsiteX280" fmla="*/ 3259665 w 9667345"/>
              <a:gd name="connsiteY280" fmla="*/ 3549162 h 6858889"/>
              <a:gd name="connsiteX281" fmla="*/ 4012544 w 9667345"/>
              <a:gd name="connsiteY281" fmla="*/ 5147409 h 6858889"/>
              <a:gd name="connsiteX282" fmla="*/ 4330638 w 9667345"/>
              <a:gd name="connsiteY282" fmla="*/ 5463341 h 6858889"/>
              <a:gd name="connsiteX283" fmla="*/ 5776320 w 9667345"/>
              <a:gd name="connsiteY283" fmla="*/ 6347174 h 6858889"/>
              <a:gd name="connsiteX284" fmla="*/ 6221478 w 9667345"/>
              <a:gd name="connsiteY284" fmla="*/ 6539067 h 6858889"/>
              <a:gd name="connsiteX285" fmla="*/ 7132106 w 9667345"/>
              <a:gd name="connsiteY285" fmla="*/ 6858889 h 6858889"/>
              <a:gd name="connsiteX286" fmla="*/ 7102285 w 9667345"/>
              <a:gd name="connsiteY286" fmla="*/ 6858889 h 6858889"/>
              <a:gd name="connsiteX287" fmla="*/ 6214995 w 9667345"/>
              <a:gd name="connsiteY287" fmla="*/ 6546414 h 6858889"/>
              <a:gd name="connsiteX288" fmla="*/ 5769837 w 9667345"/>
              <a:gd name="connsiteY288" fmla="*/ 6356249 h 6858889"/>
              <a:gd name="connsiteX289" fmla="*/ 4320697 w 9667345"/>
              <a:gd name="connsiteY289" fmla="*/ 5468095 h 6858889"/>
              <a:gd name="connsiteX290" fmla="*/ 3999578 w 9667345"/>
              <a:gd name="connsiteY290" fmla="*/ 5152162 h 6858889"/>
              <a:gd name="connsiteX291" fmla="*/ 3243243 w 9667345"/>
              <a:gd name="connsiteY291" fmla="*/ 3549594 h 6858889"/>
              <a:gd name="connsiteX292" fmla="*/ 3172796 w 9667345"/>
              <a:gd name="connsiteY292" fmla="*/ 2477758 h 6858889"/>
              <a:gd name="connsiteX293" fmla="*/ 3397102 w 9667345"/>
              <a:gd name="connsiteY293" fmla="*/ 1703270 h 6858889"/>
              <a:gd name="connsiteX294" fmla="*/ 3514226 w 9667345"/>
              <a:gd name="connsiteY294" fmla="*/ 1356220 h 6858889"/>
              <a:gd name="connsiteX295" fmla="*/ 3715197 w 9667345"/>
              <a:gd name="connsiteY295" fmla="*/ 1297 h 6858889"/>
              <a:gd name="connsiteX296" fmla="*/ 3566955 w 9667345"/>
              <a:gd name="connsiteY296" fmla="*/ 1297 h 6858889"/>
              <a:gd name="connsiteX297" fmla="*/ 3583809 w 9667345"/>
              <a:gd name="connsiteY297" fmla="*/ 1297 h 6858889"/>
              <a:gd name="connsiteX298" fmla="*/ 3386299 w 9667345"/>
              <a:gd name="connsiteY298" fmla="*/ 1395117 h 6858889"/>
              <a:gd name="connsiteX299" fmla="*/ 3272631 w 9667345"/>
              <a:gd name="connsiteY299" fmla="*/ 1740006 h 6858889"/>
              <a:gd name="connsiteX300" fmla="*/ 3055239 w 9667345"/>
              <a:gd name="connsiteY300" fmla="*/ 2520545 h 6858889"/>
              <a:gd name="connsiteX301" fmla="*/ 3132169 w 9667345"/>
              <a:gd name="connsiteY301" fmla="*/ 3592381 h 6858889"/>
              <a:gd name="connsiteX302" fmla="*/ 3898445 w 9667345"/>
              <a:gd name="connsiteY302" fmla="*/ 5192789 h 6858889"/>
              <a:gd name="connsiteX303" fmla="*/ 4223022 w 9667345"/>
              <a:gd name="connsiteY303" fmla="*/ 5508721 h 6858889"/>
              <a:gd name="connsiteX304" fmla="*/ 5675619 w 9667345"/>
              <a:gd name="connsiteY304" fmla="*/ 6392554 h 6858889"/>
              <a:gd name="connsiteX305" fmla="*/ 6120777 w 9667345"/>
              <a:gd name="connsiteY305" fmla="*/ 6584447 h 6858889"/>
              <a:gd name="connsiteX306" fmla="*/ 6884460 w 9667345"/>
              <a:gd name="connsiteY306" fmla="*/ 6858024 h 6858889"/>
              <a:gd name="connsiteX307" fmla="*/ 6853343 w 9667345"/>
              <a:gd name="connsiteY307" fmla="*/ 6858024 h 6858889"/>
              <a:gd name="connsiteX308" fmla="*/ 6113862 w 9667345"/>
              <a:gd name="connsiteY308" fmla="*/ 6590931 h 6858889"/>
              <a:gd name="connsiteX309" fmla="*/ 5665247 w 9667345"/>
              <a:gd name="connsiteY309" fmla="*/ 6399037 h 6858889"/>
              <a:gd name="connsiteX310" fmla="*/ 4209623 w 9667345"/>
              <a:gd name="connsiteY310" fmla="*/ 5513043 h 6858889"/>
              <a:gd name="connsiteX311" fmla="*/ 3888505 w 9667345"/>
              <a:gd name="connsiteY311" fmla="*/ 5197111 h 6858889"/>
              <a:gd name="connsiteX312" fmla="*/ 3118771 w 9667345"/>
              <a:gd name="connsiteY312" fmla="*/ 3594543 h 6858889"/>
              <a:gd name="connsiteX313" fmla="*/ 3038384 w 9667345"/>
              <a:gd name="connsiteY313" fmla="*/ 2520545 h 6858889"/>
              <a:gd name="connsiteX314" fmla="*/ 3259234 w 9667345"/>
              <a:gd name="connsiteY314" fmla="*/ 1737845 h 6858889"/>
              <a:gd name="connsiteX315" fmla="*/ 3372899 w 9667345"/>
              <a:gd name="connsiteY315" fmla="*/ 1395117 h 6858889"/>
              <a:gd name="connsiteX316" fmla="*/ 3566955 w 9667345"/>
              <a:gd name="connsiteY316" fmla="*/ 1297 h 6858889"/>
              <a:gd name="connsiteX317" fmla="*/ 3423467 w 9667345"/>
              <a:gd name="connsiteY317" fmla="*/ 1297 h 6858889"/>
              <a:gd name="connsiteX318" fmla="*/ 3436865 w 9667345"/>
              <a:gd name="connsiteY318" fmla="*/ 1297 h 6858889"/>
              <a:gd name="connsiteX319" fmla="*/ 3246268 w 9667345"/>
              <a:gd name="connsiteY319" fmla="*/ 1434446 h 6858889"/>
              <a:gd name="connsiteX320" fmla="*/ 3135627 w 9667345"/>
              <a:gd name="connsiteY320" fmla="*/ 1775013 h 6858889"/>
              <a:gd name="connsiteX321" fmla="*/ 2921258 w 9667345"/>
              <a:gd name="connsiteY321" fmla="*/ 2563764 h 6858889"/>
              <a:gd name="connsiteX322" fmla="*/ 3005104 w 9667345"/>
              <a:gd name="connsiteY322" fmla="*/ 3637761 h 6858889"/>
              <a:gd name="connsiteX323" fmla="*/ 3788238 w 9667345"/>
              <a:gd name="connsiteY323" fmla="*/ 5238168 h 6858889"/>
              <a:gd name="connsiteX324" fmla="*/ 4112813 w 9667345"/>
              <a:gd name="connsiteY324" fmla="*/ 5554101 h 6858889"/>
              <a:gd name="connsiteX325" fmla="*/ 5575351 w 9667345"/>
              <a:gd name="connsiteY325" fmla="*/ 6435773 h 6858889"/>
              <a:gd name="connsiteX326" fmla="*/ 6020509 w 9667345"/>
              <a:gd name="connsiteY326" fmla="*/ 6627666 h 6858889"/>
              <a:gd name="connsiteX327" fmla="*/ 6644161 w 9667345"/>
              <a:gd name="connsiteY327" fmla="*/ 6857592 h 6858889"/>
              <a:gd name="connsiteX328" fmla="*/ 6615637 w 9667345"/>
              <a:gd name="connsiteY328" fmla="*/ 6857592 h 6858889"/>
              <a:gd name="connsiteX329" fmla="*/ 6014025 w 9667345"/>
              <a:gd name="connsiteY329" fmla="*/ 6635877 h 6858889"/>
              <a:gd name="connsiteX330" fmla="*/ 5565410 w 9667345"/>
              <a:gd name="connsiteY330" fmla="*/ 6443985 h 6858889"/>
              <a:gd name="connsiteX331" fmla="*/ 4102871 w 9667345"/>
              <a:gd name="connsiteY331" fmla="*/ 5557991 h 6858889"/>
              <a:gd name="connsiteX332" fmla="*/ 3774838 w 9667345"/>
              <a:gd name="connsiteY332" fmla="*/ 5242058 h 6858889"/>
              <a:gd name="connsiteX333" fmla="*/ 2991707 w 9667345"/>
              <a:gd name="connsiteY333" fmla="*/ 3639491 h 6858889"/>
              <a:gd name="connsiteX334" fmla="*/ 2907861 w 9667345"/>
              <a:gd name="connsiteY334" fmla="*/ 2563764 h 6858889"/>
              <a:gd name="connsiteX335" fmla="*/ 3122227 w 9667345"/>
              <a:gd name="connsiteY335" fmla="*/ 1775013 h 6858889"/>
              <a:gd name="connsiteX336" fmla="*/ 3232870 w 9667345"/>
              <a:gd name="connsiteY336" fmla="*/ 1432286 h 6858889"/>
              <a:gd name="connsiteX337" fmla="*/ 3423467 w 9667345"/>
              <a:gd name="connsiteY337" fmla="*/ 1297 h 6858889"/>
              <a:gd name="connsiteX338" fmla="*/ 3276521 w 9667345"/>
              <a:gd name="connsiteY338" fmla="*/ 1297 h 6858889"/>
              <a:gd name="connsiteX339" fmla="*/ 3293377 w 9667345"/>
              <a:gd name="connsiteY339" fmla="*/ 1297 h 6858889"/>
              <a:gd name="connsiteX340" fmla="*/ 3105805 w 9667345"/>
              <a:gd name="connsiteY340" fmla="*/ 1473776 h 6858889"/>
              <a:gd name="connsiteX341" fmla="*/ 2998622 w 9667345"/>
              <a:gd name="connsiteY341" fmla="*/ 1812614 h 6858889"/>
              <a:gd name="connsiteX342" fmla="*/ 2787713 w 9667345"/>
              <a:gd name="connsiteY342" fmla="*/ 2607848 h 6858889"/>
              <a:gd name="connsiteX343" fmla="*/ 2881497 w 9667345"/>
              <a:gd name="connsiteY343" fmla="*/ 3683573 h 6858889"/>
              <a:gd name="connsiteX344" fmla="*/ 3674571 w 9667345"/>
              <a:gd name="connsiteY344" fmla="*/ 5283981 h 6858889"/>
              <a:gd name="connsiteX345" fmla="*/ 4002604 w 9667345"/>
              <a:gd name="connsiteY345" fmla="*/ 5599913 h 6858889"/>
              <a:gd name="connsiteX346" fmla="*/ 5471625 w 9667345"/>
              <a:gd name="connsiteY346" fmla="*/ 6481585 h 6858889"/>
              <a:gd name="connsiteX347" fmla="*/ 5920240 w 9667345"/>
              <a:gd name="connsiteY347" fmla="*/ 6673478 h 6858889"/>
              <a:gd name="connsiteX348" fmla="*/ 6409913 w 9667345"/>
              <a:gd name="connsiteY348" fmla="*/ 6858024 h 6858889"/>
              <a:gd name="connsiteX349" fmla="*/ 6380956 w 9667345"/>
              <a:gd name="connsiteY349" fmla="*/ 6858024 h 6858889"/>
              <a:gd name="connsiteX350" fmla="*/ 5913757 w 9667345"/>
              <a:gd name="connsiteY350" fmla="*/ 6679961 h 6858889"/>
              <a:gd name="connsiteX351" fmla="*/ 5465142 w 9667345"/>
              <a:gd name="connsiteY351" fmla="*/ 6488068 h 6858889"/>
              <a:gd name="connsiteX352" fmla="*/ 3992663 w 9667345"/>
              <a:gd name="connsiteY352" fmla="*/ 5604236 h 6858889"/>
              <a:gd name="connsiteX353" fmla="*/ 3664629 w 9667345"/>
              <a:gd name="connsiteY353" fmla="*/ 5288303 h 6858889"/>
              <a:gd name="connsiteX354" fmla="*/ 2864642 w 9667345"/>
              <a:gd name="connsiteY354" fmla="*/ 3685734 h 6858889"/>
              <a:gd name="connsiteX355" fmla="*/ 2774314 w 9667345"/>
              <a:gd name="connsiteY355" fmla="*/ 2605687 h 6858889"/>
              <a:gd name="connsiteX356" fmla="*/ 2981766 w 9667345"/>
              <a:gd name="connsiteY356" fmla="*/ 1810454 h 6858889"/>
              <a:gd name="connsiteX357" fmla="*/ 3092408 w 9667345"/>
              <a:gd name="connsiteY357" fmla="*/ 1471615 h 6858889"/>
              <a:gd name="connsiteX358" fmla="*/ 3276521 w 9667345"/>
              <a:gd name="connsiteY358" fmla="*/ 1297 h 6858889"/>
              <a:gd name="connsiteX359" fmla="*/ 3132169 w 9667345"/>
              <a:gd name="connsiteY359" fmla="*/ 1297 h 6858889"/>
              <a:gd name="connsiteX360" fmla="*/ 3145566 w 9667345"/>
              <a:gd name="connsiteY360" fmla="*/ 1297 h 6858889"/>
              <a:gd name="connsiteX361" fmla="*/ 2964911 w 9667345"/>
              <a:gd name="connsiteY361" fmla="*/ 1513105 h 6858889"/>
              <a:gd name="connsiteX362" fmla="*/ 2857726 w 9667345"/>
              <a:gd name="connsiteY362" fmla="*/ 1845461 h 6858889"/>
              <a:gd name="connsiteX363" fmla="*/ 2653732 w 9667345"/>
              <a:gd name="connsiteY363" fmla="*/ 2651066 h 6858889"/>
              <a:gd name="connsiteX364" fmla="*/ 2754001 w 9667345"/>
              <a:gd name="connsiteY364" fmla="*/ 3728954 h 6858889"/>
              <a:gd name="connsiteX365" fmla="*/ 3563930 w 9667345"/>
              <a:gd name="connsiteY365" fmla="*/ 5329361 h 6858889"/>
              <a:gd name="connsiteX366" fmla="*/ 3895420 w 9667345"/>
              <a:gd name="connsiteY366" fmla="*/ 5643133 h 6858889"/>
              <a:gd name="connsiteX367" fmla="*/ 5371356 w 9667345"/>
              <a:gd name="connsiteY367" fmla="*/ 6524804 h 6858889"/>
              <a:gd name="connsiteX368" fmla="*/ 5819971 w 9667345"/>
              <a:gd name="connsiteY368" fmla="*/ 6718859 h 6858889"/>
              <a:gd name="connsiteX369" fmla="*/ 6183877 w 9667345"/>
              <a:gd name="connsiteY369" fmla="*/ 6858024 h 6858889"/>
              <a:gd name="connsiteX370" fmla="*/ 6156648 w 9667345"/>
              <a:gd name="connsiteY370" fmla="*/ 6858024 h 6858889"/>
              <a:gd name="connsiteX371" fmla="*/ 5813056 w 9667345"/>
              <a:gd name="connsiteY371" fmla="*/ 6725342 h 6858889"/>
              <a:gd name="connsiteX372" fmla="*/ 5364441 w 9667345"/>
              <a:gd name="connsiteY372" fmla="*/ 6531288 h 6858889"/>
              <a:gd name="connsiteX373" fmla="*/ 3882022 w 9667345"/>
              <a:gd name="connsiteY373" fmla="*/ 5649616 h 6858889"/>
              <a:gd name="connsiteX374" fmla="*/ 3550532 w 9667345"/>
              <a:gd name="connsiteY374" fmla="*/ 5333683 h 6858889"/>
              <a:gd name="connsiteX375" fmla="*/ 2740603 w 9667345"/>
              <a:gd name="connsiteY375" fmla="*/ 3728954 h 6858889"/>
              <a:gd name="connsiteX376" fmla="*/ 2640334 w 9667345"/>
              <a:gd name="connsiteY376" fmla="*/ 2648906 h 6858889"/>
              <a:gd name="connsiteX377" fmla="*/ 2844328 w 9667345"/>
              <a:gd name="connsiteY377" fmla="*/ 1845461 h 6858889"/>
              <a:gd name="connsiteX378" fmla="*/ 2948056 w 9667345"/>
              <a:gd name="connsiteY378" fmla="*/ 1510944 h 6858889"/>
              <a:gd name="connsiteX379" fmla="*/ 3132169 w 9667345"/>
              <a:gd name="connsiteY379" fmla="*/ 1297 h 6858889"/>
              <a:gd name="connsiteX380" fmla="*/ 1666605 w 9667345"/>
              <a:gd name="connsiteY380" fmla="*/ 1297 h 6858889"/>
              <a:gd name="connsiteX381" fmla="*/ 1680003 w 9667345"/>
              <a:gd name="connsiteY381" fmla="*/ 1297 h 6858889"/>
              <a:gd name="connsiteX382" fmla="*/ 1680003 w 9667345"/>
              <a:gd name="connsiteY382" fmla="*/ 19882 h 6858889"/>
              <a:gd name="connsiteX383" fmla="*/ 1549482 w 9667345"/>
              <a:gd name="connsiteY383" fmla="*/ 1899053 h 6858889"/>
              <a:gd name="connsiteX384" fmla="*/ 1482491 w 9667345"/>
              <a:gd name="connsiteY384" fmla="*/ 2186028 h 6858889"/>
              <a:gd name="connsiteX385" fmla="*/ 1321715 w 9667345"/>
              <a:gd name="connsiteY385" fmla="*/ 3078073 h 6858889"/>
              <a:gd name="connsiteX386" fmla="*/ 1495889 w 9667345"/>
              <a:gd name="connsiteY386" fmla="*/ 4176705 h 6858889"/>
              <a:gd name="connsiteX387" fmla="*/ 2439797 w 9667345"/>
              <a:gd name="connsiteY387" fmla="*/ 5785324 h 6858889"/>
              <a:gd name="connsiteX388" fmla="*/ 2801111 w 9667345"/>
              <a:gd name="connsiteY388" fmla="*/ 6095205 h 6858889"/>
              <a:gd name="connsiteX389" fmla="*/ 4120160 w 9667345"/>
              <a:gd name="connsiteY389" fmla="*/ 6858024 h 6858889"/>
              <a:gd name="connsiteX390" fmla="*/ 4095092 w 9667345"/>
              <a:gd name="connsiteY390" fmla="*/ 6858024 h 6858889"/>
              <a:gd name="connsiteX391" fmla="*/ 2790738 w 9667345"/>
              <a:gd name="connsiteY391" fmla="*/ 6101688 h 6858889"/>
              <a:gd name="connsiteX392" fmla="*/ 2425967 w 9667345"/>
              <a:gd name="connsiteY392" fmla="*/ 5789646 h 6858889"/>
              <a:gd name="connsiteX393" fmla="*/ 1479034 w 9667345"/>
              <a:gd name="connsiteY393" fmla="*/ 4178866 h 6858889"/>
              <a:gd name="connsiteX394" fmla="*/ 1308318 w 9667345"/>
              <a:gd name="connsiteY394" fmla="*/ 3078073 h 6858889"/>
              <a:gd name="connsiteX395" fmla="*/ 1469093 w 9667345"/>
              <a:gd name="connsiteY395" fmla="*/ 2183867 h 6858889"/>
              <a:gd name="connsiteX396" fmla="*/ 1536083 w 9667345"/>
              <a:gd name="connsiteY396" fmla="*/ 1899053 h 6858889"/>
              <a:gd name="connsiteX397" fmla="*/ 1666605 w 9667345"/>
              <a:gd name="connsiteY397" fmla="*/ 19882 h 6858889"/>
              <a:gd name="connsiteX398" fmla="*/ 1666605 w 9667345"/>
              <a:gd name="connsiteY398" fmla="*/ 1297 h 6858889"/>
              <a:gd name="connsiteX399" fmla="*/ 5716245 w 9667345"/>
              <a:gd name="connsiteY399" fmla="*/ 865 h 6858889"/>
              <a:gd name="connsiteX400" fmla="*/ 5729643 w 9667345"/>
              <a:gd name="connsiteY400" fmla="*/ 865 h 6858889"/>
              <a:gd name="connsiteX401" fmla="*/ 5508793 w 9667345"/>
              <a:gd name="connsiteY401" fmla="*/ 814683 h 6858889"/>
              <a:gd name="connsiteX402" fmla="*/ 5334619 w 9667345"/>
              <a:gd name="connsiteY402" fmla="*/ 1194580 h 6858889"/>
              <a:gd name="connsiteX403" fmla="*/ 5053695 w 9667345"/>
              <a:gd name="connsiteY403" fmla="*/ 1878739 h 6858889"/>
              <a:gd name="connsiteX404" fmla="*/ 5023441 w 9667345"/>
              <a:gd name="connsiteY404" fmla="*/ 2919458 h 6858889"/>
              <a:gd name="connsiteX405" fmla="*/ 5585723 w 9667345"/>
              <a:gd name="connsiteY405" fmla="*/ 4509493 h 6858889"/>
              <a:gd name="connsiteX406" fmla="*/ 7626966 w 9667345"/>
              <a:gd name="connsiteY406" fmla="*/ 5911524 h 6858889"/>
              <a:gd name="connsiteX407" fmla="*/ 9666913 w 9667345"/>
              <a:gd name="connsiteY407" fmla="*/ 6434908 h 6858889"/>
              <a:gd name="connsiteX408" fmla="*/ 9666913 w 9667345"/>
              <a:gd name="connsiteY408" fmla="*/ 6443985 h 6858889"/>
              <a:gd name="connsiteX409" fmla="*/ 7617025 w 9667345"/>
              <a:gd name="connsiteY409" fmla="*/ 5919736 h 6858889"/>
              <a:gd name="connsiteX410" fmla="*/ 6425472 w 9667345"/>
              <a:gd name="connsiteY410" fmla="*/ 5306455 h 6858889"/>
              <a:gd name="connsiteX411" fmla="*/ 5572325 w 9667345"/>
              <a:gd name="connsiteY411" fmla="*/ 4513383 h 6858889"/>
              <a:gd name="connsiteX412" fmla="*/ 5006586 w 9667345"/>
              <a:gd name="connsiteY412" fmla="*/ 2921188 h 6858889"/>
              <a:gd name="connsiteX413" fmla="*/ 5036839 w 9667345"/>
              <a:gd name="connsiteY413" fmla="*/ 1876146 h 6858889"/>
              <a:gd name="connsiteX414" fmla="*/ 5321221 w 9667345"/>
              <a:gd name="connsiteY414" fmla="*/ 1192419 h 6858889"/>
              <a:gd name="connsiteX415" fmla="*/ 5495395 w 9667345"/>
              <a:gd name="connsiteY415" fmla="*/ 812521 h 6858889"/>
              <a:gd name="connsiteX416" fmla="*/ 5716245 w 9667345"/>
              <a:gd name="connsiteY416" fmla="*/ 865 h 6858889"/>
              <a:gd name="connsiteX417" fmla="*/ 4726525 w 9667345"/>
              <a:gd name="connsiteY417" fmla="*/ 865 h 6858889"/>
              <a:gd name="connsiteX418" fmla="*/ 4739923 w 9667345"/>
              <a:gd name="connsiteY418" fmla="*/ 865 h 6858889"/>
              <a:gd name="connsiteX419" fmla="*/ 4519073 w 9667345"/>
              <a:gd name="connsiteY419" fmla="*/ 1085235 h 6858889"/>
              <a:gd name="connsiteX420" fmla="*/ 4371695 w 9667345"/>
              <a:gd name="connsiteY420" fmla="*/ 1453030 h 6858889"/>
              <a:gd name="connsiteX421" fmla="*/ 4120592 w 9667345"/>
              <a:gd name="connsiteY421" fmla="*/ 2177816 h 6858889"/>
              <a:gd name="connsiteX422" fmla="*/ 4140473 w 9667345"/>
              <a:gd name="connsiteY422" fmla="*/ 3234958 h 6858889"/>
              <a:gd name="connsiteX423" fmla="*/ 4799566 w 9667345"/>
              <a:gd name="connsiteY423" fmla="*/ 4827154 h 6858889"/>
              <a:gd name="connsiteX424" fmla="*/ 5097346 w 9667345"/>
              <a:gd name="connsiteY424" fmla="*/ 5145247 h 6858889"/>
              <a:gd name="connsiteX425" fmla="*/ 6485979 w 9667345"/>
              <a:gd name="connsiteY425" fmla="*/ 6037292 h 6858889"/>
              <a:gd name="connsiteX426" fmla="*/ 6924221 w 9667345"/>
              <a:gd name="connsiteY426" fmla="*/ 6225295 h 6858889"/>
              <a:gd name="connsiteX427" fmla="*/ 8222527 w 9667345"/>
              <a:gd name="connsiteY427" fmla="*/ 6631988 h 6858889"/>
              <a:gd name="connsiteX428" fmla="*/ 9362217 w 9667345"/>
              <a:gd name="connsiteY428" fmla="*/ 6858024 h 6858889"/>
              <a:gd name="connsiteX429" fmla="*/ 9306465 w 9667345"/>
              <a:gd name="connsiteY429" fmla="*/ 6858024 h 6858889"/>
              <a:gd name="connsiteX430" fmla="*/ 8216044 w 9667345"/>
              <a:gd name="connsiteY430" fmla="*/ 6640632 h 6858889"/>
              <a:gd name="connsiteX431" fmla="*/ 6917738 w 9667345"/>
              <a:gd name="connsiteY431" fmla="*/ 6233939 h 6858889"/>
              <a:gd name="connsiteX432" fmla="*/ 6479496 w 9667345"/>
              <a:gd name="connsiteY432" fmla="*/ 6045935 h 6858889"/>
              <a:gd name="connsiteX433" fmla="*/ 5083948 w 9667345"/>
              <a:gd name="connsiteY433" fmla="*/ 5151730 h 6858889"/>
              <a:gd name="connsiteX434" fmla="*/ 4786168 w 9667345"/>
              <a:gd name="connsiteY434" fmla="*/ 4831476 h 6858889"/>
              <a:gd name="connsiteX435" fmla="*/ 4127075 w 9667345"/>
              <a:gd name="connsiteY435" fmla="*/ 3234958 h 6858889"/>
              <a:gd name="connsiteX436" fmla="*/ 4107194 w 9667345"/>
              <a:gd name="connsiteY436" fmla="*/ 2177816 h 6858889"/>
              <a:gd name="connsiteX437" fmla="*/ 4358298 w 9667345"/>
              <a:gd name="connsiteY437" fmla="*/ 1450869 h 6858889"/>
              <a:gd name="connsiteX438" fmla="*/ 4505676 w 9667345"/>
              <a:gd name="connsiteY438" fmla="*/ 1083075 h 6858889"/>
              <a:gd name="connsiteX439" fmla="*/ 4726525 w 9667345"/>
              <a:gd name="connsiteY439" fmla="*/ 865 h 6858889"/>
              <a:gd name="connsiteX440" fmla="*/ 4581741 w 9667345"/>
              <a:gd name="connsiteY440" fmla="*/ 865 h 6858889"/>
              <a:gd name="connsiteX441" fmla="*/ 4595139 w 9667345"/>
              <a:gd name="connsiteY441" fmla="*/ 865 h 6858889"/>
              <a:gd name="connsiteX442" fmla="*/ 4377746 w 9667345"/>
              <a:gd name="connsiteY442" fmla="*/ 1124132 h 6858889"/>
              <a:gd name="connsiteX443" fmla="*/ 4233826 w 9667345"/>
              <a:gd name="connsiteY443" fmla="*/ 1489767 h 6858889"/>
              <a:gd name="connsiteX444" fmla="*/ 3986180 w 9667345"/>
              <a:gd name="connsiteY444" fmla="*/ 2221036 h 6858889"/>
              <a:gd name="connsiteX445" fmla="*/ 4012976 w 9667345"/>
              <a:gd name="connsiteY445" fmla="*/ 3278178 h 6858889"/>
              <a:gd name="connsiteX446" fmla="*/ 4685467 w 9667345"/>
              <a:gd name="connsiteY446" fmla="*/ 4872534 h 6858889"/>
              <a:gd name="connsiteX447" fmla="*/ 4986705 w 9667345"/>
              <a:gd name="connsiteY447" fmla="*/ 5190628 h 6858889"/>
              <a:gd name="connsiteX448" fmla="*/ 6385711 w 9667345"/>
              <a:gd name="connsiteY448" fmla="*/ 6082672 h 6858889"/>
              <a:gd name="connsiteX449" fmla="*/ 6823953 w 9667345"/>
              <a:gd name="connsiteY449" fmla="*/ 6270675 h 6858889"/>
              <a:gd name="connsiteX450" fmla="*/ 8122259 w 9667345"/>
              <a:gd name="connsiteY450" fmla="*/ 6681690 h 6858889"/>
              <a:gd name="connsiteX451" fmla="*/ 8951634 w 9667345"/>
              <a:gd name="connsiteY451" fmla="*/ 6858456 h 6858889"/>
              <a:gd name="connsiteX452" fmla="*/ 8900205 w 9667345"/>
              <a:gd name="connsiteY452" fmla="*/ 6858456 h 6858889"/>
              <a:gd name="connsiteX453" fmla="*/ 8115776 w 9667345"/>
              <a:gd name="connsiteY453" fmla="*/ 6690766 h 6858889"/>
              <a:gd name="connsiteX454" fmla="*/ 6817470 w 9667345"/>
              <a:gd name="connsiteY454" fmla="*/ 6277591 h 6858889"/>
              <a:gd name="connsiteX455" fmla="*/ 6375770 w 9667345"/>
              <a:gd name="connsiteY455" fmla="*/ 6089588 h 6858889"/>
              <a:gd name="connsiteX456" fmla="*/ 4976765 w 9667345"/>
              <a:gd name="connsiteY456" fmla="*/ 5197543 h 6858889"/>
              <a:gd name="connsiteX457" fmla="*/ 4675527 w 9667345"/>
              <a:gd name="connsiteY457" fmla="*/ 4877289 h 6858889"/>
              <a:gd name="connsiteX458" fmla="*/ 3999578 w 9667345"/>
              <a:gd name="connsiteY458" fmla="*/ 3280771 h 6858889"/>
              <a:gd name="connsiteX459" fmla="*/ 3972783 w 9667345"/>
              <a:gd name="connsiteY459" fmla="*/ 2219307 h 6858889"/>
              <a:gd name="connsiteX460" fmla="*/ 4220429 w 9667345"/>
              <a:gd name="connsiteY460" fmla="*/ 1488038 h 6858889"/>
              <a:gd name="connsiteX461" fmla="*/ 4364348 w 9667345"/>
              <a:gd name="connsiteY461" fmla="*/ 1122404 h 6858889"/>
              <a:gd name="connsiteX462" fmla="*/ 4581741 w 9667345"/>
              <a:gd name="connsiteY462" fmla="*/ 865 h 6858889"/>
              <a:gd name="connsiteX463" fmla="*/ 4293901 w 9667345"/>
              <a:gd name="connsiteY463" fmla="*/ 865 h 6858889"/>
              <a:gd name="connsiteX464" fmla="*/ 4307299 w 9667345"/>
              <a:gd name="connsiteY464" fmla="*/ 865 h 6858889"/>
              <a:gd name="connsiteX465" fmla="*/ 4096389 w 9667345"/>
              <a:gd name="connsiteY465" fmla="*/ 1202791 h 6858889"/>
              <a:gd name="connsiteX466" fmla="*/ 3959384 w 9667345"/>
              <a:gd name="connsiteY466" fmla="*/ 1561942 h 6858889"/>
              <a:gd name="connsiteX467" fmla="*/ 3721679 w 9667345"/>
              <a:gd name="connsiteY467" fmla="*/ 2305314 h 6858889"/>
              <a:gd name="connsiteX468" fmla="*/ 3761872 w 9667345"/>
              <a:gd name="connsiteY468" fmla="*/ 3368937 h 6858889"/>
              <a:gd name="connsiteX469" fmla="*/ 4461159 w 9667345"/>
              <a:gd name="connsiteY469" fmla="*/ 4965455 h 6858889"/>
              <a:gd name="connsiteX470" fmla="*/ 4768880 w 9667345"/>
              <a:gd name="connsiteY470" fmla="*/ 5281388 h 6858889"/>
              <a:gd name="connsiteX471" fmla="*/ 6181283 w 9667345"/>
              <a:gd name="connsiteY471" fmla="*/ 6171271 h 6858889"/>
              <a:gd name="connsiteX472" fmla="*/ 6622984 w 9667345"/>
              <a:gd name="connsiteY472" fmla="*/ 6359275 h 6858889"/>
              <a:gd name="connsiteX473" fmla="*/ 7921289 w 9667345"/>
              <a:gd name="connsiteY473" fmla="*/ 6776340 h 6858889"/>
              <a:gd name="connsiteX474" fmla="*/ 8257533 w 9667345"/>
              <a:gd name="connsiteY474" fmla="*/ 6857592 h 6858889"/>
              <a:gd name="connsiteX475" fmla="*/ 8219501 w 9667345"/>
              <a:gd name="connsiteY475" fmla="*/ 6857592 h 6858889"/>
              <a:gd name="connsiteX476" fmla="*/ 7917399 w 9667345"/>
              <a:gd name="connsiteY476" fmla="*/ 6784552 h 6858889"/>
              <a:gd name="connsiteX477" fmla="*/ 6615637 w 9667345"/>
              <a:gd name="connsiteY477" fmla="*/ 6367487 h 6858889"/>
              <a:gd name="connsiteX478" fmla="*/ 6173937 w 9667345"/>
              <a:gd name="connsiteY478" fmla="*/ 6177322 h 6858889"/>
              <a:gd name="connsiteX479" fmla="*/ 4755050 w 9667345"/>
              <a:gd name="connsiteY479" fmla="*/ 5287439 h 6858889"/>
              <a:gd name="connsiteX480" fmla="*/ 4447329 w 9667345"/>
              <a:gd name="connsiteY480" fmla="*/ 4967184 h 6858889"/>
              <a:gd name="connsiteX481" fmla="*/ 3748043 w 9667345"/>
              <a:gd name="connsiteY481" fmla="*/ 3368937 h 6858889"/>
              <a:gd name="connsiteX482" fmla="*/ 3704392 w 9667345"/>
              <a:gd name="connsiteY482" fmla="*/ 2305314 h 6858889"/>
              <a:gd name="connsiteX483" fmla="*/ 3945554 w 9667345"/>
              <a:gd name="connsiteY483" fmla="*/ 1559782 h 6858889"/>
              <a:gd name="connsiteX484" fmla="*/ 4079533 w 9667345"/>
              <a:gd name="connsiteY484" fmla="*/ 1200631 h 6858889"/>
              <a:gd name="connsiteX485" fmla="*/ 4293901 w 9667345"/>
              <a:gd name="connsiteY485" fmla="*/ 865 h 6858889"/>
              <a:gd name="connsiteX486" fmla="*/ 3858684 w 9667345"/>
              <a:gd name="connsiteY486" fmla="*/ 865 h 6858889"/>
              <a:gd name="connsiteX487" fmla="*/ 3872082 w 9667345"/>
              <a:gd name="connsiteY487" fmla="*/ 865 h 6858889"/>
              <a:gd name="connsiteX488" fmla="*/ 3671113 w 9667345"/>
              <a:gd name="connsiteY488" fmla="*/ 1318619 h 6858889"/>
              <a:gd name="connsiteX489" fmla="*/ 3547506 w 9667345"/>
              <a:gd name="connsiteY489" fmla="*/ 1669558 h 6858889"/>
              <a:gd name="connsiteX490" fmla="*/ 3319740 w 9667345"/>
              <a:gd name="connsiteY490" fmla="*/ 2435835 h 6858889"/>
              <a:gd name="connsiteX491" fmla="*/ 3383272 w 9667345"/>
              <a:gd name="connsiteY491" fmla="*/ 3503350 h 6858889"/>
              <a:gd name="connsiteX492" fmla="*/ 4126211 w 9667345"/>
              <a:gd name="connsiteY492" fmla="*/ 5101596 h 6858889"/>
              <a:gd name="connsiteX493" fmla="*/ 4440846 w 9667345"/>
              <a:gd name="connsiteY493" fmla="*/ 5417529 h 6858889"/>
              <a:gd name="connsiteX494" fmla="*/ 5876588 w 9667345"/>
              <a:gd name="connsiteY494" fmla="*/ 6303522 h 6858889"/>
              <a:gd name="connsiteX495" fmla="*/ 6321746 w 9667345"/>
              <a:gd name="connsiteY495" fmla="*/ 6493687 h 6858889"/>
              <a:gd name="connsiteX496" fmla="*/ 7390557 w 9667345"/>
              <a:gd name="connsiteY496" fmla="*/ 6857592 h 6858889"/>
              <a:gd name="connsiteX497" fmla="*/ 7359439 w 9667345"/>
              <a:gd name="connsiteY497" fmla="*/ 6857592 h 6858889"/>
              <a:gd name="connsiteX498" fmla="*/ 6314831 w 9667345"/>
              <a:gd name="connsiteY498" fmla="*/ 6501898 h 6858889"/>
              <a:gd name="connsiteX499" fmla="*/ 5869673 w 9667345"/>
              <a:gd name="connsiteY499" fmla="*/ 6310005 h 6858889"/>
              <a:gd name="connsiteX500" fmla="*/ 4427449 w 9667345"/>
              <a:gd name="connsiteY500" fmla="*/ 5421850 h 6858889"/>
              <a:gd name="connsiteX501" fmla="*/ 4112813 w 9667345"/>
              <a:gd name="connsiteY501" fmla="*/ 5105917 h 6858889"/>
              <a:gd name="connsiteX502" fmla="*/ 3369875 w 9667345"/>
              <a:gd name="connsiteY502" fmla="*/ 3505511 h 6858889"/>
              <a:gd name="connsiteX503" fmla="*/ 3306342 w 9667345"/>
              <a:gd name="connsiteY503" fmla="*/ 2433674 h 6858889"/>
              <a:gd name="connsiteX504" fmla="*/ 3534108 w 9667345"/>
              <a:gd name="connsiteY504" fmla="*/ 1667398 h 6858889"/>
              <a:gd name="connsiteX505" fmla="*/ 3657715 w 9667345"/>
              <a:gd name="connsiteY505" fmla="*/ 1316458 h 6858889"/>
              <a:gd name="connsiteX506" fmla="*/ 3858684 w 9667345"/>
              <a:gd name="connsiteY506" fmla="*/ 865 h 6858889"/>
              <a:gd name="connsiteX507" fmla="*/ 2985225 w 9667345"/>
              <a:gd name="connsiteY507" fmla="*/ 865 h 6858889"/>
              <a:gd name="connsiteX508" fmla="*/ 2998622 w 9667345"/>
              <a:gd name="connsiteY508" fmla="*/ 865 h 6858889"/>
              <a:gd name="connsiteX509" fmla="*/ 2821423 w 9667345"/>
              <a:gd name="connsiteY509" fmla="*/ 1551570 h 6858889"/>
              <a:gd name="connsiteX510" fmla="*/ 2721154 w 9667345"/>
              <a:gd name="connsiteY510" fmla="*/ 1880037 h 6858889"/>
              <a:gd name="connsiteX511" fmla="*/ 2520184 w 9667345"/>
              <a:gd name="connsiteY511" fmla="*/ 2691693 h 6858889"/>
              <a:gd name="connsiteX512" fmla="*/ 2627369 w 9667345"/>
              <a:gd name="connsiteY512" fmla="*/ 3771741 h 6858889"/>
              <a:gd name="connsiteX513" fmla="*/ 3450694 w 9667345"/>
              <a:gd name="connsiteY513" fmla="*/ 5374309 h 6858889"/>
              <a:gd name="connsiteX514" fmla="*/ 3785211 w 9667345"/>
              <a:gd name="connsiteY514" fmla="*/ 5688081 h 6858889"/>
              <a:gd name="connsiteX515" fmla="*/ 5271088 w 9667345"/>
              <a:gd name="connsiteY515" fmla="*/ 6568024 h 6858889"/>
              <a:gd name="connsiteX516" fmla="*/ 5722728 w 9667345"/>
              <a:gd name="connsiteY516" fmla="*/ 6762078 h 6858889"/>
              <a:gd name="connsiteX517" fmla="*/ 5963890 w 9667345"/>
              <a:gd name="connsiteY517" fmla="*/ 6858024 h 6858889"/>
              <a:gd name="connsiteX518" fmla="*/ 5935798 w 9667345"/>
              <a:gd name="connsiteY518" fmla="*/ 6858024 h 6858889"/>
              <a:gd name="connsiteX519" fmla="*/ 5712788 w 9667345"/>
              <a:gd name="connsiteY519" fmla="*/ 6770722 h 6858889"/>
              <a:gd name="connsiteX520" fmla="*/ 5261147 w 9667345"/>
              <a:gd name="connsiteY520" fmla="*/ 6576668 h 6858889"/>
              <a:gd name="connsiteX521" fmla="*/ 3775272 w 9667345"/>
              <a:gd name="connsiteY521" fmla="*/ 5694996 h 6858889"/>
              <a:gd name="connsiteX522" fmla="*/ 3437296 w 9667345"/>
              <a:gd name="connsiteY522" fmla="*/ 5379064 h 6858889"/>
              <a:gd name="connsiteX523" fmla="*/ 2613972 w 9667345"/>
              <a:gd name="connsiteY523" fmla="*/ 3774334 h 6858889"/>
              <a:gd name="connsiteX524" fmla="*/ 2506787 w 9667345"/>
              <a:gd name="connsiteY524" fmla="*/ 2692125 h 6858889"/>
              <a:gd name="connsiteX525" fmla="*/ 2707756 w 9667345"/>
              <a:gd name="connsiteY525" fmla="*/ 1878307 h 6858889"/>
              <a:gd name="connsiteX526" fmla="*/ 2808025 w 9667345"/>
              <a:gd name="connsiteY526" fmla="*/ 1549842 h 6858889"/>
              <a:gd name="connsiteX527" fmla="*/ 2985225 w 9667345"/>
              <a:gd name="connsiteY527" fmla="*/ 865 h 6858889"/>
              <a:gd name="connsiteX528" fmla="*/ 2838710 w 9667345"/>
              <a:gd name="connsiteY528" fmla="*/ 865 h 6858889"/>
              <a:gd name="connsiteX529" fmla="*/ 2855567 w 9667345"/>
              <a:gd name="connsiteY529" fmla="*/ 865 h 6858889"/>
              <a:gd name="connsiteX530" fmla="*/ 2681392 w 9667345"/>
              <a:gd name="connsiteY530" fmla="*/ 1588739 h 6858889"/>
              <a:gd name="connsiteX531" fmla="*/ 2584149 w 9667345"/>
              <a:gd name="connsiteY531" fmla="*/ 1915044 h 6858889"/>
              <a:gd name="connsiteX532" fmla="*/ 2390096 w 9667345"/>
              <a:gd name="connsiteY532" fmla="*/ 2734912 h 6858889"/>
              <a:gd name="connsiteX533" fmla="*/ 2503762 w 9667345"/>
              <a:gd name="connsiteY533" fmla="*/ 3817122 h 6858889"/>
              <a:gd name="connsiteX534" fmla="*/ 3340485 w 9667345"/>
              <a:gd name="connsiteY534" fmla="*/ 5419690 h 6858889"/>
              <a:gd name="connsiteX535" fmla="*/ 3675002 w 9667345"/>
              <a:gd name="connsiteY535" fmla="*/ 5733461 h 6858889"/>
              <a:gd name="connsiteX536" fmla="*/ 5170819 w 9667345"/>
              <a:gd name="connsiteY536" fmla="*/ 6613403 h 6858889"/>
              <a:gd name="connsiteX537" fmla="*/ 5622459 w 9667345"/>
              <a:gd name="connsiteY537" fmla="*/ 6807459 h 6858889"/>
              <a:gd name="connsiteX538" fmla="*/ 5747363 w 9667345"/>
              <a:gd name="connsiteY538" fmla="*/ 6858024 h 6858889"/>
              <a:gd name="connsiteX539" fmla="*/ 5722728 w 9667345"/>
              <a:gd name="connsiteY539" fmla="*/ 6858024 h 6858889"/>
              <a:gd name="connsiteX540" fmla="*/ 5612519 w 9667345"/>
              <a:gd name="connsiteY540" fmla="*/ 6813941 h 6858889"/>
              <a:gd name="connsiteX541" fmla="*/ 5160879 w 9667345"/>
              <a:gd name="connsiteY541" fmla="*/ 6619886 h 6858889"/>
              <a:gd name="connsiteX542" fmla="*/ 3665063 w 9667345"/>
              <a:gd name="connsiteY542" fmla="*/ 5739943 h 6858889"/>
              <a:gd name="connsiteX543" fmla="*/ 3327087 w 9667345"/>
              <a:gd name="connsiteY543" fmla="*/ 5424011 h 6858889"/>
              <a:gd name="connsiteX544" fmla="*/ 2490364 w 9667345"/>
              <a:gd name="connsiteY544" fmla="*/ 3819282 h 6858889"/>
              <a:gd name="connsiteX545" fmla="*/ 2373240 w 9667345"/>
              <a:gd name="connsiteY545" fmla="*/ 2734912 h 6858889"/>
              <a:gd name="connsiteX546" fmla="*/ 2570751 w 9667345"/>
              <a:gd name="connsiteY546" fmla="*/ 1912883 h 6858889"/>
              <a:gd name="connsiteX547" fmla="*/ 2667995 w 9667345"/>
              <a:gd name="connsiteY547" fmla="*/ 1588739 h 6858889"/>
              <a:gd name="connsiteX548" fmla="*/ 2838710 w 9667345"/>
              <a:gd name="connsiteY548" fmla="*/ 865 h 6858889"/>
              <a:gd name="connsiteX549" fmla="*/ 2693495 w 9667345"/>
              <a:gd name="connsiteY549" fmla="*/ 865 h 6858889"/>
              <a:gd name="connsiteX550" fmla="*/ 2706893 w 9667345"/>
              <a:gd name="connsiteY550" fmla="*/ 865 h 6858889"/>
              <a:gd name="connsiteX551" fmla="*/ 2539633 w 9667345"/>
              <a:gd name="connsiteY551" fmla="*/ 1628068 h 6858889"/>
              <a:gd name="connsiteX552" fmla="*/ 2445847 w 9667345"/>
              <a:gd name="connsiteY552" fmla="*/ 1950052 h 6858889"/>
              <a:gd name="connsiteX553" fmla="*/ 2255252 w 9667345"/>
              <a:gd name="connsiteY553" fmla="*/ 2778131 h 6858889"/>
              <a:gd name="connsiteX554" fmla="*/ 2375833 w 9667345"/>
              <a:gd name="connsiteY554" fmla="*/ 3862501 h 6858889"/>
              <a:gd name="connsiteX555" fmla="*/ 3225955 w 9667345"/>
              <a:gd name="connsiteY555" fmla="*/ 5465070 h 6858889"/>
              <a:gd name="connsiteX556" fmla="*/ 3567387 w 9667345"/>
              <a:gd name="connsiteY556" fmla="*/ 5778841 h 6858889"/>
              <a:gd name="connsiteX557" fmla="*/ 5066660 w 9667345"/>
              <a:gd name="connsiteY557" fmla="*/ 6656623 h 6858889"/>
              <a:gd name="connsiteX558" fmla="*/ 5521759 w 9667345"/>
              <a:gd name="connsiteY558" fmla="*/ 6852838 h 6858889"/>
              <a:gd name="connsiteX559" fmla="*/ 5533428 w 9667345"/>
              <a:gd name="connsiteY559" fmla="*/ 6857592 h 6858889"/>
              <a:gd name="connsiteX560" fmla="*/ 5507928 w 9667345"/>
              <a:gd name="connsiteY560" fmla="*/ 6857592 h 6858889"/>
              <a:gd name="connsiteX561" fmla="*/ 5059745 w 9667345"/>
              <a:gd name="connsiteY561" fmla="*/ 6664835 h 6858889"/>
              <a:gd name="connsiteX562" fmla="*/ 3553989 w 9667345"/>
              <a:gd name="connsiteY562" fmla="*/ 5784892 h 6858889"/>
              <a:gd name="connsiteX563" fmla="*/ 3212557 w 9667345"/>
              <a:gd name="connsiteY563" fmla="*/ 5468959 h 6858889"/>
              <a:gd name="connsiteX564" fmla="*/ 2362435 w 9667345"/>
              <a:gd name="connsiteY564" fmla="*/ 3862501 h 6858889"/>
              <a:gd name="connsiteX565" fmla="*/ 2241852 w 9667345"/>
              <a:gd name="connsiteY565" fmla="*/ 2778131 h 6858889"/>
              <a:gd name="connsiteX566" fmla="*/ 2432449 w 9667345"/>
              <a:gd name="connsiteY566" fmla="*/ 1947890 h 6858889"/>
              <a:gd name="connsiteX567" fmla="*/ 2526235 w 9667345"/>
              <a:gd name="connsiteY567" fmla="*/ 1625908 h 6858889"/>
              <a:gd name="connsiteX568" fmla="*/ 2693495 w 9667345"/>
              <a:gd name="connsiteY568" fmla="*/ 865 h 6858889"/>
              <a:gd name="connsiteX569" fmla="*/ 2546980 w 9667345"/>
              <a:gd name="connsiteY569" fmla="*/ 865 h 6858889"/>
              <a:gd name="connsiteX570" fmla="*/ 2560380 w 9667345"/>
              <a:gd name="connsiteY570" fmla="*/ 865 h 6858889"/>
              <a:gd name="connsiteX571" fmla="*/ 2399604 w 9667345"/>
              <a:gd name="connsiteY571" fmla="*/ 1667398 h 6858889"/>
              <a:gd name="connsiteX572" fmla="*/ 2309276 w 9667345"/>
              <a:gd name="connsiteY572" fmla="*/ 1983330 h 6858889"/>
              <a:gd name="connsiteX573" fmla="*/ 2121704 w 9667345"/>
              <a:gd name="connsiteY573" fmla="*/ 2821783 h 6858889"/>
              <a:gd name="connsiteX574" fmla="*/ 2248768 w 9667345"/>
              <a:gd name="connsiteY574" fmla="*/ 3907881 h 6858889"/>
              <a:gd name="connsiteX575" fmla="*/ 3112289 w 9667345"/>
              <a:gd name="connsiteY575" fmla="*/ 5510450 h 6858889"/>
              <a:gd name="connsiteX576" fmla="*/ 3457178 w 9667345"/>
              <a:gd name="connsiteY576" fmla="*/ 5824221 h 6858889"/>
              <a:gd name="connsiteX577" fmla="*/ 4966392 w 9667345"/>
              <a:gd name="connsiteY577" fmla="*/ 6702003 h 6858889"/>
              <a:gd name="connsiteX578" fmla="*/ 5328136 w 9667345"/>
              <a:gd name="connsiteY578" fmla="*/ 6857160 h 6858889"/>
              <a:gd name="connsiteX579" fmla="*/ 5299612 w 9667345"/>
              <a:gd name="connsiteY579" fmla="*/ 6857160 h 6858889"/>
              <a:gd name="connsiteX580" fmla="*/ 4959910 w 9667345"/>
              <a:gd name="connsiteY580" fmla="*/ 6708054 h 6858889"/>
              <a:gd name="connsiteX581" fmla="*/ 3447237 w 9667345"/>
              <a:gd name="connsiteY581" fmla="*/ 5830272 h 6858889"/>
              <a:gd name="connsiteX582" fmla="*/ 3102348 w 9667345"/>
              <a:gd name="connsiteY582" fmla="*/ 5514339 h 6858889"/>
              <a:gd name="connsiteX583" fmla="*/ 2235803 w 9667345"/>
              <a:gd name="connsiteY583" fmla="*/ 3907881 h 6858889"/>
              <a:gd name="connsiteX584" fmla="*/ 2108737 w 9667345"/>
              <a:gd name="connsiteY584" fmla="*/ 2819622 h 6858889"/>
              <a:gd name="connsiteX585" fmla="*/ 2296308 w 9667345"/>
              <a:gd name="connsiteY585" fmla="*/ 1983330 h 6858889"/>
              <a:gd name="connsiteX586" fmla="*/ 2383181 w 9667345"/>
              <a:gd name="connsiteY586" fmla="*/ 1665237 h 6858889"/>
              <a:gd name="connsiteX587" fmla="*/ 2546980 w 9667345"/>
              <a:gd name="connsiteY587" fmla="*/ 865 h 6858889"/>
              <a:gd name="connsiteX588" fmla="*/ 2400036 w 9667345"/>
              <a:gd name="connsiteY588" fmla="*/ 865 h 6858889"/>
              <a:gd name="connsiteX589" fmla="*/ 2413434 w 9667345"/>
              <a:gd name="connsiteY589" fmla="*/ 865 h 6858889"/>
              <a:gd name="connsiteX590" fmla="*/ 2256115 w 9667345"/>
              <a:gd name="connsiteY590" fmla="*/ 1706727 h 6858889"/>
              <a:gd name="connsiteX591" fmla="*/ 2172271 w 9667345"/>
              <a:gd name="connsiteY591" fmla="*/ 2018770 h 6858889"/>
              <a:gd name="connsiteX592" fmla="*/ 1988157 w 9667345"/>
              <a:gd name="connsiteY592" fmla="*/ 2863273 h 6858889"/>
              <a:gd name="connsiteX593" fmla="*/ 2125161 w 9667345"/>
              <a:gd name="connsiteY593" fmla="*/ 3951533 h 6858889"/>
              <a:gd name="connsiteX594" fmla="*/ 3002080 w 9667345"/>
              <a:gd name="connsiteY594" fmla="*/ 5556263 h 6858889"/>
              <a:gd name="connsiteX595" fmla="*/ 3346969 w 9667345"/>
              <a:gd name="connsiteY595" fmla="*/ 5870033 h 6858889"/>
              <a:gd name="connsiteX596" fmla="*/ 4866123 w 9667345"/>
              <a:gd name="connsiteY596" fmla="*/ 6745655 h 6858889"/>
              <a:gd name="connsiteX597" fmla="*/ 5120684 w 9667345"/>
              <a:gd name="connsiteY597" fmla="*/ 6857592 h 6858889"/>
              <a:gd name="connsiteX598" fmla="*/ 5091296 w 9667345"/>
              <a:gd name="connsiteY598" fmla="*/ 6857592 h 6858889"/>
              <a:gd name="connsiteX599" fmla="*/ 4855751 w 9667345"/>
              <a:gd name="connsiteY599" fmla="*/ 6753867 h 6858889"/>
              <a:gd name="connsiteX600" fmla="*/ 3336595 w 9667345"/>
              <a:gd name="connsiteY600" fmla="*/ 5876084 h 6858889"/>
              <a:gd name="connsiteX601" fmla="*/ 2988682 w 9667345"/>
              <a:gd name="connsiteY601" fmla="*/ 5562313 h 6858889"/>
              <a:gd name="connsiteX602" fmla="*/ 2111764 w 9667345"/>
              <a:gd name="connsiteY602" fmla="*/ 3953694 h 6858889"/>
              <a:gd name="connsiteX603" fmla="*/ 1974759 w 9667345"/>
              <a:gd name="connsiteY603" fmla="*/ 2863273 h 6858889"/>
              <a:gd name="connsiteX604" fmla="*/ 2158874 w 9667345"/>
              <a:gd name="connsiteY604" fmla="*/ 2016609 h 6858889"/>
              <a:gd name="connsiteX605" fmla="*/ 2242718 w 9667345"/>
              <a:gd name="connsiteY605" fmla="*/ 1704566 h 6858889"/>
              <a:gd name="connsiteX606" fmla="*/ 2400036 w 9667345"/>
              <a:gd name="connsiteY606" fmla="*/ 865 h 6858889"/>
              <a:gd name="connsiteX607" fmla="*/ 2252226 w 9667345"/>
              <a:gd name="connsiteY607" fmla="*/ 865 h 6858889"/>
              <a:gd name="connsiteX608" fmla="*/ 2265624 w 9667345"/>
              <a:gd name="connsiteY608" fmla="*/ 865 h 6858889"/>
              <a:gd name="connsiteX609" fmla="*/ 2115221 w 9667345"/>
              <a:gd name="connsiteY609" fmla="*/ 1743896 h 6858889"/>
              <a:gd name="connsiteX610" fmla="*/ 2034834 w 9667345"/>
              <a:gd name="connsiteY610" fmla="*/ 2051617 h 6858889"/>
              <a:gd name="connsiteX611" fmla="*/ 1854176 w 9667345"/>
              <a:gd name="connsiteY611" fmla="*/ 2906493 h 6858889"/>
              <a:gd name="connsiteX612" fmla="*/ 1998098 w 9667345"/>
              <a:gd name="connsiteY612" fmla="*/ 3996913 h 6858889"/>
              <a:gd name="connsiteX613" fmla="*/ 2888413 w 9667345"/>
              <a:gd name="connsiteY613" fmla="*/ 5601642 h 6858889"/>
              <a:gd name="connsiteX614" fmla="*/ 3239786 w 9667345"/>
              <a:gd name="connsiteY614" fmla="*/ 5915414 h 6858889"/>
              <a:gd name="connsiteX615" fmla="*/ 4765854 w 9667345"/>
              <a:gd name="connsiteY615" fmla="*/ 6791034 h 6858889"/>
              <a:gd name="connsiteX616" fmla="*/ 4915393 w 9667345"/>
              <a:gd name="connsiteY616" fmla="*/ 6858024 h 6858889"/>
              <a:gd name="connsiteX617" fmla="*/ 4892055 w 9667345"/>
              <a:gd name="connsiteY617" fmla="*/ 6858024 h 6858889"/>
              <a:gd name="connsiteX618" fmla="*/ 4755482 w 9667345"/>
              <a:gd name="connsiteY618" fmla="*/ 6797517 h 6858889"/>
              <a:gd name="connsiteX619" fmla="*/ 3225955 w 9667345"/>
              <a:gd name="connsiteY619" fmla="*/ 5919736 h 6858889"/>
              <a:gd name="connsiteX620" fmla="*/ 2878041 w 9667345"/>
              <a:gd name="connsiteY620" fmla="*/ 5607693 h 6858889"/>
              <a:gd name="connsiteX621" fmla="*/ 1984699 w 9667345"/>
              <a:gd name="connsiteY621" fmla="*/ 3999074 h 6858889"/>
              <a:gd name="connsiteX622" fmla="*/ 1840778 w 9667345"/>
              <a:gd name="connsiteY622" fmla="*/ 2906493 h 6858889"/>
              <a:gd name="connsiteX623" fmla="*/ 2017978 w 9667345"/>
              <a:gd name="connsiteY623" fmla="*/ 2051617 h 6858889"/>
              <a:gd name="connsiteX624" fmla="*/ 2101823 w 9667345"/>
              <a:gd name="connsiteY624" fmla="*/ 1743896 h 6858889"/>
              <a:gd name="connsiteX625" fmla="*/ 2252226 w 9667345"/>
              <a:gd name="connsiteY625" fmla="*/ 865 h 6858889"/>
              <a:gd name="connsiteX626" fmla="*/ 2105282 w 9667345"/>
              <a:gd name="connsiteY626" fmla="*/ 865 h 6858889"/>
              <a:gd name="connsiteX627" fmla="*/ 2122137 w 9667345"/>
              <a:gd name="connsiteY627" fmla="*/ 865 h 6858889"/>
              <a:gd name="connsiteX628" fmla="*/ 1974759 w 9667345"/>
              <a:gd name="connsiteY628" fmla="*/ 1783225 h 6858889"/>
              <a:gd name="connsiteX629" fmla="*/ 1894371 w 9667345"/>
              <a:gd name="connsiteY629" fmla="*/ 2086624 h 6858889"/>
              <a:gd name="connsiteX630" fmla="*/ 1723655 w 9667345"/>
              <a:gd name="connsiteY630" fmla="*/ 2949711 h 6858889"/>
              <a:gd name="connsiteX631" fmla="*/ 1874058 w 9667345"/>
              <a:gd name="connsiteY631" fmla="*/ 4042292 h 6858889"/>
              <a:gd name="connsiteX632" fmla="*/ 2777772 w 9667345"/>
              <a:gd name="connsiteY632" fmla="*/ 5648752 h 6858889"/>
              <a:gd name="connsiteX633" fmla="*/ 3129144 w 9667345"/>
              <a:gd name="connsiteY633" fmla="*/ 5960794 h 6858889"/>
              <a:gd name="connsiteX634" fmla="*/ 4661697 w 9667345"/>
              <a:gd name="connsiteY634" fmla="*/ 6834254 h 6858889"/>
              <a:gd name="connsiteX635" fmla="*/ 4712694 w 9667345"/>
              <a:gd name="connsiteY635" fmla="*/ 6858024 h 6858889"/>
              <a:gd name="connsiteX636" fmla="*/ 4691518 w 9667345"/>
              <a:gd name="connsiteY636" fmla="*/ 6858024 h 6858889"/>
              <a:gd name="connsiteX637" fmla="*/ 4654782 w 9667345"/>
              <a:gd name="connsiteY637" fmla="*/ 6840737 h 6858889"/>
              <a:gd name="connsiteX638" fmla="*/ 3118771 w 9667345"/>
              <a:gd name="connsiteY638" fmla="*/ 5965116 h 6858889"/>
              <a:gd name="connsiteX639" fmla="*/ 2763942 w 9667345"/>
              <a:gd name="connsiteY639" fmla="*/ 5653073 h 6858889"/>
              <a:gd name="connsiteX640" fmla="*/ 1857203 w 9667345"/>
              <a:gd name="connsiteY640" fmla="*/ 4042292 h 6858889"/>
              <a:gd name="connsiteX641" fmla="*/ 1706800 w 9667345"/>
              <a:gd name="connsiteY641" fmla="*/ 2949711 h 6858889"/>
              <a:gd name="connsiteX642" fmla="*/ 1880974 w 9667345"/>
              <a:gd name="connsiteY642" fmla="*/ 2084463 h 6858889"/>
              <a:gd name="connsiteX643" fmla="*/ 1961361 w 9667345"/>
              <a:gd name="connsiteY643" fmla="*/ 1781064 h 6858889"/>
              <a:gd name="connsiteX644" fmla="*/ 2105282 w 9667345"/>
              <a:gd name="connsiteY644" fmla="*/ 865 h 6858889"/>
              <a:gd name="connsiteX645" fmla="*/ 1957472 w 9667345"/>
              <a:gd name="connsiteY645" fmla="*/ 865 h 6858889"/>
              <a:gd name="connsiteX646" fmla="*/ 1974327 w 9667345"/>
              <a:gd name="connsiteY646" fmla="*/ 865 h 6858889"/>
              <a:gd name="connsiteX647" fmla="*/ 1833865 w 9667345"/>
              <a:gd name="connsiteY647" fmla="*/ 1822122 h 6858889"/>
              <a:gd name="connsiteX648" fmla="*/ 1756935 w 9667345"/>
              <a:gd name="connsiteY648" fmla="*/ 2119471 h 6858889"/>
              <a:gd name="connsiteX649" fmla="*/ 1589675 w 9667345"/>
              <a:gd name="connsiteY649" fmla="*/ 2992931 h 6858889"/>
              <a:gd name="connsiteX650" fmla="*/ 1746993 w 9667345"/>
              <a:gd name="connsiteY650" fmla="*/ 4085512 h 6858889"/>
              <a:gd name="connsiteX651" fmla="*/ 2664105 w 9667345"/>
              <a:gd name="connsiteY651" fmla="*/ 5694131 h 6858889"/>
              <a:gd name="connsiteX652" fmla="*/ 3018935 w 9667345"/>
              <a:gd name="connsiteY652" fmla="*/ 6006174 h 6858889"/>
              <a:gd name="connsiteX653" fmla="*/ 4516912 w 9667345"/>
              <a:gd name="connsiteY653" fmla="*/ 6858024 h 6858889"/>
              <a:gd name="connsiteX654" fmla="*/ 4491845 w 9667345"/>
              <a:gd name="connsiteY654" fmla="*/ 6858024 h 6858889"/>
              <a:gd name="connsiteX655" fmla="*/ 3008562 w 9667345"/>
              <a:gd name="connsiteY655" fmla="*/ 6010496 h 6858889"/>
              <a:gd name="connsiteX656" fmla="*/ 2653732 w 9667345"/>
              <a:gd name="connsiteY656" fmla="*/ 5698453 h 6858889"/>
              <a:gd name="connsiteX657" fmla="*/ 1733596 w 9667345"/>
              <a:gd name="connsiteY657" fmla="*/ 4087673 h 6858889"/>
              <a:gd name="connsiteX658" fmla="*/ 1576277 w 9667345"/>
              <a:gd name="connsiteY658" fmla="*/ 2993363 h 6858889"/>
              <a:gd name="connsiteX659" fmla="*/ 1743537 w 9667345"/>
              <a:gd name="connsiteY659" fmla="*/ 2117741 h 6858889"/>
              <a:gd name="connsiteX660" fmla="*/ 1817009 w 9667345"/>
              <a:gd name="connsiteY660" fmla="*/ 1820394 h 6858889"/>
              <a:gd name="connsiteX661" fmla="*/ 1957472 w 9667345"/>
              <a:gd name="connsiteY661" fmla="*/ 865 h 6858889"/>
              <a:gd name="connsiteX662" fmla="*/ 1813983 w 9667345"/>
              <a:gd name="connsiteY662" fmla="*/ 865 h 6858889"/>
              <a:gd name="connsiteX663" fmla="*/ 1827381 w 9667345"/>
              <a:gd name="connsiteY663" fmla="*/ 865 h 6858889"/>
              <a:gd name="connsiteX664" fmla="*/ 1690376 w 9667345"/>
              <a:gd name="connsiteY664" fmla="*/ 1861452 h 6858889"/>
              <a:gd name="connsiteX665" fmla="*/ 1619928 w 9667345"/>
              <a:gd name="connsiteY665" fmla="*/ 2152749 h 6858889"/>
              <a:gd name="connsiteX666" fmla="*/ 1456128 w 9667345"/>
              <a:gd name="connsiteY666" fmla="*/ 3034421 h 6858889"/>
              <a:gd name="connsiteX667" fmla="*/ 1619928 w 9667345"/>
              <a:gd name="connsiteY667" fmla="*/ 4130892 h 6858889"/>
              <a:gd name="connsiteX668" fmla="*/ 2553464 w 9667345"/>
              <a:gd name="connsiteY668" fmla="*/ 5739511 h 6858889"/>
              <a:gd name="connsiteX669" fmla="*/ 2911750 w 9667345"/>
              <a:gd name="connsiteY669" fmla="*/ 6051554 h 6858889"/>
              <a:gd name="connsiteX670" fmla="*/ 4316807 w 9667345"/>
              <a:gd name="connsiteY670" fmla="*/ 6857592 h 6858889"/>
              <a:gd name="connsiteX671" fmla="*/ 4293901 w 9667345"/>
              <a:gd name="connsiteY671" fmla="*/ 6857592 h 6858889"/>
              <a:gd name="connsiteX672" fmla="*/ 2898352 w 9667345"/>
              <a:gd name="connsiteY672" fmla="*/ 6055876 h 6858889"/>
              <a:gd name="connsiteX673" fmla="*/ 2540066 w 9667345"/>
              <a:gd name="connsiteY673" fmla="*/ 5743834 h 6858889"/>
              <a:gd name="connsiteX674" fmla="*/ 1606530 w 9667345"/>
              <a:gd name="connsiteY674" fmla="*/ 4133053 h 6858889"/>
              <a:gd name="connsiteX675" fmla="*/ 1442730 w 9667345"/>
              <a:gd name="connsiteY675" fmla="*/ 3034421 h 6858889"/>
              <a:gd name="connsiteX676" fmla="*/ 1606530 w 9667345"/>
              <a:gd name="connsiteY676" fmla="*/ 2150589 h 6858889"/>
              <a:gd name="connsiteX677" fmla="*/ 1676978 w 9667345"/>
              <a:gd name="connsiteY677" fmla="*/ 1859291 h 6858889"/>
              <a:gd name="connsiteX678" fmla="*/ 1813983 w 9667345"/>
              <a:gd name="connsiteY678" fmla="*/ 865 h 6858889"/>
              <a:gd name="connsiteX679" fmla="*/ 1519660 w 9667345"/>
              <a:gd name="connsiteY679" fmla="*/ 865 h 6858889"/>
              <a:gd name="connsiteX680" fmla="*/ 1533058 w 9667345"/>
              <a:gd name="connsiteY680" fmla="*/ 865 h 6858889"/>
              <a:gd name="connsiteX681" fmla="*/ 1536516 w 9667345"/>
              <a:gd name="connsiteY681" fmla="*/ 52296 h 6858889"/>
              <a:gd name="connsiteX682" fmla="*/ 1409451 w 9667345"/>
              <a:gd name="connsiteY682" fmla="*/ 1937950 h 6858889"/>
              <a:gd name="connsiteX683" fmla="*/ 1342461 w 9667345"/>
              <a:gd name="connsiteY683" fmla="*/ 2218875 h 6858889"/>
              <a:gd name="connsiteX684" fmla="*/ 1188601 w 9667345"/>
              <a:gd name="connsiteY684" fmla="*/ 3121292 h 6858889"/>
              <a:gd name="connsiteX685" fmla="*/ 1369256 w 9667345"/>
              <a:gd name="connsiteY685" fmla="*/ 4222085 h 6858889"/>
              <a:gd name="connsiteX686" fmla="*/ 2329588 w 9667345"/>
              <a:gd name="connsiteY686" fmla="*/ 5830704 h 6858889"/>
              <a:gd name="connsiteX687" fmla="*/ 2690902 w 9667345"/>
              <a:gd name="connsiteY687" fmla="*/ 6140585 h 6858889"/>
              <a:gd name="connsiteX688" fmla="*/ 3923512 w 9667345"/>
              <a:gd name="connsiteY688" fmla="*/ 6858024 h 6858889"/>
              <a:gd name="connsiteX689" fmla="*/ 3900606 w 9667345"/>
              <a:gd name="connsiteY689" fmla="*/ 6858024 h 6858889"/>
              <a:gd name="connsiteX690" fmla="*/ 2680528 w 9667345"/>
              <a:gd name="connsiteY690" fmla="*/ 6147068 h 6858889"/>
              <a:gd name="connsiteX691" fmla="*/ 2315758 w 9667345"/>
              <a:gd name="connsiteY691" fmla="*/ 5835026 h 6858889"/>
              <a:gd name="connsiteX692" fmla="*/ 1355426 w 9667345"/>
              <a:gd name="connsiteY692" fmla="*/ 4222085 h 6858889"/>
              <a:gd name="connsiteX693" fmla="*/ 1174770 w 9667345"/>
              <a:gd name="connsiteY693" fmla="*/ 3121292 h 6858889"/>
              <a:gd name="connsiteX694" fmla="*/ 1329063 w 9667345"/>
              <a:gd name="connsiteY694" fmla="*/ 2216714 h 6858889"/>
              <a:gd name="connsiteX695" fmla="*/ 1396053 w 9667345"/>
              <a:gd name="connsiteY695" fmla="*/ 1937950 h 6858889"/>
              <a:gd name="connsiteX696" fmla="*/ 1523118 w 9667345"/>
              <a:gd name="connsiteY696" fmla="*/ 52296 h 6858889"/>
              <a:gd name="connsiteX697" fmla="*/ 1519660 w 9667345"/>
              <a:gd name="connsiteY697" fmla="*/ 865 h 6858889"/>
              <a:gd name="connsiteX698" fmla="*/ 927556 w 9667345"/>
              <a:gd name="connsiteY698" fmla="*/ 865 h 6858889"/>
              <a:gd name="connsiteX699" fmla="*/ 940955 w 9667345"/>
              <a:gd name="connsiteY699" fmla="*/ 865 h 6858889"/>
              <a:gd name="connsiteX700" fmla="*/ 960836 w 9667345"/>
              <a:gd name="connsiteY700" fmla="*/ 182386 h 6858889"/>
              <a:gd name="connsiteX701" fmla="*/ 843711 w 9667345"/>
              <a:gd name="connsiteY701" fmla="*/ 2092675 h 6858889"/>
              <a:gd name="connsiteX702" fmla="*/ 790119 w 9667345"/>
              <a:gd name="connsiteY702" fmla="*/ 2346804 h 6858889"/>
              <a:gd name="connsiteX703" fmla="*/ 656141 w 9667345"/>
              <a:gd name="connsiteY703" fmla="*/ 3292440 h 6858889"/>
              <a:gd name="connsiteX704" fmla="*/ 863592 w 9667345"/>
              <a:gd name="connsiteY704" fmla="*/ 4401445 h 6858889"/>
              <a:gd name="connsiteX705" fmla="*/ 1877515 w 9667345"/>
              <a:gd name="connsiteY705" fmla="*/ 6012225 h 6858889"/>
              <a:gd name="connsiteX706" fmla="*/ 2255684 w 9667345"/>
              <a:gd name="connsiteY706" fmla="*/ 6322107 h 6858889"/>
              <a:gd name="connsiteX707" fmla="*/ 3150753 w 9667345"/>
              <a:gd name="connsiteY707" fmla="*/ 6858024 h 6858889"/>
              <a:gd name="connsiteX708" fmla="*/ 3127414 w 9667345"/>
              <a:gd name="connsiteY708" fmla="*/ 6858024 h 6858889"/>
              <a:gd name="connsiteX709" fmla="*/ 2242284 w 9667345"/>
              <a:gd name="connsiteY709" fmla="*/ 6328590 h 6858889"/>
              <a:gd name="connsiteX710" fmla="*/ 1867576 w 9667345"/>
              <a:gd name="connsiteY710" fmla="*/ 6016547 h 6858889"/>
              <a:gd name="connsiteX711" fmla="*/ 850194 w 9667345"/>
              <a:gd name="connsiteY711" fmla="*/ 4401445 h 6858889"/>
              <a:gd name="connsiteX712" fmla="*/ 642743 w 9667345"/>
              <a:gd name="connsiteY712" fmla="*/ 3292440 h 6858889"/>
              <a:gd name="connsiteX713" fmla="*/ 776722 w 9667345"/>
              <a:gd name="connsiteY713" fmla="*/ 2344643 h 6858889"/>
              <a:gd name="connsiteX714" fmla="*/ 830313 w 9667345"/>
              <a:gd name="connsiteY714" fmla="*/ 2092675 h 6858889"/>
              <a:gd name="connsiteX715" fmla="*/ 947438 w 9667345"/>
              <a:gd name="connsiteY715" fmla="*/ 182386 h 6858889"/>
              <a:gd name="connsiteX716" fmla="*/ 927556 w 9667345"/>
              <a:gd name="connsiteY716" fmla="*/ 865 h 6858889"/>
              <a:gd name="connsiteX717" fmla="*/ 482400 w 9667345"/>
              <a:gd name="connsiteY717" fmla="*/ 865 h 6858889"/>
              <a:gd name="connsiteX718" fmla="*/ 495797 w 9667345"/>
              <a:gd name="connsiteY718" fmla="*/ 865 h 6858889"/>
              <a:gd name="connsiteX719" fmla="*/ 529076 w 9667345"/>
              <a:gd name="connsiteY719" fmla="*/ 279629 h 6858889"/>
              <a:gd name="connsiteX720" fmla="*/ 418434 w 9667345"/>
              <a:gd name="connsiteY720" fmla="*/ 2208502 h 6858889"/>
              <a:gd name="connsiteX721" fmla="*/ 374782 w 9667345"/>
              <a:gd name="connsiteY721" fmla="*/ 2439725 h 6858889"/>
              <a:gd name="connsiteX722" fmla="*/ 257659 w 9667345"/>
              <a:gd name="connsiteY722" fmla="*/ 3420801 h 6858889"/>
              <a:gd name="connsiteX723" fmla="*/ 485424 w 9667345"/>
              <a:gd name="connsiteY723" fmla="*/ 4535856 h 6858889"/>
              <a:gd name="connsiteX724" fmla="*/ 1542998 w 9667345"/>
              <a:gd name="connsiteY724" fmla="*/ 6148797 h 6858889"/>
              <a:gd name="connsiteX725" fmla="*/ 1927651 w 9667345"/>
              <a:gd name="connsiteY725" fmla="*/ 6458678 h 6858889"/>
              <a:gd name="connsiteX726" fmla="*/ 2581556 w 9667345"/>
              <a:gd name="connsiteY726" fmla="*/ 6857592 h 6858889"/>
              <a:gd name="connsiteX727" fmla="*/ 2559515 w 9667345"/>
              <a:gd name="connsiteY727" fmla="*/ 6857592 h 6858889"/>
              <a:gd name="connsiteX728" fmla="*/ 1914251 w 9667345"/>
              <a:gd name="connsiteY728" fmla="*/ 6462569 h 6858889"/>
              <a:gd name="connsiteX729" fmla="*/ 1529600 w 9667345"/>
              <a:gd name="connsiteY729" fmla="*/ 6154848 h 6858889"/>
              <a:gd name="connsiteX730" fmla="*/ 472026 w 9667345"/>
              <a:gd name="connsiteY730" fmla="*/ 4538018 h 6858889"/>
              <a:gd name="connsiteX731" fmla="*/ 244261 w 9667345"/>
              <a:gd name="connsiteY731" fmla="*/ 3420801 h 6858889"/>
              <a:gd name="connsiteX732" fmla="*/ 361385 w 9667345"/>
              <a:gd name="connsiteY732" fmla="*/ 2439725 h 6858889"/>
              <a:gd name="connsiteX733" fmla="*/ 405036 w 9667345"/>
              <a:gd name="connsiteY733" fmla="*/ 2208502 h 6858889"/>
              <a:gd name="connsiteX734" fmla="*/ 515678 w 9667345"/>
              <a:gd name="connsiteY734" fmla="*/ 279629 h 6858889"/>
              <a:gd name="connsiteX735" fmla="*/ 482400 w 9667345"/>
              <a:gd name="connsiteY735" fmla="*/ 865 h 6858889"/>
              <a:gd name="connsiteX736" fmla="*/ 331564 w 9667345"/>
              <a:gd name="connsiteY736" fmla="*/ 865 h 6858889"/>
              <a:gd name="connsiteX737" fmla="*/ 344962 w 9667345"/>
              <a:gd name="connsiteY737" fmla="*/ 865 h 6858889"/>
              <a:gd name="connsiteX738" fmla="*/ 385156 w 9667345"/>
              <a:gd name="connsiteY738" fmla="*/ 312908 h 6858889"/>
              <a:gd name="connsiteX739" fmla="*/ 277973 w 9667345"/>
              <a:gd name="connsiteY739" fmla="*/ 2247832 h 6858889"/>
              <a:gd name="connsiteX740" fmla="*/ 237778 w 9667345"/>
              <a:gd name="connsiteY740" fmla="*/ 2470843 h 6858889"/>
              <a:gd name="connsiteX741" fmla="*/ 124111 w 9667345"/>
              <a:gd name="connsiteY741" fmla="*/ 3464020 h 6858889"/>
              <a:gd name="connsiteX742" fmla="*/ 361817 w 9667345"/>
              <a:gd name="connsiteY742" fmla="*/ 4579076 h 6858889"/>
              <a:gd name="connsiteX743" fmla="*/ 1429331 w 9667345"/>
              <a:gd name="connsiteY743" fmla="*/ 6194177 h 6858889"/>
              <a:gd name="connsiteX744" fmla="*/ 1817441 w 9667345"/>
              <a:gd name="connsiteY744" fmla="*/ 6504059 h 6858889"/>
              <a:gd name="connsiteX745" fmla="*/ 2394850 w 9667345"/>
              <a:gd name="connsiteY745" fmla="*/ 6857592 h 6858889"/>
              <a:gd name="connsiteX746" fmla="*/ 2373240 w 9667345"/>
              <a:gd name="connsiteY746" fmla="*/ 6857592 h 6858889"/>
              <a:gd name="connsiteX747" fmla="*/ 1807501 w 9667345"/>
              <a:gd name="connsiteY747" fmla="*/ 6507949 h 6858889"/>
              <a:gd name="connsiteX748" fmla="*/ 1415933 w 9667345"/>
              <a:gd name="connsiteY748" fmla="*/ 6200228 h 6858889"/>
              <a:gd name="connsiteX749" fmla="*/ 348419 w 9667345"/>
              <a:gd name="connsiteY749" fmla="*/ 4581237 h 6858889"/>
              <a:gd name="connsiteX750" fmla="*/ 110713 w 9667345"/>
              <a:gd name="connsiteY750" fmla="*/ 3464020 h 6858889"/>
              <a:gd name="connsiteX751" fmla="*/ 224380 w 9667345"/>
              <a:gd name="connsiteY751" fmla="*/ 2470843 h 6858889"/>
              <a:gd name="connsiteX752" fmla="*/ 264575 w 9667345"/>
              <a:gd name="connsiteY752" fmla="*/ 2247832 h 6858889"/>
              <a:gd name="connsiteX753" fmla="*/ 371757 w 9667345"/>
              <a:gd name="connsiteY753" fmla="*/ 312908 h 6858889"/>
              <a:gd name="connsiteX754" fmla="*/ 331564 w 9667345"/>
              <a:gd name="connsiteY754" fmla="*/ 865 h 6858889"/>
              <a:gd name="connsiteX755" fmla="*/ 177272 w 9667345"/>
              <a:gd name="connsiteY755" fmla="*/ 865 h 6858889"/>
              <a:gd name="connsiteX756" fmla="*/ 194126 w 9667345"/>
              <a:gd name="connsiteY756" fmla="*/ 865 h 6858889"/>
              <a:gd name="connsiteX757" fmla="*/ 241235 w 9667345"/>
              <a:gd name="connsiteY757" fmla="*/ 343594 h 6858889"/>
              <a:gd name="connsiteX758" fmla="*/ 137509 w 9667345"/>
              <a:gd name="connsiteY758" fmla="*/ 2286729 h 6858889"/>
              <a:gd name="connsiteX759" fmla="*/ 100773 w 9667345"/>
              <a:gd name="connsiteY759" fmla="*/ 2501528 h 6858889"/>
              <a:gd name="connsiteX760" fmla="*/ 21628 w 9667345"/>
              <a:gd name="connsiteY760" fmla="*/ 3001305 h 6858889"/>
              <a:gd name="connsiteX761" fmla="*/ 0 w 9667345"/>
              <a:gd name="connsiteY761" fmla="*/ 3220433 h 6858889"/>
              <a:gd name="connsiteX762" fmla="*/ 0 w 9667345"/>
              <a:gd name="connsiteY762" fmla="*/ 3069197 h 6858889"/>
              <a:gd name="connsiteX763" fmla="*/ 6448 w 9667345"/>
              <a:gd name="connsiteY763" fmla="*/ 3000440 h 6858889"/>
              <a:gd name="connsiteX764" fmla="*/ 83485 w 9667345"/>
              <a:gd name="connsiteY764" fmla="*/ 2499800 h 6858889"/>
              <a:gd name="connsiteX765" fmla="*/ 120222 w 9667345"/>
              <a:gd name="connsiteY765" fmla="*/ 2285000 h 6858889"/>
              <a:gd name="connsiteX766" fmla="*/ 227406 w 9667345"/>
              <a:gd name="connsiteY766" fmla="*/ 343594 h 6858889"/>
              <a:gd name="connsiteX767" fmla="*/ 177272 w 9667345"/>
              <a:gd name="connsiteY767" fmla="*/ 865 h 6858889"/>
              <a:gd name="connsiteX768" fmla="*/ 26870 w 9667345"/>
              <a:gd name="connsiteY768" fmla="*/ 865 h 6858889"/>
              <a:gd name="connsiteX769" fmla="*/ 39834 w 9667345"/>
              <a:gd name="connsiteY769" fmla="*/ 865 h 6858889"/>
              <a:gd name="connsiteX770" fmla="*/ 96883 w 9667345"/>
              <a:gd name="connsiteY770" fmla="*/ 376872 h 6858889"/>
              <a:gd name="connsiteX771" fmla="*/ 62180 w 9667345"/>
              <a:gd name="connsiteY771" fmla="*/ 1813458 h 6858889"/>
              <a:gd name="connsiteX772" fmla="*/ 0 w 9667345"/>
              <a:gd name="connsiteY772" fmla="*/ 2275627 h 6858889"/>
              <a:gd name="connsiteX773" fmla="*/ 0 w 9667345"/>
              <a:gd name="connsiteY773" fmla="*/ 2177011 h 6858889"/>
              <a:gd name="connsiteX774" fmla="*/ 49031 w 9667345"/>
              <a:gd name="connsiteY774" fmla="*/ 1812364 h 6858889"/>
              <a:gd name="connsiteX775" fmla="*/ 83918 w 9667345"/>
              <a:gd name="connsiteY775" fmla="*/ 376872 h 6858889"/>
              <a:gd name="connsiteX776" fmla="*/ 26870 w 9667345"/>
              <a:gd name="connsiteY776" fmla="*/ 865 h 6858889"/>
              <a:gd name="connsiteX777" fmla="*/ 4005629 w 9667345"/>
              <a:gd name="connsiteY777" fmla="*/ 433 h 6858889"/>
              <a:gd name="connsiteX778" fmla="*/ 4019027 w 9667345"/>
              <a:gd name="connsiteY778" fmla="*/ 433 h 6858889"/>
              <a:gd name="connsiteX779" fmla="*/ 3811575 w 9667345"/>
              <a:gd name="connsiteY779" fmla="*/ 1278857 h 6858889"/>
              <a:gd name="connsiteX780" fmla="*/ 3684510 w 9667345"/>
              <a:gd name="connsiteY780" fmla="*/ 1634119 h 6858889"/>
              <a:gd name="connsiteX781" fmla="*/ 3453720 w 9667345"/>
              <a:gd name="connsiteY781" fmla="*/ 2392184 h 6858889"/>
              <a:gd name="connsiteX782" fmla="*/ 3510769 w 9667345"/>
              <a:gd name="connsiteY782" fmla="*/ 3457970 h 6858889"/>
              <a:gd name="connsiteX783" fmla="*/ 4236852 w 9667345"/>
              <a:gd name="connsiteY783" fmla="*/ 5056216 h 6858889"/>
              <a:gd name="connsiteX784" fmla="*/ 4551488 w 9667345"/>
              <a:gd name="connsiteY784" fmla="*/ 5372149 h 6858889"/>
              <a:gd name="connsiteX785" fmla="*/ 5980314 w 9667345"/>
              <a:gd name="connsiteY785" fmla="*/ 6258142 h 6858889"/>
              <a:gd name="connsiteX786" fmla="*/ 6422015 w 9667345"/>
              <a:gd name="connsiteY786" fmla="*/ 6447010 h 6858889"/>
              <a:gd name="connsiteX787" fmla="*/ 7663269 w 9667345"/>
              <a:gd name="connsiteY787" fmla="*/ 6856728 h 6858889"/>
              <a:gd name="connsiteX788" fmla="*/ 7626102 w 9667345"/>
              <a:gd name="connsiteY788" fmla="*/ 6856728 h 6858889"/>
              <a:gd name="connsiteX789" fmla="*/ 6415531 w 9667345"/>
              <a:gd name="connsiteY789" fmla="*/ 6455654 h 6858889"/>
              <a:gd name="connsiteX790" fmla="*/ 5970373 w 9667345"/>
              <a:gd name="connsiteY790" fmla="*/ 6265489 h 6858889"/>
              <a:gd name="connsiteX791" fmla="*/ 4538090 w 9667345"/>
              <a:gd name="connsiteY791" fmla="*/ 5375605 h 6858889"/>
              <a:gd name="connsiteX792" fmla="*/ 4223454 w 9667345"/>
              <a:gd name="connsiteY792" fmla="*/ 5059673 h 6858889"/>
              <a:gd name="connsiteX793" fmla="*/ 3497371 w 9667345"/>
              <a:gd name="connsiteY793" fmla="*/ 3459266 h 6858889"/>
              <a:gd name="connsiteX794" fmla="*/ 3440323 w 9667345"/>
              <a:gd name="connsiteY794" fmla="*/ 2391752 h 6858889"/>
              <a:gd name="connsiteX795" fmla="*/ 3671113 w 9667345"/>
              <a:gd name="connsiteY795" fmla="*/ 1631957 h 6858889"/>
              <a:gd name="connsiteX796" fmla="*/ 3798177 w 9667345"/>
              <a:gd name="connsiteY796" fmla="*/ 1276696 h 6858889"/>
              <a:gd name="connsiteX797" fmla="*/ 4005629 w 9667345"/>
              <a:gd name="connsiteY797" fmla="*/ 433 h 6858889"/>
              <a:gd name="connsiteX798" fmla="*/ 1372282 w 9667345"/>
              <a:gd name="connsiteY798" fmla="*/ 433 h 6858889"/>
              <a:gd name="connsiteX799" fmla="*/ 1385681 w 9667345"/>
              <a:gd name="connsiteY799" fmla="*/ 433 h 6858889"/>
              <a:gd name="connsiteX800" fmla="*/ 1392163 w 9667345"/>
              <a:gd name="connsiteY800" fmla="*/ 85142 h 6858889"/>
              <a:gd name="connsiteX801" fmla="*/ 1268556 w 9667345"/>
              <a:gd name="connsiteY801" fmla="*/ 1976847 h 6858889"/>
              <a:gd name="connsiteX802" fmla="*/ 1205024 w 9667345"/>
              <a:gd name="connsiteY802" fmla="*/ 2251722 h 6858889"/>
              <a:gd name="connsiteX803" fmla="*/ 1057646 w 9667345"/>
              <a:gd name="connsiteY803" fmla="*/ 3164511 h 6858889"/>
              <a:gd name="connsiteX804" fmla="*/ 1241760 w 9667345"/>
              <a:gd name="connsiteY804" fmla="*/ 4265304 h 6858889"/>
              <a:gd name="connsiteX805" fmla="*/ 2215489 w 9667345"/>
              <a:gd name="connsiteY805" fmla="*/ 5876084 h 6858889"/>
              <a:gd name="connsiteX806" fmla="*/ 2583717 w 9667345"/>
              <a:gd name="connsiteY806" fmla="*/ 6185966 h 6858889"/>
              <a:gd name="connsiteX807" fmla="*/ 3730323 w 9667345"/>
              <a:gd name="connsiteY807" fmla="*/ 6858024 h 6858889"/>
              <a:gd name="connsiteX808" fmla="*/ 3705687 w 9667345"/>
              <a:gd name="connsiteY808" fmla="*/ 6858024 h 6858889"/>
              <a:gd name="connsiteX809" fmla="*/ 2570320 w 9667345"/>
              <a:gd name="connsiteY809" fmla="*/ 6192449 h 6858889"/>
              <a:gd name="connsiteX810" fmla="*/ 2202091 w 9667345"/>
              <a:gd name="connsiteY810" fmla="*/ 5880407 h 6858889"/>
              <a:gd name="connsiteX811" fmla="*/ 1228362 w 9667345"/>
              <a:gd name="connsiteY811" fmla="*/ 4267466 h 6858889"/>
              <a:gd name="connsiteX812" fmla="*/ 1040791 w 9667345"/>
              <a:gd name="connsiteY812" fmla="*/ 3164511 h 6858889"/>
              <a:gd name="connsiteX813" fmla="*/ 1191627 w 9667345"/>
              <a:gd name="connsiteY813" fmla="*/ 2249561 h 6858889"/>
              <a:gd name="connsiteX814" fmla="*/ 1251701 w 9667345"/>
              <a:gd name="connsiteY814" fmla="*/ 1974686 h 6858889"/>
              <a:gd name="connsiteX815" fmla="*/ 1378765 w 9667345"/>
              <a:gd name="connsiteY815" fmla="*/ 85142 h 6858889"/>
              <a:gd name="connsiteX816" fmla="*/ 1372282 w 9667345"/>
              <a:gd name="connsiteY816" fmla="*/ 433 h 6858889"/>
              <a:gd name="connsiteX817" fmla="*/ 1225337 w 9667345"/>
              <a:gd name="connsiteY817" fmla="*/ 433 h 6858889"/>
              <a:gd name="connsiteX818" fmla="*/ 1238734 w 9667345"/>
              <a:gd name="connsiteY818" fmla="*/ 433 h 6858889"/>
              <a:gd name="connsiteX819" fmla="*/ 1248676 w 9667345"/>
              <a:gd name="connsiteY819" fmla="*/ 116260 h 6858889"/>
              <a:gd name="connsiteX820" fmla="*/ 1125069 w 9667345"/>
              <a:gd name="connsiteY820" fmla="*/ 2016176 h 6858889"/>
              <a:gd name="connsiteX821" fmla="*/ 1068020 w 9667345"/>
              <a:gd name="connsiteY821" fmla="*/ 2282407 h 6858889"/>
              <a:gd name="connsiteX822" fmla="*/ 924099 w 9667345"/>
              <a:gd name="connsiteY822" fmla="*/ 3207730 h 6858889"/>
              <a:gd name="connsiteX823" fmla="*/ 1118153 w 9667345"/>
              <a:gd name="connsiteY823" fmla="*/ 4310684 h 6858889"/>
              <a:gd name="connsiteX824" fmla="*/ 2101823 w 9667345"/>
              <a:gd name="connsiteY824" fmla="*/ 5921465 h 6858889"/>
              <a:gd name="connsiteX825" fmla="*/ 2473076 w 9667345"/>
              <a:gd name="connsiteY825" fmla="*/ 6231346 h 6858889"/>
              <a:gd name="connsiteX826" fmla="*/ 3536701 w 9667345"/>
              <a:gd name="connsiteY826" fmla="*/ 6857592 h 6858889"/>
              <a:gd name="connsiteX827" fmla="*/ 3511634 w 9667345"/>
              <a:gd name="connsiteY827" fmla="*/ 6857592 h 6858889"/>
              <a:gd name="connsiteX828" fmla="*/ 2463136 w 9667345"/>
              <a:gd name="connsiteY828" fmla="*/ 6237397 h 6858889"/>
              <a:gd name="connsiteX829" fmla="*/ 2091882 w 9667345"/>
              <a:gd name="connsiteY829" fmla="*/ 5925354 h 6858889"/>
              <a:gd name="connsiteX830" fmla="*/ 1101298 w 9667345"/>
              <a:gd name="connsiteY830" fmla="*/ 4312414 h 6858889"/>
              <a:gd name="connsiteX831" fmla="*/ 910701 w 9667345"/>
              <a:gd name="connsiteY831" fmla="*/ 3205569 h 6858889"/>
              <a:gd name="connsiteX832" fmla="*/ 1054621 w 9667345"/>
              <a:gd name="connsiteY832" fmla="*/ 2282407 h 6858889"/>
              <a:gd name="connsiteX833" fmla="*/ 1111671 w 9667345"/>
              <a:gd name="connsiteY833" fmla="*/ 2014016 h 6858889"/>
              <a:gd name="connsiteX834" fmla="*/ 1235277 w 9667345"/>
              <a:gd name="connsiteY834" fmla="*/ 116260 h 6858889"/>
              <a:gd name="connsiteX835" fmla="*/ 1225337 w 9667345"/>
              <a:gd name="connsiteY835" fmla="*/ 433 h 6858889"/>
              <a:gd name="connsiteX836" fmla="*/ 1074069 w 9667345"/>
              <a:gd name="connsiteY836" fmla="*/ 433 h 6858889"/>
              <a:gd name="connsiteX837" fmla="*/ 1090925 w 9667345"/>
              <a:gd name="connsiteY837" fmla="*/ 433 h 6858889"/>
              <a:gd name="connsiteX838" fmla="*/ 1104323 w 9667345"/>
              <a:gd name="connsiteY838" fmla="*/ 149107 h 6858889"/>
              <a:gd name="connsiteX839" fmla="*/ 983741 w 9667345"/>
              <a:gd name="connsiteY839" fmla="*/ 2053345 h 6858889"/>
              <a:gd name="connsiteX840" fmla="*/ 930150 w 9667345"/>
              <a:gd name="connsiteY840" fmla="*/ 2315686 h 6858889"/>
              <a:gd name="connsiteX841" fmla="*/ 789687 w 9667345"/>
              <a:gd name="connsiteY841" fmla="*/ 3249221 h 6858889"/>
              <a:gd name="connsiteX842" fmla="*/ 990657 w 9667345"/>
              <a:gd name="connsiteY842" fmla="*/ 4356065 h 6858889"/>
              <a:gd name="connsiteX843" fmla="*/ 1991614 w 9667345"/>
              <a:gd name="connsiteY843" fmla="*/ 5966845 h 6858889"/>
              <a:gd name="connsiteX844" fmla="*/ 2362867 w 9667345"/>
              <a:gd name="connsiteY844" fmla="*/ 6276726 h 6858889"/>
              <a:gd name="connsiteX845" fmla="*/ 3342214 w 9667345"/>
              <a:gd name="connsiteY845" fmla="*/ 6858024 h 6858889"/>
              <a:gd name="connsiteX846" fmla="*/ 3320605 w 9667345"/>
              <a:gd name="connsiteY846" fmla="*/ 6858024 h 6858889"/>
              <a:gd name="connsiteX847" fmla="*/ 2352927 w 9667345"/>
              <a:gd name="connsiteY847" fmla="*/ 6283209 h 6858889"/>
              <a:gd name="connsiteX848" fmla="*/ 1978216 w 9667345"/>
              <a:gd name="connsiteY848" fmla="*/ 5971166 h 6858889"/>
              <a:gd name="connsiteX849" fmla="*/ 977691 w 9667345"/>
              <a:gd name="connsiteY849" fmla="*/ 4358225 h 6858889"/>
              <a:gd name="connsiteX850" fmla="*/ 776722 w 9667345"/>
              <a:gd name="connsiteY850" fmla="*/ 3249221 h 6858889"/>
              <a:gd name="connsiteX851" fmla="*/ 913294 w 9667345"/>
              <a:gd name="connsiteY851" fmla="*/ 2313525 h 6858889"/>
              <a:gd name="connsiteX852" fmla="*/ 970344 w 9667345"/>
              <a:gd name="connsiteY852" fmla="*/ 2053345 h 6858889"/>
              <a:gd name="connsiteX853" fmla="*/ 1090925 w 9667345"/>
              <a:gd name="connsiteY853" fmla="*/ 149107 h 6858889"/>
              <a:gd name="connsiteX854" fmla="*/ 1074069 w 9667345"/>
              <a:gd name="connsiteY854" fmla="*/ 433 h 6858889"/>
              <a:gd name="connsiteX855" fmla="*/ 780179 w 9667345"/>
              <a:gd name="connsiteY855" fmla="*/ 433 h 6858889"/>
              <a:gd name="connsiteX856" fmla="*/ 793577 w 9667345"/>
              <a:gd name="connsiteY856" fmla="*/ 433 h 6858889"/>
              <a:gd name="connsiteX857" fmla="*/ 816915 w 9667345"/>
              <a:gd name="connsiteY857" fmla="*/ 213072 h 6858889"/>
              <a:gd name="connsiteX858" fmla="*/ 703249 w 9667345"/>
              <a:gd name="connsiteY858" fmla="*/ 2131572 h 6858889"/>
              <a:gd name="connsiteX859" fmla="*/ 653115 w 9667345"/>
              <a:gd name="connsiteY859" fmla="*/ 2377489 h 6858889"/>
              <a:gd name="connsiteX860" fmla="*/ 522593 w 9667345"/>
              <a:gd name="connsiteY860" fmla="*/ 3335659 h 6858889"/>
              <a:gd name="connsiteX861" fmla="*/ 739985 w 9667345"/>
              <a:gd name="connsiteY861" fmla="*/ 4444664 h 6858889"/>
              <a:gd name="connsiteX862" fmla="*/ 1767306 w 9667345"/>
              <a:gd name="connsiteY862" fmla="*/ 6057605 h 6858889"/>
              <a:gd name="connsiteX863" fmla="*/ 2145475 w 9667345"/>
              <a:gd name="connsiteY863" fmla="*/ 6367487 h 6858889"/>
              <a:gd name="connsiteX864" fmla="*/ 2960590 w 9667345"/>
              <a:gd name="connsiteY864" fmla="*/ 6857160 h 6858889"/>
              <a:gd name="connsiteX865" fmla="*/ 2936818 w 9667345"/>
              <a:gd name="connsiteY865" fmla="*/ 6857160 h 6858889"/>
              <a:gd name="connsiteX866" fmla="*/ 2135535 w 9667345"/>
              <a:gd name="connsiteY866" fmla="*/ 6373105 h 6858889"/>
              <a:gd name="connsiteX867" fmla="*/ 1753909 w 9667345"/>
              <a:gd name="connsiteY867" fmla="*/ 6063223 h 6858889"/>
              <a:gd name="connsiteX868" fmla="*/ 726587 w 9667345"/>
              <a:gd name="connsiteY868" fmla="*/ 4446393 h 6858889"/>
              <a:gd name="connsiteX869" fmla="*/ 509195 w 9667345"/>
              <a:gd name="connsiteY869" fmla="*/ 3335227 h 6858889"/>
              <a:gd name="connsiteX870" fmla="*/ 639717 w 9667345"/>
              <a:gd name="connsiteY870" fmla="*/ 2377057 h 6858889"/>
              <a:gd name="connsiteX871" fmla="*/ 686393 w 9667345"/>
              <a:gd name="connsiteY871" fmla="*/ 2129411 h 6858889"/>
              <a:gd name="connsiteX872" fmla="*/ 803517 w 9667345"/>
              <a:gd name="connsiteY872" fmla="*/ 215232 h 6858889"/>
              <a:gd name="connsiteX873" fmla="*/ 780179 w 9667345"/>
              <a:gd name="connsiteY873" fmla="*/ 433 h 6858889"/>
              <a:gd name="connsiteX874" fmla="*/ 628912 w 9667345"/>
              <a:gd name="connsiteY874" fmla="*/ 433 h 6858889"/>
              <a:gd name="connsiteX875" fmla="*/ 645768 w 9667345"/>
              <a:gd name="connsiteY875" fmla="*/ 433 h 6858889"/>
              <a:gd name="connsiteX876" fmla="*/ 672563 w 9667345"/>
              <a:gd name="connsiteY876" fmla="*/ 246350 h 6858889"/>
              <a:gd name="connsiteX877" fmla="*/ 558897 w 9667345"/>
              <a:gd name="connsiteY877" fmla="*/ 2170901 h 6858889"/>
              <a:gd name="connsiteX878" fmla="*/ 515245 w 9667345"/>
              <a:gd name="connsiteY878" fmla="*/ 2408175 h 6858889"/>
              <a:gd name="connsiteX879" fmla="*/ 391639 w 9667345"/>
              <a:gd name="connsiteY879" fmla="*/ 3378879 h 6858889"/>
              <a:gd name="connsiteX880" fmla="*/ 612488 w 9667345"/>
              <a:gd name="connsiteY880" fmla="*/ 4490044 h 6858889"/>
              <a:gd name="connsiteX881" fmla="*/ 1653207 w 9667345"/>
              <a:gd name="connsiteY881" fmla="*/ 6102985 h 6858889"/>
              <a:gd name="connsiteX882" fmla="*/ 2034834 w 9667345"/>
              <a:gd name="connsiteY882" fmla="*/ 6412867 h 6858889"/>
              <a:gd name="connsiteX883" fmla="*/ 2768696 w 9667345"/>
              <a:gd name="connsiteY883" fmla="*/ 6857592 h 6858889"/>
              <a:gd name="connsiteX884" fmla="*/ 2748382 w 9667345"/>
              <a:gd name="connsiteY884" fmla="*/ 6857592 h 6858889"/>
              <a:gd name="connsiteX885" fmla="*/ 2024893 w 9667345"/>
              <a:gd name="connsiteY885" fmla="*/ 6419349 h 6858889"/>
              <a:gd name="connsiteX886" fmla="*/ 1643267 w 9667345"/>
              <a:gd name="connsiteY886" fmla="*/ 6109468 h 6858889"/>
              <a:gd name="connsiteX887" fmla="*/ 599091 w 9667345"/>
              <a:gd name="connsiteY887" fmla="*/ 4492205 h 6858889"/>
              <a:gd name="connsiteX888" fmla="*/ 374782 w 9667345"/>
              <a:gd name="connsiteY888" fmla="*/ 3379311 h 6858889"/>
              <a:gd name="connsiteX889" fmla="*/ 501847 w 9667345"/>
              <a:gd name="connsiteY889" fmla="*/ 2408607 h 6858889"/>
              <a:gd name="connsiteX890" fmla="*/ 545499 w 9667345"/>
              <a:gd name="connsiteY890" fmla="*/ 2169173 h 6858889"/>
              <a:gd name="connsiteX891" fmla="*/ 659165 w 9667345"/>
              <a:gd name="connsiteY891" fmla="*/ 246350 h 6858889"/>
              <a:gd name="connsiteX892" fmla="*/ 628912 w 9667345"/>
              <a:gd name="connsiteY892" fmla="*/ 433 h 6858889"/>
              <a:gd name="connsiteX893" fmla="*/ 4150413 w 9667345"/>
              <a:gd name="connsiteY893" fmla="*/ 0 h 6858889"/>
              <a:gd name="connsiteX894" fmla="*/ 4163811 w 9667345"/>
              <a:gd name="connsiteY894" fmla="*/ 0 h 6858889"/>
              <a:gd name="connsiteX895" fmla="*/ 3952901 w 9667345"/>
              <a:gd name="connsiteY895" fmla="*/ 1239096 h 6858889"/>
              <a:gd name="connsiteX896" fmla="*/ 3822380 w 9667345"/>
              <a:gd name="connsiteY896" fmla="*/ 1596518 h 6858889"/>
              <a:gd name="connsiteX897" fmla="*/ 3588131 w 9667345"/>
              <a:gd name="connsiteY897" fmla="*/ 2348100 h 6858889"/>
              <a:gd name="connsiteX898" fmla="*/ 3638265 w 9667345"/>
              <a:gd name="connsiteY898" fmla="*/ 3413886 h 6858889"/>
              <a:gd name="connsiteX899" fmla="*/ 4350951 w 9667345"/>
              <a:gd name="connsiteY899" fmla="*/ 5010403 h 6858889"/>
              <a:gd name="connsiteX900" fmla="*/ 4658670 w 9667345"/>
              <a:gd name="connsiteY900" fmla="*/ 5326336 h 6858889"/>
              <a:gd name="connsiteX901" fmla="*/ 6081015 w 9667345"/>
              <a:gd name="connsiteY901" fmla="*/ 6214491 h 6858889"/>
              <a:gd name="connsiteX902" fmla="*/ 6522715 w 9667345"/>
              <a:gd name="connsiteY902" fmla="*/ 6404654 h 6858889"/>
              <a:gd name="connsiteX903" fmla="*/ 7824477 w 9667345"/>
              <a:gd name="connsiteY903" fmla="*/ 6826042 h 6858889"/>
              <a:gd name="connsiteX904" fmla="*/ 7951543 w 9667345"/>
              <a:gd name="connsiteY904" fmla="*/ 6857160 h 6858889"/>
              <a:gd name="connsiteX905" fmla="*/ 7910051 w 9667345"/>
              <a:gd name="connsiteY905" fmla="*/ 6857160 h 6858889"/>
              <a:gd name="connsiteX906" fmla="*/ 7817994 w 9667345"/>
              <a:gd name="connsiteY906" fmla="*/ 6833822 h 6858889"/>
              <a:gd name="connsiteX907" fmla="*/ 6516232 w 9667345"/>
              <a:gd name="connsiteY907" fmla="*/ 6410273 h 6858889"/>
              <a:gd name="connsiteX908" fmla="*/ 6071074 w 9667345"/>
              <a:gd name="connsiteY908" fmla="*/ 6220110 h 6858889"/>
              <a:gd name="connsiteX909" fmla="*/ 4648731 w 9667345"/>
              <a:gd name="connsiteY909" fmla="*/ 5330225 h 6858889"/>
              <a:gd name="connsiteX910" fmla="*/ 4337553 w 9667345"/>
              <a:gd name="connsiteY910" fmla="*/ 5014293 h 6858889"/>
              <a:gd name="connsiteX911" fmla="*/ 3621411 w 9667345"/>
              <a:gd name="connsiteY911" fmla="*/ 3413886 h 6858889"/>
              <a:gd name="connsiteX912" fmla="*/ 3574733 w 9667345"/>
              <a:gd name="connsiteY912" fmla="*/ 2348100 h 6858889"/>
              <a:gd name="connsiteX913" fmla="*/ 3808982 w 9667345"/>
              <a:gd name="connsiteY913" fmla="*/ 1594358 h 6858889"/>
              <a:gd name="connsiteX914" fmla="*/ 3939503 w 9667345"/>
              <a:gd name="connsiteY914" fmla="*/ 1239096 h 6858889"/>
              <a:gd name="connsiteX915" fmla="*/ 4150413 w 9667345"/>
              <a:gd name="connsiteY915" fmla="*/ 0 h 68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</a:cxnLst>
            <a:rect l="l" t="t" r="r" b="b"/>
            <a:pathLst>
              <a:path w="9667345" h="6858889">
                <a:moveTo>
                  <a:pt x="0" y="6810685"/>
                </a:moveTo>
                <a:lnTo>
                  <a:pt x="59283" y="6858456"/>
                </a:lnTo>
                <a:lnTo>
                  <a:pt x="39402" y="6858456"/>
                </a:lnTo>
                <a:lnTo>
                  <a:pt x="0" y="6827674"/>
                </a:lnTo>
                <a:close/>
                <a:moveTo>
                  <a:pt x="0" y="6672270"/>
                </a:moveTo>
                <a:lnTo>
                  <a:pt x="80461" y="6741333"/>
                </a:lnTo>
                <a:cubicBezTo>
                  <a:pt x="130162" y="6780662"/>
                  <a:pt x="180728" y="6819559"/>
                  <a:pt x="232159" y="6857592"/>
                </a:cubicBezTo>
                <a:lnTo>
                  <a:pt x="213144" y="6857592"/>
                </a:lnTo>
                <a:cubicBezTo>
                  <a:pt x="164738" y="6821288"/>
                  <a:pt x="117197" y="6784552"/>
                  <a:pt x="70519" y="6747384"/>
                </a:cubicBezTo>
                <a:lnTo>
                  <a:pt x="0" y="6686879"/>
                </a:lnTo>
                <a:close/>
                <a:moveTo>
                  <a:pt x="0" y="6527854"/>
                </a:moveTo>
                <a:lnTo>
                  <a:pt x="2977" y="6530761"/>
                </a:lnTo>
                <a:cubicBezTo>
                  <a:pt x="64732" y="6587479"/>
                  <a:pt x="128433" y="6642523"/>
                  <a:pt x="194126" y="6695952"/>
                </a:cubicBezTo>
                <a:cubicBezTo>
                  <a:pt x="261117" y="6750841"/>
                  <a:pt x="331564" y="6805297"/>
                  <a:pt x="404173" y="6858024"/>
                </a:cubicBezTo>
                <a:lnTo>
                  <a:pt x="386452" y="6858024"/>
                </a:lnTo>
                <a:cubicBezTo>
                  <a:pt x="315573" y="6807459"/>
                  <a:pt x="246854" y="6755595"/>
                  <a:pt x="180728" y="6702435"/>
                </a:cubicBezTo>
                <a:lnTo>
                  <a:pt x="0" y="6545608"/>
                </a:lnTo>
                <a:close/>
                <a:moveTo>
                  <a:pt x="0" y="6370764"/>
                </a:moveTo>
                <a:lnTo>
                  <a:pt x="116037" y="6485384"/>
                </a:lnTo>
                <a:cubicBezTo>
                  <a:pt x="177042" y="6542099"/>
                  <a:pt x="239940" y="6597143"/>
                  <a:pt x="304768" y="6650572"/>
                </a:cubicBezTo>
                <a:cubicBezTo>
                  <a:pt x="392072" y="6721019"/>
                  <a:pt x="483697" y="6790170"/>
                  <a:pt x="578345" y="6858024"/>
                </a:cubicBezTo>
                <a:lnTo>
                  <a:pt x="559329" y="6858024"/>
                </a:lnTo>
                <a:cubicBezTo>
                  <a:pt x="466839" y="6793196"/>
                  <a:pt x="377808" y="6726206"/>
                  <a:pt x="294395" y="6657055"/>
                </a:cubicBezTo>
                <a:cubicBezTo>
                  <a:pt x="229134" y="6603409"/>
                  <a:pt x="165865" y="6548177"/>
                  <a:pt x="104541" y="6491293"/>
                </a:cubicBezTo>
                <a:lnTo>
                  <a:pt x="0" y="6388228"/>
                </a:lnTo>
                <a:close/>
                <a:moveTo>
                  <a:pt x="0" y="6202503"/>
                </a:moveTo>
                <a:lnTo>
                  <a:pt x="55211" y="6264794"/>
                </a:lnTo>
                <a:cubicBezTo>
                  <a:pt x="168600" y="6385017"/>
                  <a:pt x="289533" y="6498333"/>
                  <a:pt x="418434" y="6605192"/>
                </a:cubicBezTo>
                <a:cubicBezTo>
                  <a:pt x="522593" y="6691631"/>
                  <a:pt x="635828" y="6776340"/>
                  <a:pt x="754680" y="6857592"/>
                </a:cubicBezTo>
                <a:lnTo>
                  <a:pt x="735663" y="6857592"/>
                </a:lnTo>
                <a:cubicBezTo>
                  <a:pt x="620270" y="6778069"/>
                  <a:pt x="510060" y="6695520"/>
                  <a:pt x="408494" y="6611243"/>
                </a:cubicBezTo>
                <a:cubicBezTo>
                  <a:pt x="278836" y="6503843"/>
                  <a:pt x="157336" y="6390123"/>
                  <a:pt x="43521" y="6269568"/>
                </a:cubicBezTo>
                <a:lnTo>
                  <a:pt x="0" y="6220508"/>
                </a:lnTo>
                <a:close/>
                <a:moveTo>
                  <a:pt x="0" y="6024018"/>
                </a:moveTo>
                <a:lnTo>
                  <a:pt x="8034" y="6034410"/>
                </a:lnTo>
                <a:cubicBezTo>
                  <a:pt x="165001" y="6225012"/>
                  <a:pt x="338317" y="6399523"/>
                  <a:pt x="529076" y="6559812"/>
                </a:cubicBezTo>
                <a:cubicBezTo>
                  <a:pt x="652683" y="6662242"/>
                  <a:pt x="789255" y="6762942"/>
                  <a:pt x="932743" y="6858024"/>
                </a:cubicBezTo>
                <a:lnTo>
                  <a:pt x="913294" y="6858024"/>
                </a:lnTo>
                <a:cubicBezTo>
                  <a:pt x="773696" y="6765103"/>
                  <a:pt x="640149" y="6666563"/>
                  <a:pt x="519135" y="6564134"/>
                </a:cubicBezTo>
                <a:cubicBezTo>
                  <a:pt x="391098" y="6457275"/>
                  <a:pt x="271003" y="6343959"/>
                  <a:pt x="158491" y="6223702"/>
                </a:cubicBezTo>
                <a:lnTo>
                  <a:pt x="0" y="6043322"/>
                </a:lnTo>
                <a:close/>
                <a:moveTo>
                  <a:pt x="0" y="5825690"/>
                </a:moveTo>
                <a:lnTo>
                  <a:pt x="125453" y="5989143"/>
                </a:lnTo>
                <a:cubicBezTo>
                  <a:pt x="281200" y="6179631"/>
                  <a:pt x="453280" y="6354142"/>
                  <a:pt x="642743" y="6514432"/>
                </a:cubicBezTo>
                <a:cubicBezTo>
                  <a:pt x="770240" y="6619886"/>
                  <a:pt x="907245" y="6722749"/>
                  <a:pt x="1051163" y="6819992"/>
                </a:cubicBezTo>
                <a:cubicBezTo>
                  <a:pt x="1070613" y="6832525"/>
                  <a:pt x="1090493" y="6845058"/>
                  <a:pt x="1109942" y="6858456"/>
                </a:cubicBezTo>
                <a:lnTo>
                  <a:pt x="1090062" y="6858456"/>
                </a:lnTo>
                <a:cubicBezTo>
                  <a:pt x="1073637" y="6848084"/>
                  <a:pt x="1057215" y="6837712"/>
                  <a:pt x="1040791" y="6826907"/>
                </a:cubicBezTo>
                <a:cubicBezTo>
                  <a:pt x="896871" y="6729664"/>
                  <a:pt x="755977" y="6626369"/>
                  <a:pt x="632370" y="6519185"/>
                </a:cubicBezTo>
                <a:cubicBezTo>
                  <a:pt x="441611" y="6358896"/>
                  <a:pt x="268781" y="6184081"/>
                  <a:pt x="112604" y="5993214"/>
                </a:cubicBezTo>
                <a:lnTo>
                  <a:pt x="0" y="5846530"/>
                </a:lnTo>
                <a:close/>
                <a:moveTo>
                  <a:pt x="0" y="5604549"/>
                </a:moveTo>
                <a:lnTo>
                  <a:pt x="95478" y="5747885"/>
                </a:lnTo>
                <a:cubicBezTo>
                  <a:pt x="286291" y="6016330"/>
                  <a:pt x="505520" y="6255332"/>
                  <a:pt x="756408" y="6469052"/>
                </a:cubicBezTo>
                <a:cubicBezTo>
                  <a:pt x="880449" y="6574506"/>
                  <a:pt x="1017453" y="6677369"/>
                  <a:pt x="1161372" y="6774611"/>
                </a:cubicBezTo>
                <a:cubicBezTo>
                  <a:pt x="1202863" y="6803136"/>
                  <a:pt x="1246083" y="6830364"/>
                  <a:pt x="1289734" y="6857592"/>
                </a:cubicBezTo>
                <a:lnTo>
                  <a:pt x="1271150" y="6857592"/>
                </a:lnTo>
                <a:cubicBezTo>
                  <a:pt x="1230523" y="6832093"/>
                  <a:pt x="1190329" y="6806593"/>
                  <a:pt x="1151432" y="6780662"/>
                </a:cubicBezTo>
                <a:cubicBezTo>
                  <a:pt x="1004054" y="6683419"/>
                  <a:pt x="870076" y="6580125"/>
                  <a:pt x="743010" y="6472941"/>
                </a:cubicBezTo>
                <a:cubicBezTo>
                  <a:pt x="491907" y="6260303"/>
                  <a:pt x="272678" y="6021301"/>
                  <a:pt x="81919" y="5752315"/>
                </a:cubicBezTo>
                <a:lnTo>
                  <a:pt x="0" y="5628996"/>
                </a:lnTo>
                <a:close/>
                <a:moveTo>
                  <a:pt x="0" y="5359076"/>
                </a:moveTo>
                <a:lnTo>
                  <a:pt x="78670" y="5496155"/>
                </a:lnTo>
                <a:cubicBezTo>
                  <a:pt x="296387" y="5850882"/>
                  <a:pt x="557492" y="6157873"/>
                  <a:pt x="867049" y="6423672"/>
                </a:cubicBezTo>
                <a:cubicBezTo>
                  <a:pt x="991088" y="6529127"/>
                  <a:pt x="1128093" y="6631988"/>
                  <a:pt x="1272015" y="6729231"/>
                </a:cubicBezTo>
                <a:cubicBezTo>
                  <a:pt x="1335979" y="6773315"/>
                  <a:pt x="1402536" y="6816102"/>
                  <a:pt x="1469526" y="6857592"/>
                </a:cubicBezTo>
                <a:lnTo>
                  <a:pt x="1450509" y="6857592"/>
                </a:lnTo>
                <a:cubicBezTo>
                  <a:pt x="1385681" y="6818263"/>
                  <a:pt x="1321284" y="6777637"/>
                  <a:pt x="1258184" y="6735282"/>
                </a:cubicBezTo>
                <a:cubicBezTo>
                  <a:pt x="1114264" y="6638039"/>
                  <a:pt x="980285" y="6534745"/>
                  <a:pt x="856678" y="6427561"/>
                </a:cubicBezTo>
                <a:cubicBezTo>
                  <a:pt x="547120" y="6161763"/>
                  <a:pt x="284664" y="5854772"/>
                  <a:pt x="65196" y="5499518"/>
                </a:cubicBezTo>
                <a:lnTo>
                  <a:pt x="0" y="5386698"/>
                </a:lnTo>
                <a:close/>
                <a:moveTo>
                  <a:pt x="0" y="5079907"/>
                </a:moveTo>
                <a:lnTo>
                  <a:pt x="75746" y="5232455"/>
                </a:lnTo>
                <a:cubicBezTo>
                  <a:pt x="314438" y="5681597"/>
                  <a:pt x="611840" y="6058901"/>
                  <a:pt x="980716" y="6377859"/>
                </a:cubicBezTo>
                <a:cubicBezTo>
                  <a:pt x="1100866" y="6483315"/>
                  <a:pt x="1238303" y="6586176"/>
                  <a:pt x="1378765" y="6683419"/>
                </a:cubicBezTo>
                <a:cubicBezTo>
                  <a:pt x="1466068" y="6743925"/>
                  <a:pt x="1558557" y="6801840"/>
                  <a:pt x="1652775" y="6858024"/>
                </a:cubicBezTo>
                <a:lnTo>
                  <a:pt x="1631165" y="6858024"/>
                </a:lnTo>
                <a:cubicBezTo>
                  <a:pt x="1540405" y="6804432"/>
                  <a:pt x="1452670" y="6748680"/>
                  <a:pt x="1368824" y="6690334"/>
                </a:cubicBezTo>
                <a:cubicBezTo>
                  <a:pt x="1224905" y="6593091"/>
                  <a:pt x="1090925" y="6489797"/>
                  <a:pt x="967318" y="6382614"/>
                </a:cubicBezTo>
                <a:cubicBezTo>
                  <a:pt x="600712" y="6063656"/>
                  <a:pt x="301932" y="5685380"/>
                  <a:pt x="62592" y="5235569"/>
                </a:cubicBezTo>
                <a:lnTo>
                  <a:pt x="0" y="5109615"/>
                </a:lnTo>
                <a:close/>
                <a:moveTo>
                  <a:pt x="0" y="4754262"/>
                </a:moveTo>
                <a:lnTo>
                  <a:pt x="86287" y="4958028"/>
                </a:lnTo>
                <a:cubicBezTo>
                  <a:pt x="336960" y="5509160"/>
                  <a:pt x="666675" y="5960362"/>
                  <a:pt x="1091358" y="6332479"/>
                </a:cubicBezTo>
                <a:cubicBezTo>
                  <a:pt x="1214964" y="6437934"/>
                  <a:pt x="1348944" y="6540795"/>
                  <a:pt x="1489406" y="6638039"/>
                </a:cubicBezTo>
                <a:cubicBezTo>
                  <a:pt x="1600048" y="6714537"/>
                  <a:pt x="1716308" y="6787577"/>
                  <a:pt x="1836889" y="6857592"/>
                </a:cubicBezTo>
                <a:lnTo>
                  <a:pt x="1816575" y="6857592"/>
                </a:lnTo>
                <a:cubicBezTo>
                  <a:pt x="1699884" y="6789306"/>
                  <a:pt x="1586651" y="6718427"/>
                  <a:pt x="1479466" y="6644089"/>
                </a:cubicBezTo>
                <a:cubicBezTo>
                  <a:pt x="1335546" y="6546846"/>
                  <a:pt x="1201999" y="6443552"/>
                  <a:pt x="1081417" y="6336369"/>
                </a:cubicBezTo>
                <a:cubicBezTo>
                  <a:pt x="656734" y="5964251"/>
                  <a:pt x="324372" y="5511395"/>
                  <a:pt x="73038" y="4959848"/>
                </a:cubicBezTo>
                <a:lnTo>
                  <a:pt x="0" y="4787554"/>
                </a:lnTo>
                <a:close/>
                <a:moveTo>
                  <a:pt x="0" y="4357497"/>
                </a:moveTo>
                <a:lnTo>
                  <a:pt x="3590" y="4371077"/>
                </a:lnTo>
                <a:cubicBezTo>
                  <a:pt x="33405" y="4468408"/>
                  <a:pt x="67926" y="4568055"/>
                  <a:pt x="107256" y="4670269"/>
                </a:cubicBezTo>
                <a:cubicBezTo>
                  <a:pt x="364842" y="5332819"/>
                  <a:pt x="723130" y="5861822"/>
                  <a:pt x="1205024" y="6287099"/>
                </a:cubicBezTo>
                <a:cubicBezTo>
                  <a:pt x="1325606" y="6392554"/>
                  <a:pt x="1456128" y="6495415"/>
                  <a:pt x="1600048" y="6592659"/>
                </a:cubicBezTo>
                <a:cubicBezTo>
                  <a:pt x="1733164" y="6685148"/>
                  <a:pt x="1874923" y="6773747"/>
                  <a:pt x="2023165" y="6858024"/>
                </a:cubicBezTo>
                <a:lnTo>
                  <a:pt x="2001554" y="6858024"/>
                </a:lnTo>
                <a:cubicBezTo>
                  <a:pt x="1858500" y="6775908"/>
                  <a:pt x="1719334" y="6689469"/>
                  <a:pt x="1587082" y="6599142"/>
                </a:cubicBezTo>
                <a:cubicBezTo>
                  <a:pt x="1446188" y="6501898"/>
                  <a:pt x="1315665" y="6398605"/>
                  <a:pt x="1192058" y="6291421"/>
                </a:cubicBezTo>
                <a:cubicBezTo>
                  <a:pt x="713190" y="5866144"/>
                  <a:pt x="351877" y="5337573"/>
                  <a:pt x="94290" y="4672429"/>
                </a:cubicBezTo>
                <a:lnTo>
                  <a:pt x="0" y="4400852"/>
                </a:lnTo>
                <a:close/>
                <a:moveTo>
                  <a:pt x="0" y="3631903"/>
                </a:moveTo>
                <a:lnTo>
                  <a:pt x="10844" y="3768898"/>
                </a:lnTo>
                <a:cubicBezTo>
                  <a:pt x="44858" y="4035486"/>
                  <a:pt x="118926" y="4317816"/>
                  <a:pt x="234320" y="4624456"/>
                </a:cubicBezTo>
                <a:cubicBezTo>
                  <a:pt x="488449" y="5287439"/>
                  <a:pt x="839822" y="5816009"/>
                  <a:pt x="1315233" y="6239558"/>
                </a:cubicBezTo>
                <a:cubicBezTo>
                  <a:pt x="1435814" y="6347174"/>
                  <a:pt x="1566337" y="6450035"/>
                  <a:pt x="1706800" y="6547278"/>
                </a:cubicBezTo>
                <a:cubicBezTo>
                  <a:pt x="1864118" y="6656623"/>
                  <a:pt x="2028350" y="6758620"/>
                  <a:pt x="2205549" y="6857592"/>
                </a:cubicBezTo>
                <a:lnTo>
                  <a:pt x="2183507" y="6857592"/>
                </a:lnTo>
                <a:cubicBezTo>
                  <a:pt x="2010198" y="6760782"/>
                  <a:pt x="1848127" y="6660513"/>
                  <a:pt x="1696860" y="6553329"/>
                </a:cubicBezTo>
                <a:cubicBezTo>
                  <a:pt x="1556397" y="6456086"/>
                  <a:pt x="1425874" y="6352792"/>
                  <a:pt x="1305292" y="6245609"/>
                </a:cubicBezTo>
                <a:cubicBezTo>
                  <a:pt x="829883" y="5820332"/>
                  <a:pt x="475051" y="5291760"/>
                  <a:pt x="220923" y="4626617"/>
                </a:cubicBezTo>
                <a:cubicBezTo>
                  <a:pt x="142263" y="4421110"/>
                  <a:pt x="82837" y="4226947"/>
                  <a:pt x="42265" y="4041321"/>
                </a:cubicBezTo>
                <a:lnTo>
                  <a:pt x="0" y="3795139"/>
                </a:lnTo>
                <a:close/>
                <a:moveTo>
                  <a:pt x="5434888" y="1729"/>
                </a:moveTo>
                <a:lnTo>
                  <a:pt x="5448286" y="1729"/>
                </a:lnTo>
                <a:cubicBezTo>
                  <a:pt x="5418033" y="302967"/>
                  <a:pt x="5344560" y="600316"/>
                  <a:pt x="5227436" y="893774"/>
                </a:cubicBezTo>
                <a:cubicBezTo>
                  <a:pt x="5173844" y="1019974"/>
                  <a:pt x="5117227" y="1145742"/>
                  <a:pt x="5060177" y="1269781"/>
                </a:cubicBezTo>
                <a:cubicBezTo>
                  <a:pt x="4952995" y="1494521"/>
                  <a:pt x="4842785" y="1727905"/>
                  <a:pt x="4785736" y="1963449"/>
                </a:cubicBezTo>
                <a:cubicBezTo>
                  <a:pt x="4695407" y="2329084"/>
                  <a:pt x="4728687" y="2696879"/>
                  <a:pt x="4768880" y="3010651"/>
                </a:cubicBezTo>
                <a:cubicBezTo>
                  <a:pt x="4832844" y="3470935"/>
                  <a:pt x="4956451" y="4067793"/>
                  <a:pt x="5361416" y="4600686"/>
                </a:cubicBezTo>
                <a:cubicBezTo>
                  <a:pt x="5441371" y="4710462"/>
                  <a:pt x="5538614" y="4817646"/>
                  <a:pt x="5642341" y="4920939"/>
                </a:cubicBezTo>
                <a:cubicBezTo>
                  <a:pt x="5986797" y="5257618"/>
                  <a:pt x="6438438" y="5559287"/>
                  <a:pt x="6990779" y="5817306"/>
                </a:cubicBezTo>
                <a:cubicBezTo>
                  <a:pt x="7131674" y="5883431"/>
                  <a:pt x="7275593" y="5945235"/>
                  <a:pt x="7425997" y="6003148"/>
                </a:cubicBezTo>
                <a:cubicBezTo>
                  <a:pt x="7821020" y="6156144"/>
                  <a:pt x="8255805" y="6287963"/>
                  <a:pt x="8717818" y="6393418"/>
                </a:cubicBezTo>
                <a:cubicBezTo>
                  <a:pt x="9019489" y="6462137"/>
                  <a:pt x="9337150" y="6520050"/>
                  <a:pt x="9666913" y="6567592"/>
                </a:cubicBezTo>
                <a:lnTo>
                  <a:pt x="9666913" y="6576236"/>
                </a:lnTo>
                <a:cubicBezTo>
                  <a:pt x="9335853" y="6528262"/>
                  <a:pt x="9016896" y="6470348"/>
                  <a:pt x="8714362" y="6401198"/>
                </a:cubicBezTo>
                <a:cubicBezTo>
                  <a:pt x="8249322" y="6295742"/>
                  <a:pt x="7814105" y="6163492"/>
                  <a:pt x="7416056" y="6008767"/>
                </a:cubicBezTo>
                <a:cubicBezTo>
                  <a:pt x="7268679" y="5950854"/>
                  <a:pt x="7124759" y="5889050"/>
                  <a:pt x="6984296" y="5822924"/>
                </a:cubicBezTo>
                <a:cubicBezTo>
                  <a:pt x="6428930" y="5564474"/>
                  <a:pt x="5973832" y="5263236"/>
                  <a:pt x="5632400" y="4924397"/>
                </a:cubicBezTo>
                <a:cubicBezTo>
                  <a:pt x="5525216" y="4821103"/>
                  <a:pt x="5431863" y="4713487"/>
                  <a:pt x="5348018" y="4604143"/>
                </a:cubicBezTo>
                <a:cubicBezTo>
                  <a:pt x="4943053" y="4069089"/>
                  <a:pt x="4819014" y="3472232"/>
                  <a:pt x="4755482" y="3009786"/>
                </a:cubicBezTo>
                <a:cubicBezTo>
                  <a:pt x="4712262" y="2697743"/>
                  <a:pt x="4682010" y="2328220"/>
                  <a:pt x="4772337" y="1962585"/>
                </a:cubicBezTo>
                <a:cubicBezTo>
                  <a:pt x="4828955" y="1725312"/>
                  <a:pt x="4939596" y="1491927"/>
                  <a:pt x="5043322" y="1266755"/>
                </a:cubicBezTo>
                <a:cubicBezTo>
                  <a:pt x="5103397" y="1142716"/>
                  <a:pt x="5160446" y="1016517"/>
                  <a:pt x="5210581" y="890749"/>
                </a:cubicBezTo>
                <a:cubicBezTo>
                  <a:pt x="5327704" y="597723"/>
                  <a:pt x="5404635" y="300374"/>
                  <a:pt x="5434888" y="1729"/>
                </a:cubicBezTo>
                <a:close/>
                <a:moveTo>
                  <a:pt x="5575783" y="1297"/>
                </a:moveTo>
                <a:lnTo>
                  <a:pt x="5589181" y="1297"/>
                </a:lnTo>
                <a:cubicBezTo>
                  <a:pt x="5555902" y="288272"/>
                  <a:pt x="5481997" y="573087"/>
                  <a:pt x="5368330" y="854012"/>
                </a:cubicBezTo>
                <a:cubicBezTo>
                  <a:pt x="5314738" y="979780"/>
                  <a:pt x="5254664" y="1107709"/>
                  <a:pt x="5197614" y="1231748"/>
                </a:cubicBezTo>
                <a:cubicBezTo>
                  <a:pt x="5090430" y="1454760"/>
                  <a:pt x="4979790" y="1685982"/>
                  <a:pt x="4919715" y="1921527"/>
                </a:cubicBezTo>
                <a:cubicBezTo>
                  <a:pt x="4825929" y="2282839"/>
                  <a:pt x="4856183" y="2652364"/>
                  <a:pt x="4896376" y="2964406"/>
                </a:cubicBezTo>
                <a:cubicBezTo>
                  <a:pt x="4956883" y="3424691"/>
                  <a:pt x="5077033" y="4021548"/>
                  <a:pt x="5472057" y="4554441"/>
                </a:cubicBezTo>
                <a:cubicBezTo>
                  <a:pt x="5555470" y="4664218"/>
                  <a:pt x="5649256" y="4771402"/>
                  <a:pt x="5752981" y="4874695"/>
                </a:cubicBezTo>
                <a:cubicBezTo>
                  <a:pt x="6094413" y="5213533"/>
                  <a:pt x="6546053" y="5515204"/>
                  <a:pt x="7094937" y="5773223"/>
                </a:cubicBezTo>
                <a:cubicBezTo>
                  <a:pt x="7232375" y="5837187"/>
                  <a:pt x="7376294" y="5898990"/>
                  <a:pt x="7526698" y="5956904"/>
                </a:cubicBezTo>
                <a:cubicBezTo>
                  <a:pt x="7921721" y="6109900"/>
                  <a:pt x="8353481" y="6239990"/>
                  <a:pt x="8818519" y="6343283"/>
                </a:cubicBezTo>
                <a:cubicBezTo>
                  <a:pt x="9090369" y="6405087"/>
                  <a:pt x="9373886" y="6457382"/>
                  <a:pt x="9666913" y="6500602"/>
                </a:cubicBezTo>
                <a:lnTo>
                  <a:pt x="9666913" y="6509246"/>
                </a:lnTo>
                <a:cubicBezTo>
                  <a:pt x="9372158" y="6465594"/>
                  <a:pt x="9086479" y="6413299"/>
                  <a:pt x="8811605" y="6351496"/>
                </a:cubicBezTo>
                <a:cubicBezTo>
                  <a:pt x="8349591" y="6248201"/>
                  <a:pt x="7914374" y="6118112"/>
                  <a:pt x="7516324" y="5965116"/>
                </a:cubicBezTo>
                <a:cubicBezTo>
                  <a:pt x="7368947" y="5907202"/>
                  <a:pt x="7225028" y="5845399"/>
                  <a:pt x="7084564" y="5779273"/>
                </a:cubicBezTo>
                <a:cubicBezTo>
                  <a:pt x="6535681" y="5521255"/>
                  <a:pt x="6080582" y="5217856"/>
                  <a:pt x="5739151" y="4879017"/>
                </a:cubicBezTo>
                <a:cubicBezTo>
                  <a:pt x="5635425" y="4775724"/>
                  <a:pt x="5542072" y="4668108"/>
                  <a:pt x="5458226" y="4558762"/>
                </a:cubicBezTo>
                <a:cubicBezTo>
                  <a:pt x="5059745" y="4023709"/>
                  <a:pt x="4942621" y="3427284"/>
                  <a:pt x="4882546" y="2966567"/>
                </a:cubicBezTo>
                <a:cubicBezTo>
                  <a:pt x="4842352" y="2652364"/>
                  <a:pt x="4812099" y="2282839"/>
                  <a:pt x="4905886" y="1919366"/>
                </a:cubicBezTo>
                <a:cubicBezTo>
                  <a:pt x="4965960" y="1683821"/>
                  <a:pt x="5076601" y="1452598"/>
                  <a:pt x="5180327" y="1229587"/>
                </a:cubicBezTo>
                <a:cubicBezTo>
                  <a:pt x="5240834" y="1105980"/>
                  <a:pt x="5300909" y="977619"/>
                  <a:pt x="5354501" y="851851"/>
                </a:cubicBezTo>
                <a:cubicBezTo>
                  <a:pt x="5468599" y="573087"/>
                  <a:pt x="5542072" y="287840"/>
                  <a:pt x="5575783" y="1297"/>
                </a:cubicBezTo>
                <a:close/>
                <a:moveTo>
                  <a:pt x="5293994" y="1297"/>
                </a:moveTo>
                <a:lnTo>
                  <a:pt x="5307392" y="1297"/>
                </a:lnTo>
                <a:cubicBezTo>
                  <a:pt x="5277139" y="315069"/>
                  <a:pt x="5203665" y="624950"/>
                  <a:pt x="5083083" y="930511"/>
                </a:cubicBezTo>
                <a:cubicBezTo>
                  <a:pt x="5036406" y="1056710"/>
                  <a:pt x="4976332" y="1182478"/>
                  <a:pt x="4919283" y="1306517"/>
                </a:cubicBezTo>
                <a:cubicBezTo>
                  <a:pt x="4815557" y="1533851"/>
                  <a:pt x="4708806" y="1768963"/>
                  <a:pt x="4651756" y="2006668"/>
                </a:cubicBezTo>
                <a:cubicBezTo>
                  <a:pt x="4564885" y="2374031"/>
                  <a:pt x="4598597" y="2741827"/>
                  <a:pt x="4645273" y="3055599"/>
                </a:cubicBezTo>
                <a:cubicBezTo>
                  <a:pt x="4712262" y="3515884"/>
                  <a:pt x="4839328" y="4112741"/>
                  <a:pt x="5247749" y="4645633"/>
                </a:cubicBezTo>
                <a:cubicBezTo>
                  <a:pt x="5331595" y="4755410"/>
                  <a:pt x="5428405" y="4862594"/>
                  <a:pt x="5535589" y="4965888"/>
                </a:cubicBezTo>
                <a:cubicBezTo>
                  <a:pt x="5877020" y="5300404"/>
                  <a:pt x="6335575" y="5602075"/>
                  <a:pt x="6890942" y="5862254"/>
                </a:cubicBezTo>
                <a:cubicBezTo>
                  <a:pt x="7031838" y="5926218"/>
                  <a:pt x="7175758" y="5988023"/>
                  <a:pt x="7326160" y="6045935"/>
                </a:cubicBezTo>
                <a:cubicBezTo>
                  <a:pt x="7721184" y="6201092"/>
                  <a:pt x="8159427" y="6335072"/>
                  <a:pt x="8617983" y="6440527"/>
                </a:cubicBezTo>
                <a:cubicBezTo>
                  <a:pt x="8950770" y="6516161"/>
                  <a:pt x="9301711" y="6580989"/>
                  <a:pt x="9667345" y="6632852"/>
                </a:cubicBezTo>
                <a:lnTo>
                  <a:pt x="9667345" y="6642793"/>
                </a:lnTo>
                <a:cubicBezTo>
                  <a:pt x="9298685" y="6590498"/>
                  <a:pt x="8946016" y="6526101"/>
                  <a:pt x="8614525" y="6448739"/>
                </a:cubicBezTo>
                <a:cubicBezTo>
                  <a:pt x="8152944" y="6341123"/>
                  <a:pt x="7714269" y="6208872"/>
                  <a:pt x="7316220" y="6054147"/>
                </a:cubicBezTo>
                <a:cubicBezTo>
                  <a:pt x="7168842" y="5996234"/>
                  <a:pt x="7021464" y="5934431"/>
                  <a:pt x="6884460" y="5868305"/>
                </a:cubicBezTo>
                <a:cubicBezTo>
                  <a:pt x="6325635" y="5607693"/>
                  <a:pt x="5867512" y="5306455"/>
                  <a:pt x="5522623" y="4969778"/>
                </a:cubicBezTo>
                <a:cubicBezTo>
                  <a:pt x="5415440" y="4866483"/>
                  <a:pt x="5318629" y="4758867"/>
                  <a:pt x="5234783" y="4649523"/>
                </a:cubicBezTo>
                <a:cubicBezTo>
                  <a:pt x="4826361" y="4114469"/>
                  <a:pt x="4695840" y="3515884"/>
                  <a:pt x="4628850" y="3055167"/>
                </a:cubicBezTo>
                <a:cubicBezTo>
                  <a:pt x="4585198" y="2741395"/>
                  <a:pt x="4551920" y="2371870"/>
                  <a:pt x="4638790" y="2004076"/>
                </a:cubicBezTo>
                <a:cubicBezTo>
                  <a:pt x="4695407" y="1766370"/>
                  <a:pt x="4802591" y="1531258"/>
                  <a:pt x="4906318" y="1303924"/>
                </a:cubicBezTo>
                <a:cubicBezTo>
                  <a:pt x="4962934" y="1179885"/>
                  <a:pt x="5019984" y="1053685"/>
                  <a:pt x="5070118" y="927917"/>
                </a:cubicBezTo>
                <a:cubicBezTo>
                  <a:pt x="5190699" y="624518"/>
                  <a:pt x="5264173" y="312908"/>
                  <a:pt x="5293994" y="1297"/>
                </a:cubicBezTo>
                <a:close/>
                <a:moveTo>
                  <a:pt x="5150073" y="1297"/>
                </a:moveTo>
                <a:lnTo>
                  <a:pt x="5163472" y="1297"/>
                </a:lnTo>
                <a:cubicBezTo>
                  <a:pt x="5140133" y="327603"/>
                  <a:pt x="5066228" y="651747"/>
                  <a:pt x="4942621" y="969840"/>
                </a:cubicBezTo>
                <a:cubicBezTo>
                  <a:pt x="4895512" y="1096040"/>
                  <a:pt x="4838895" y="1221807"/>
                  <a:pt x="4781845" y="1343686"/>
                </a:cubicBezTo>
                <a:cubicBezTo>
                  <a:pt x="4681145" y="1572748"/>
                  <a:pt x="4574394" y="1810454"/>
                  <a:pt x="4517344" y="2049888"/>
                </a:cubicBezTo>
                <a:cubicBezTo>
                  <a:pt x="4433499" y="2417251"/>
                  <a:pt x="4470667" y="2786775"/>
                  <a:pt x="4517344" y="3098818"/>
                </a:cubicBezTo>
                <a:cubicBezTo>
                  <a:pt x="4587359" y="3559535"/>
                  <a:pt x="4721339" y="4155959"/>
                  <a:pt x="5136243" y="4691014"/>
                </a:cubicBezTo>
                <a:cubicBezTo>
                  <a:pt x="5220088" y="4800790"/>
                  <a:pt x="5316900" y="4907974"/>
                  <a:pt x="5424084" y="5011268"/>
                </a:cubicBezTo>
                <a:cubicBezTo>
                  <a:pt x="5768540" y="5343623"/>
                  <a:pt x="6230554" y="5645293"/>
                  <a:pt x="6789377" y="5905473"/>
                </a:cubicBezTo>
                <a:cubicBezTo>
                  <a:pt x="6930272" y="5971598"/>
                  <a:pt x="7074193" y="6033402"/>
                  <a:pt x="7224595" y="6091316"/>
                </a:cubicBezTo>
                <a:cubicBezTo>
                  <a:pt x="7623076" y="6248201"/>
                  <a:pt x="8057862" y="6380452"/>
                  <a:pt x="8519875" y="6487636"/>
                </a:cubicBezTo>
                <a:cubicBezTo>
                  <a:pt x="8879026" y="6571913"/>
                  <a:pt x="9262813" y="6643225"/>
                  <a:pt x="9666480" y="6699411"/>
                </a:cubicBezTo>
                <a:lnTo>
                  <a:pt x="9666480" y="6708918"/>
                </a:lnTo>
                <a:cubicBezTo>
                  <a:pt x="9261516" y="6651869"/>
                  <a:pt x="8875568" y="6580557"/>
                  <a:pt x="8513393" y="6495848"/>
                </a:cubicBezTo>
                <a:cubicBezTo>
                  <a:pt x="8051379" y="6388664"/>
                  <a:pt x="7616161" y="6254252"/>
                  <a:pt x="7218112" y="6099527"/>
                </a:cubicBezTo>
                <a:cubicBezTo>
                  <a:pt x="7067710" y="6039452"/>
                  <a:pt x="6920332" y="5977649"/>
                  <a:pt x="6779869" y="5911524"/>
                </a:cubicBezTo>
                <a:cubicBezTo>
                  <a:pt x="6221045" y="5651345"/>
                  <a:pt x="5759032" y="5349674"/>
                  <a:pt x="5411118" y="5015158"/>
                </a:cubicBezTo>
                <a:cubicBezTo>
                  <a:pt x="5303934" y="4911864"/>
                  <a:pt x="5207123" y="4804248"/>
                  <a:pt x="5123278" y="4694903"/>
                </a:cubicBezTo>
                <a:cubicBezTo>
                  <a:pt x="4708373" y="4157688"/>
                  <a:pt x="4574826" y="3561263"/>
                  <a:pt x="4504379" y="3100547"/>
                </a:cubicBezTo>
                <a:cubicBezTo>
                  <a:pt x="4457701" y="2786775"/>
                  <a:pt x="4420534" y="2416819"/>
                  <a:pt x="4504379" y="2047294"/>
                </a:cubicBezTo>
                <a:cubicBezTo>
                  <a:pt x="4561428" y="1807860"/>
                  <a:pt x="4668612" y="1570154"/>
                  <a:pt x="4768880" y="1341093"/>
                </a:cubicBezTo>
                <a:cubicBezTo>
                  <a:pt x="4825929" y="1219214"/>
                  <a:pt x="4882979" y="1093015"/>
                  <a:pt x="4929656" y="967246"/>
                </a:cubicBezTo>
                <a:cubicBezTo>
                  <a:pt x="5053263" y="649153"/>
                  <a:pt x="5127167" y="327170"/>
                  <a:pt x="5150073" y="1297"/>
                </a:cubicBezTo>
                <a:close/>
                <a:moveTo>
                  <a:pt x="5008747" y="1297"/>
                </a:moveTo>
                <a:lnTo>
                  <a:pt x="5022145" y="1297"/>
                </a:lnTo>
                <a:cubicBezTo>
                  <a:pt x="4998807" y="340136"/>
                  <a:pt x="4924902" y="676814"/>
                  <a:pt x="4801294" y="1009169"/>
                </a:cubicBezTo>
                <a:cubicBezTo>
                  <a:pt x="4754618" y="1132776"/>
                  <a:pt x="4697569" y="1258976"/>
                  <a:pt x="4643977" y="1378694"/>
                </a:cubicBezTo>
                <a:cubicBezTo>
                  <a:pt x="4543708" y="1612077"/>
                  <a:pt x="4439982" y="1851512"/>
                  <a:pt x="4386390" y="2093107"/>
                </a:cubicBezTo>
                <a:cubicBezTo>
                  <a:pt x="4302977" y="2462631"/>
                  <a:pt x="4343171" y="2832155"/>
                  <a:pt x="4389848" y="3144198"/>
                </a:cubicBezTo>
                <a:cubicBezTo>
                  <a:pt x="4463320" y="3604915"/>
                  <a:pt x="4600325" y="4201340"/>
                  <a:pt x="5022145" y="4736393"/>
                </a:cubicBezTo>
                <a:cubicBezTo>
                  <a:pt x="5109448" y="4846171"/>
                  <a:pt x="5206258" y="4953355"/>
                  <a:pt x="5313442" y="5056648"/>
                </a:cubicBezTo>
                <a:cubicBezTo>
                  <a:pt x="5661356" y="5386843"/>
                  <a:pt x="6122938" y="5686351"/>
                  <a:pt x="6688676" y="5948692"/>
                </a:cubicBezTo>
                <a:cubicBezTo>
                  <a:pt x="6829571" y="6014818"/>
                  <a:pt x="6973492" y="6076622"/>
                  <a:pt x="7123895" y="6136696"/>
                </a:cubicBezTo>
                <a:cubicBezTo>
                  <a:pt x="7522376" y="6293582"/>
                  <a:pt x="7960618" y="6427993"/>
                  <a:pt x="8419174" y="6537339"/>
                </a:cubicBezTo>
                <a:cubicBezTo>
                  <a:pt x="8805986" y="6628962"/>
                  <a:pt x="9224349" y="6706325"/>
                  <a:pt x="9666049" y="6767264"/>
                </a:cubicBezTo>
                <a:lnTo>
                  <a:pt x="9666049" y="6775908"/>
                </a:lnTo>
                <a:cubicBezTo>
                  <a:pt x="9222187" y="6714537"/>
                  <a:pt x="8802529" y="6637175"/>
                  <a:pt x="8412691" y="6545550"/>
                </a:cubicBezTo>
                <a:cubicBezTo>
                  <a:pt x="7954135" y="6436206"/>
                  <a:pt x="7515460" y="6299633"/>
                  <a:pt x="7117412" y="6142747"/>
                </a:cubicBezTo>
                <a:cubicBezTo>
                  <a:pt x="6967009" y="6084833"/>
                  <a:pt x="6819631" y="6023030"/>
                  <a:pt x="6679169" y="5956904"/>
                </a:cubicBezTo>
                <a:cubicBezTo>
                  <a:pt x="6113862" y="5692402"/>
                  <a:pt x="5651848" y="5392893"/>
                  <a:pt x="5303934" y="5060537"/>
                </a:cubicBezTo>
                <a:cubicBezTo>
                  <a:pt x="5193725" y="4957244"/>
                  <a:pt x="5096482" y="4849628"/>
                  <a:pt x="5009611" y="4740283"/>
                </a:cubicBezTo>
                <a:cubicBezTo>
                  <a:pt x="4588224" y="4203068"/>
                  <a:pt x="4450787" y="3606643"/>
                  <a:pt x="4377314" y="3145926"/>
                </a:cubicBezTo>
                <a:cubicBezTo>
                  <a:pt x="4327180" y="2831723"/>
                  <a:pt x="4290444" y="2462199"/>
                  <a:pt x="4370831" y="2090514"/>
                </a:cubicBezTo>
                <a:cubicBezTo>
                  <a:pt x="4424423" y="1848919"/>
                  <a:pt x="4531607" y="1609484"/>
                  <a:pt x="4631875" y="1376100"/>
                </a:cubicBezTo>
                <a:cubicBezTo>
                  <a:pt x="4685467" y="1256383"/>
                  <a:pt x="4742516" y="1130616"/>
                  <a:pt x="4789193" y="1006575"/>
                </a:cubicBezTo>
                <a:cubicBezTo>
                  <a:pt x="4912800" y="675949"/>
                  <a:pt x="4986705" y="339703"/>
                  <a:pt x="5008747" y="1297"/>
                </a:cubicBezTo>
                <a:close/>
                <a:moveTo>
                  <a:pt x="4865691" y="1297"/>
                </a:moveTo>
                <a:lnTo>
                  <a:pt x="4879089" y="1297"/>
                </a:lnTo>
                <a:cubicBezTo>
                  <a:pt x="4862666" y="352670"/>
                  <a:pt x="4788761" y="703609"/>
                  <a:pt x="4661697" y="1048499"/>
                </a:cubicBezTo>
                <a:cubicBezTo>
                  <a:pt x="4615020" y="1172538"/>
                  <a:pt x="4561428" y="1296577"/>
                  <a:pt x="4507836" y="1416295"/>
                </a:cubicBezTo>
                <a:cubicBezTo>
                  <a:pt x="4407567" y="1649678"/>
                  <a:pt x="4303842" y="1891273"/>
                  <a:pt x="4253707" y="2135030"/>
                </a:cubicBezTo>
                <a:cubicBezTo>
                  <a:pt x="4173320" y="2511036"/>
                  <a:pt x="4216971" y="2895255"/>
                  <a:pt x="4267105" y="3190442"/>
                </a:cubicBezTo>
                <a:cubicBezTo>
                  <a:pt x="4344036" y="3651159"/>
                  <a:pt x="4484930" y="4247584"/>
                  <a:pt x="4909775" y="4782638"/>
                </a:cubicBezTo>
                <a:cubicBezTo>
                  <a:pt x="4996645" y="4892416"/>
                  <a:pt x="5096914" y="4999599"/>
                  <a:pt x="5207555" y="5102893"/>
                </a:cubicBezTo>
                <a:cubicBezTo>
                  <a:pt x="5555470" y="5431358"/>
                  <a:pt x="6020509" y="5730435"/>
                  <a:pt x="6586247" y="5994937"/>
                </a:cubicBezTo>
                <a:cubicBezTo>
                  <a:pt x="6730168" y="6061062"/>
                  <a:pt x="6874087" y="6122866"/>
                  <a:pt x="7024491" y="6180779"/>
                </a:cubicBezTo>
                <a:cubicBezTo>
                  <a:pt x="7426430" y="6339826"/>
                  <a:pt x="7861214" y="6476399"/>
                  <a:pt x="8319770" y="6585744"/>
                </a:cubicBezTo>
                <a:cubicBezTo>
                  <a:pt x="8733378" y="6684284"/>
                  <a:pt x="9185883" y="6769425"/>
                  <a:pt x="9666913" y="6835982"/>
                </a:cubicBezTo>
                <a:lnTo>
                  <a:pt x="9666913" y="6844626"/>
                </a:lnTo>
                <a:cubicBezTo>
                  <a:pt x="9184585" y="6778069"/>
                  <a:pt x="8730784" y="6692928"/>
                  <a:pt x="8316312" y="6593955"/>
                </a:cubicBezTo>
                <a:cubicBezTo>
                  <a:pt x="7854731" y="6484179"/>
                  <a:pt x="7419514" y="6348038"/>
                  <a:pt x="7018008" y="6188992"/>
                </a:cubicBezTo>
                <a:cubicBezTo>
                  <a:pt x="6867604" y="6131078"/>
                  <a:pt x="6720226" y="6067113"/>
                  <a:pt x="6579764" y="6000988"/>
                </a:cubicBezTo>
                <a:cubicBezTo>
                  <a:pt x="6010567" y="5736486"/>
                  <a:pt x="5545529" y="5437409"/>
                  <a:pt x="5194157" y="5106782"/>
                </a:cubicBezTo>
                <a:cubicBezTo>
                  <a:pt x="5083948" y="5003488"/>
                  <a:pt x="4986705" y="4895872"/>
                  <a:pt x="4899835" y="4786528"/>
                </a:cubicBezTo>
                <a:cubicBezTo>
                  <a:pt x="4471532" y="4249313"/>
                  <a:pt x="4327612" y="3650727"/>
                  <a:pt x="4254139" y="3190010"/>
                </a:cubicBezTo>
                <a:cubicBezTo>
                  <a:pt x="4204005" y="2896552"/>
                  <a:pt x="4156895" y="2510604"/>
                  <a:pt x="4240741" y="2134598"/>
                </a:cubicBezTo>
                <a:cubicBezTo>
                  <a:pt x="4290876" y="1890841"/>
                  <a:pt x="4394601" y="1647084"/>
                  <a:pt x="4494870" y="1413701"/>
                </a:cubicBezTo>
                <a:cubicBezTo>
                  <a:pt x="4548030" y="1293552"/>
                  <a:pt x="4601622" y="1169945"/>
                  <a:pt x="4645273" y="1045906"/>
                </a:cubicBezTo>
                <a:cubicBezTo>
                  <a:pt x="4775796" y="701016"/>
                  <a:pt x="4849268" y="351805"/>
                  <a:pt x="4865691" y="1297"/>
                </a:cubicBezTo>
                <a:close/>
                <a:moveTo>
                  <a:pt x="4438253" y="1297"/>
                </a:moveTo>
                <a:lnTo>
                  <a:pt x="4451652" y="1297"/>
                </a:lnTo>
                <a:cubicBezTo>
                  <a:pt x="4441278" y="391567"/>
                  <a:pt x="4371263" y="779675"/>
                  <a:pt x="4237284" y="1163894"/>
                </a:cubicBezTo>
                <a:cubicBezTo>
                  <a:pt x="4194064" y="1285772"/>
                  <a:pt x="4143498" y="1407650"/>
                  <a:pt x="4096821" y="1525207"/>
                </a:cubicBezTo>
                <a:cubicBezTo>
                  <a:pt x="4000010" y="1765073"/>
                  <a:pt x="3899309" y="2014880"/>
                  <a:pt x="3852633" y="2264687"/>
                </a:cubicBezTo>
                <a:cubicBezTo>
                  <a:pt x="3782187" y="2644584"/>
                  <a:pt x="3832320" y="3030532"/>
                  <a:pt x="3889369" y="3323990"/>
                </a:cubicBezTo>
                <a:cubicBezTo>
                  <a:pt x="3972783" y="3784706"/>
                  <a:pt x="4130100" y="4381564"/>
                  <a:pt x="4575258" y="4918347"/>
                </a:cubicBezTo>
                <a:cubicBezTo>
                  <a:pt x="4665586" y="5027691"/>
                  <a:pt x="4766286" y="5135307"/>
                  <a:pt x="4879953" y="5236440"/>
                </a:cubicBezTo>
                <a:cubicBezTo>
                  <a:pt x="5231326" y="5560584"/>
                  <a:pt x="5706304" y="5860093"/>
                  <a:pt x="6285442" y="6126323"/>
                </a:cubicBezTo>
                <a:cubicBezTo>
                  <a:pt x="6425904" y="6192449"/>
                  <a:pt x="6573281" y="6256413"/>
                  <a:pt x="6723685" y="6314327"/>
                </a:cubicBezTo>
                <a:cubicBezTo>
                  <a:pt x="7128648" y="6475103"/>
                  <a:pt x="7566892" y="6615565"/>
                  <a:pt x="8021989" y="6729231"/>
                </a:cubicBezTo>
                <a:cubicBezTo>
                  <a:pt x="8202645" y="6774179"/>
                  <a:pt x="8391946" y="6816966"/>
                  <a:pt x="8590321" y="6858456"/>
                </a:cubicBezTo>
                <a:lnTo>
                  <a:pt x="8546671" y="6858456"/>
                </a:lnTo>
                <a:cubicBezTo>
                  <a:pt x="8362557" y="6819992"/>
                  <a:pt x="8186222" y="6779798"/>
                  <a:pt x="8018964" y="6737876"/>
                </a:cubicBezTo>
                <a:cubicBezTo>
                  <a:pt x="7560409" y="6624641"/>
                  <a:pt x="7122165" y="6484179"/>
                  <a:pt x="6717202" y="6322971"/>
                </a:cubicBezTo>
                <a:cubicBezTo>
                  <a:pt x="6566798" y="6262896"/>
                  <a:pt x="6419421" y="6198932"/>
                  <a:pt x="6275502" y="6134968"/>
                </a:cubicBezTo>
                <a:cubicBezTo>
                  <a:pt x="5696365" y="5866576"/>
                  <a:pt x="5221385" y="5564906"/>
                  <a:pt x="4866555" y="5242923"/>
                </a:cubicBezTo>
                <a:cubicBezTo>
                  <a:pt x="4752457" y="5139629"/>
                  <a:pt x="4652188" y="5032013"/>
                  <a:pt x="4561860" y="4922669"/>
                </a:cubicBezTo>
                <a:cubicBezTo>
                  <a:pt x="4117134" y="4383293"/>
                  <a:pt x="3959817" y="3784706"/>
                  <a:pt x="3875971" y="3326151"/>
                </a:cubicBezTo>
                <a:cubicBezTo>
                  <a:pt x="3819355" y="3030964"/>
                  <a:pt x="3765762" y="2644584"/>
                  <a:pt x="3839235" y="2262526"/>
                </a:cubicBezTo>
                <a:cubicBezTo>
                  <a:pt x="3885911" y="2012287"/>
                  <a:pt x="3986180" y="1764641"/>
                  <a:pt x="4083423" y="1523045"/>
                </a:cubicBezTo>
                <a:cubicBezTo>
                  <a:pt x="4130100" y="1405489"/>
                  <a:pt x="4180235" y="1283611"/>
                  <a:pt x="4223886" y="1161733"/>
                </a:cubicBezTo>
                <a:cubicBezTo>
                  <a:pt x="4357866" y="779675"/>
                  <a:pt x="4428313" y="391567"/>
                  <a:pt x="4438253" y="1297"/>
                </a:cubicBezTo>
                <a:close/>
                <a:moveTo>
                  <a:pt x="3715197" y="1297"/>
                </a:moveTo>
                <a:lnTo>
                  <a:pt x="3728595" y="1297"/>
                </a:lnTo>
                <a:cubicBezTo>
                  <a:pt x="3738534" y="453370"/>
                  <a:pt x="3671545" y="907604"/>
                  <a:pt x="3531083" y="1357948"/>
                </a:cubicBezTo>
                <a:cubicBezTo>
                  <a:pt x="3494347" y="1473776"/>
                  <a:pt x="3450694" y="1591332"/>
                  <a:pt x="3410501" y="1704998"/>
                </a:cubicBezTo>
                <a:cubicBezTo>
                  <a:pt x="3320173" y="1956967"/>
                  <a:pt x="3226388" y="2217146"/>
                  <a:pt x="3186194" y="2479486"/>
                </a:cubicBezTo>
                <a:cubicBezTo>
                  <a:pt x="3142542" y="2782886"/>
                  <a:pt x="3162423" y="3121725"/>
                  <a:pt x="3259665" y="3549162"/>
                </a:cubicBezTo>
                <a:cubicBezTo>
                  <a:pt x="3410070" y="4230297"/>
                  <a:pt x="3641292" y="4723861"/>
                  <a:pt x="4012544" y="5147409"/>
                </a:cubicBezTo>
                <a:cubicBezTo>
                  <a:pt x="4106330" y="5254592"/>
                  <a:pt x="4213513" y="5362207"/>
                  <a:pt x="4330638" y="5463341"/>
                </a:cubicBezTo>
                <a:cubicBezTo>
                  <a:pt x="4691950" y="5774951"/>
                  <a:pt x="5177302" y="6072299"/>
                  <a:pt x="5776320" y="6347174"/>
                </a:cubicBezTo>
                <a:cubicBezTo>
                  <a:pt x="5923697" y="6415028"/>
                  <a:pt x="6071074" y="6478992"/>
                  <a:pt x="6221478" y="6539067"/>
                </a:cubicBezTo>
                <a:cubicBezTo>
                  <a:pt x="6514504" y="6655326"/>
                  <a:pt x="6818767" y="6762510"/>
                  <a:pt x="7132106" y="6858889"/>
                </a:cubicBezTo>
                <a:lnTo>
                  <a:pt x="7102285" y="6858889"/>
                </a:lnTo>
                <a:cubicBezTo>
                  <a:pt x="6797589" y="6765103"/>
                  <a:pt x="6500242" y="6660513"/>
                  <a:pt x="6214995" y="6546414"/>
                </a:cubicBezTo>
                <a:cubicBezTo>
                  <a:pt x="6064159" y="6486339"/>
                  <a:pt x="5913757" y="6422375"/>
                  <a:pt x="5769837" y="6356249"/>
                </a:cubicBezTo>
                <a:cubicBezTo>
                  <a:pt x="5167361" y="6079214"/>
                  <a:pt x="4682010" y="5781866"/>
                  <a:pt x="4320697" y="5468095"/>
                </a:cubicBezTo>
                <a:cubicBezTo>
                  <a:pt x="4203573" y="5366962"/>
                  <a:pt x="4096821" y="5259346"/>
                  <a:pt x="3999578" y="5152162"/>
                </a:cubicBezTo>
                <a:cubicBezTo>
                  <a:pt x="3627894" y="4726885"/>
                  <a:pt x="3397102" y="4233322"/>
                  <a:pt x="3243243" y="3549594"/>
                </a:cubicBezTo>
                <a:cubicBezTo>
                  <a:pt x="3186194" y="3281203"/>
                  <a:pt x="3112721" y="2878400"/>
                  <a:pt x="3172796" y="2477758"/>
                </a:cubicBezTo>
                <a:cubicBezTo>
                  <a:pt x="3212988" y="2215417"/>
                  <a:pt x="3306775" y="1955237"/>
                  <a:pt x="3397102" y="1703270"/>
                </a:cubicBezTo>
                <a:cubicBezTo>
                  <a:pt x="3437296" y="1589603"/>
                  <a:pt x="3477491" y="1472047"/>
                  <a:pt x="3514226" y="1356220"/>
                </a:cubicBezTo>
                <a:cubicBezTo>
                  <a:pt x="3658147" y="908036"/>
                  <a:pt x="3725137" y="453370"/>
                  <a:pt x="3715197" y="1297"/>
                </a:cubicBezTo>
                <a:close/>
                <a:moveTo>
                  <a:pt x="3566955" y="1297"/>
                </a:moveTo>
                <a:lnTo>
                  <a:pt x="3583809" y="1297"/>
                </a:lnTo>
                <a:cubicBezTo>
                  <a:pt x="3593751" y="465903"/>
                  <a:pt x="3530218" y="932671"/>
                  <a:pt x="3386299" y="1395117"/>
                </a:cubicBezTo>
                <a:cubicBezTo>
                  <a:pt x="3353019" y="1510944"/>
                  <a:pt x="3312826" y="1628500"/>
                  <a:pt x="3272631" y="1740006"/>
                </a:cubicBezTo>
                <a:cubicBezTo>
                  <a:pt x="3182303" y="1994135"/>
                  <a:pt x="3091976" y="2258205"/>
                  <a:pt x="3055239" y="2520545"/>
                </a:cubicBezTo>
                <a:cubicBezTo>
                  <a:pt x="3011588" y="2826105"/>
                  <a:pt x="3034926" y="3167104"/>
                  <a:pt x="3132169" y="3592381"/>
                </a:cubicBezTo>
                <a:cubicBezTo>
                  <a:pt x="3228980" y="4015497"/>
                  <a:pt x="3413094" y="4643472"/>
                  <a:pt x="3898445" y="5192789"/>
                </a:cubicBezTo>
                <a:cubicBezTo>
                  <a:pt x="3995256" y="5299972"/>
                  <a:pt x="4102439" y="5407588"/>
                  <a:pt x="4223022" y="5508721"/>
                </a:cubicBezTo>
                <a:cubicBezTo>
                  <a:pt x="4587792" y="5822492"/>
                  <a:pt x="5063203" y="6111629"/>
                  <a:pt x="5675619" y="6392554"/>
                </a:cubicBezTo>
                <a:cubicBezTo>
                  <a:pt x="5822996" y="6458678"/>
                  <a:pt x="5973400" y="6522644"/>
                  <a:pt x="6120777" y="6584447"/>
                </a:cubicBezTo>
                <a:cubicBezTo>
                  <a:pt x="6369287" y="6682122"/>
                  <a:pt x="6624280" y="6773747"/>
                  <a:pt x="6884460" y="6858024"/>
                </a:cubicBezTo>
                <a:lnTo>
                  <a:pt x="6853343" y="6858024"/>
                </a:lnTo>
                <a:cubicBezTo>
                  <a:pt x="6600943" y="6775908"/>
                  <a:pt x="6353296" y="6686444"/>
                  <a:pt x="6113862" y="6590931"/>
                </a:cubicBezTo>
                <a:cubicBezTo>
                  <a:pt x="5963026" y="6531288"/>
                  <a:pt x="5812624" y="6467323"/>
                  <a:pt x="5665247" y="6399037"/>
                </a:cubicBezTo>
                <a:cubicBezTo>
                  <a:pt x="5052831" y="6118112"/>
                  <a:pt x="4577851" y="5828975"/>
                  <a:pt x="4209623" y="5513043"/>
                </a:cubicBezTo>
                <a:cubicBezTo>
                  <a:pt x="4092499" y="5411910"/>
                  <a:pt x="3982290" y="5304294"/>
                  <a:pt x="3888505" y="5197111"/>
                </a:cubicBezTo>
                <a:cubicBezTo>
                  <a:pt x="3399696" y="4645633"/>
                  <a:pt x="3216015" y="4018091"/>
                  <a:pt x="3118771" y="3594543"/>
                </a:cubicBezTo>
                <a:cubicBezTo>
                  <a:pt x="3021528" y="3168832"/>
                  <a:pt x="2994731" y="2826105"/>
                  <a:pt x="3038384" y="2520545"/>
                </a:cubicBezTo>
                <a:cubicBezTo>
                  <a:pt x="3078578" y="2256043"/>
                  <a:pt x="3168906" y="1994135"/>
                  <a:pt x="3259234" y="1737845"/>
                </a:cubicBezTo>
                <a:cubicBezTo>
                  <a:pt x="3295971" y="1626340"/>
                  <a:pt x="3339622" y="1510944"/>
                  <a:pt x="3372899" y="1395117"/>
                </a:cubicBezTo>
                <a:cubicBezTo>
                  <a:pt x="3516821" y="932671"/>
                  <a:pt x="3580353" y="465903"/>
                  <a:pt x="3566955" y="1297"/>
                </a:cubicBezTo>
                <a:close/>
                <a:moveTo>
                  <a:pt x="3423467" y="1297"/>
                </a:moveTo>
                <a:lnTo>
                  <a:pt x="3436865" y="1297"/>
                </a:lnTo>
                <a:cubicBezTo>
                  <a:pt x="3453720" y="478437"/>
                  <a:pt x="3390188" y="959467"/>
                  <a:pt x="3246268" y="1434446"/>
                </a:cubicBezTo>
                <a:cubicBezTo>
                  <a:pt x="3212557" y="1549842"/>
                  <a:pt x="3172364" y="1663508"/>
                  <a:pt x="3135627" y="1775013"/>
                </a:cubicBezTo>
                <a:cubicBezTo>
                  <a:pt x="3048324" y="2033033"/>
                  <a:pt x="2957995" y="2297534"/>
                  <a:pt x="2921258" y="2563764"/>
                </a:cubicBezTo>
                <a:cubicBezTo>
                  <a:pt x="2878041" y="2871485"/>
                  <a:pt x="2907861" y="3212484"/>
                  <a:pt x="3005104" y="3637761"/>
                </a:cubicBezTo>
                <a:cubicBezTo>
                  <a:pt x="3165880" y="4311116"/>
                  <a:pt x="3413525" y="4818942"/>
                  <a:pt x="3788238" y="5238168"/>
                </a:cubicBezTo>
                <a:cubicBezTo>
                  <a:pt x="3885047" y="5345352"/>
                  <a:pt x="3992231" y="5452968"/>
                  <a:pt x="4112813" y="5554101"/>
                </a:cubicBezTo>
                <a:cubicBezTo>
                  <a:pt x="4481040" y="5865712"/>
                  <a:pt x="4956451" y="6154848"/>
                  <a:pt x="5575351" y="6435773"/>
                </a:cubicBezTo>
                <a:cubicBezTo>
                  <a:pt x="5722728" y="6503627"/>
                  <a:pt x="5873131" y="6567592"/>
                  <a:pt x="6020509" y="6627666"/>
                </a:cubicBezTo>
                <a:cubicBezTo>
                  <a:pt x="6223206" y="6709783"/>
                  <a:pt x="6432387" y="6786281"/>
                  <a:pt x="6644161" y="6857592"/>
                </a:cubicBezTo>
                <a:lnTo>
                  <a:pt x="6615637" y="6857592"/>
                </a:lnTo>
                <a:cubicBezTo>
                  <a:pt x="6411209" y="6788009"/>
                  <a:pt x="6210240" y="6714537"/>
                  <a:pt x="6014025" y="6635877"/>
                </a:cubicBezTo>
                <a:cubicBezTo>
                  <a:pt x="5863191" y="6574074"/>
                  <a:pt x="5712788" y="6510110"/>
                  <a:pt x="5565410" y="6443985"/>
                </a:cubicBezTo>
                <a:cubicBezTo>
                  <a:pt x="4949536" y="6160899"/>
                  <a:pt x="4467642" y="5871762"/>
                  <a:pt x="4102871" y="5557991"/>
                </a:cubicBezTo>
                <a:cubicBezTo>
                  <a:pt x="3982290" y="5456858"/>
                  <a:pt x="3872082" y="5349242"/>
                  <a:pt x="3774838" y="5242058"/>
                </a:cubicBezTo>
                <a:cubicBezTo>
                  <a:pt x="3400127" y="4822832"/>
                  <a:pt x="3149025" y="4312846"/>
                  <a:pt x="2991707" y="3639491"/>
                </a:cubicBezTo>
                <a:cubicBezTo>
                  <a:pt x="2891006" y="3214213"/>
                  <a:pt x="2864210" y="2871485"/>
                  <a:pt x="2907861" y="2563764"/>
                </a:cubicBezTo>
                <a:cubicBezTo>
                  <a:pt x="2941572" y="2297534"/>
                  <a:pt x="3031900" y="2031303"/>
                  <a:pt x="3122227" y="1775013"/>
                </a:cubicBezTo>
                <a:cubicBezTo>
                  <a:pt x="3159398" y="1663508"/>
                  <a:pt x="3199590" y="1548113"/>
                  <a:pt x="3232870" y="1432286"/>
                </a:cubicBezTo>
                <a:cubicBezTo>
                  <a:pt x="3376790" y="957306"/>
                  <a:pt x="3440323" y="476276"/>
                  <a:pt x="3423467" y="1297"/>
                </a:cubicBezTo>
                <a:close/>
                <a:moveTo>
                  <a:pt x="3276521" y="1297"/>
                </a:moveTo>
                <a:lnTo>
                  <a:pt x="3293377" y="1297"/>
                </a:lnTo>
                <a:cubicBezTo>
                  <a:pt x="3313258" y="490971"/>
                  <a:pt x="3249726" y="984535"/>
                  <a:pt x="3105805" y="1473776"/>
                </a:cubicBezTo>
                <a:cubicBezTo>
                  <a:pt x="3072095" y="1587442"/>
                  <a:pt x="3035357" y="1701108"/>
                  <a:pt x="2998622" y="1812614"/>
                </a:cubicBezTo>
                <a:cubicBezTo>
                  <a:pt x="2911319" y="2071065"/>
                  <a:pt x="2820991" y="2339456"/>
                  <a:pt x="2787713" y="2607848"/>
                </a:cubicBezTo>
                <a:cubicBezTo>
                  <a:pt x="2747519" y="2917297"/>
                  <a:pt x="2777772" y="3258297"/>
                  <a:pt x="2881497" y="3683573"/>
                </a:cubicBezTo>
                <a:cubicBezTo>
                  <a:pt x="3042273" y="4356929"/>
                  <a:pt x="3296402" y="4864755"/>
                  <a:pt x="3674571" y="5283981"/>
                </a:cubicBezTo>
                <a:cubicBezTo>
                  <a:pt x="3771814" y="5391164"/>
                  <a:pt x="3882022" y="5498780"/>
                  <a:pt x="4002604" y="5599913"/>
                </a:cubicBezTo>
                <a:cubicBezTo>
                  <a:pt x="4370831" y="5909363"/>
                  <a:pt x="4852726" y="6196771"/>
                  <a:pt x="5471625" y="6481585"/>
                </a:cubicBezTo>
                <a:cubicBezTo>
                  <a:pt x="5619002" y="6547711"/>
                  <a:pt x="5769837" y="6611675"/>
                  <a:pt x="5920240" y="6673478"/>
                </a:cubicBezTo>
                <a:cubicBezTo>
                  <a:pt x="6081880" y="6737876"/>
                  <a:pt x="6244384" y="6799679"/>
                  <a:pt x="6409913" y="6858024"/>
                </a:cubicBezTo>
                <a:lnTo>
                  <a:pt x="6380956" y="6858024"/>
                </a:lnTo>
                <a:cubicBezTo>
                  <a:pt x="6222774" y="6801840"/>
                  <a:pt x="6066753" y="6742629"/>
                  <a:pt x="5913757" y="6679961"/>
                </a:cubicBezTo>
                <a:cubicBezTo>
                  <a:pt x="5762922" y="6620318"/>
                  <a:pt x="5612519" y="6556355"/>
                  <a:pt x="5465142" y="6488068"/>
                </a:cubicBezTo>
                <a:cubicBezTo>
                  <a:pt x="4842785" y="6203253"/>
                  <a:pt x="4360891" y="5916278"/>
                  <a:pt x="3992663" y="5604236"/>
                </a:cubicBezTo>
                <a:cubicBezTo>
                  <a:pt x="3872082" y="5503103"/>
                  <a:pt x="3761872" y="5395487"/>
                  <a:pt x="3664629" y="5288303"/>
                </a:cubicBezTo>
                <a:cubicBezTo>
                  <a:pt x="3283004" y="4869077"/>
                  <a:pt x="3028443" y="4359091"/>
                  <a:pt x="2864642" y="3685734"/>
                </a:cubicBezTo>
                <a:cubicBezTo>
                  <a:pt x="2764374" y="3260457"/>
                  <a:pt x="2734121" y="2917730"/>
                  <a:pt x="2774314" y="2605687"/>
                </a:cubicBezTo>
                <a:cubicBezTo>
                  <a:pt x="2807594" y="2336863"/>
                  <a:pt x="2897921" y="2068472"/>
                  <a:pt x="2981766" y="1810454"/>
                </a:cubicBezTo>
                <a:cubicBezTo>
                  <a:pt x="3018935" y="1698947"/>
                  <a:pt x="3059128" y="1585281"/>
                  <a:pt x="3092408" y="1471615"/>
                </a:cubicBezTo>
                <a:cubicBezTo>
                  <a:pt x="3236328" y="982373"/>
                  <a:pt x="3296402" y="488809"/>
                  <a:pt x="3276521" y="1297"/>
                </a:cubicBezTo>
                <a:close/>
                <a:moveTo>
                  <a:pt x="3132169" y="1297"/>
                </a:moveTo>
                <a:lnTo>
                  <a:pt x="3145566" y="1297"/>
                </a:lnTo>
                <a:cubicBezTo>
                  <a:pt x="3168906" y="501343"/>
                  <a:pt x="3108830" y="1009169"/>
                  <a:pt x="2964911" y="1513105"/>
                </a:cubicBezTo>
                <a:cubicBezTo>
                  <a:pt x="2931201" y="1624611"/>
                  <a:pt x="2894463" y="1738277"/>
                  <a:pt x="2857726" y="1845461"/>
                </a:cubicBezTo>
                <a:cubicBezTo>
                  <a:pt x="2774314" y="2107801"/>
                  <a:pt x="2687012" y="2378353"/>
                  <a:pt x="2653732" y="2651066"/>
                </a:cubicBezTo>
                <a:cubicBezTo>
                  <a:pt x="2616996" y="2960516"/>
                  <a:pt x="2650275" y="3303677"/>
                  <a:pt x="2754001" y="3728954"/>
                </a:cubicBezTo>
                <a:cubicBezTo>
                  <a:pt x="2921258" y="4400148"/>
                  <a:pt x="3179278" y="4910135"/>
                  <a:pt x="3563930" y="5329361"/>
                </a:cubicBezTo>
                <a:cubicBezTo>
                  <a:pt x="3661173" y="5436545"/>
                  <a:pt x="3774838" y="5544161"/>
                  <a:pt x="3895420" y="5643133"/>
                </a:cubicBezTo>
                <a:cubicBezTo>
                  <a:pt x="4263647" y="5950854"/>
                  <a:pt x="4745542" y="6239990"/>
                  <a:pt x="5371356" y="6524804"/>
                </a:cubicBezTo>
                <a:cubicBezTo>
                  <a:pt x="5518733" y="6593091"/>
                  <a:pt x="5672594" y="6657055"/>
                  <a:pt x="5819971" y="6718859"/>
                </a:cubicBezTo>
                <a:cubicBezTo>
                  <a:pt x="5940552" y="6766400"/>
                  <a:pt x="6061566" y="6813076"/>
                  <a:pt x="6183877" y="6858024"/>
                </a:cubicBezTo>
                <a:lnTo>
                  <a:pt x="6156648" y="6858024"/>
                </a:lnTo>
                <a:cubicBezTo>
                  <a:pt x="6040821" y="6815238"/>
                  <a:pt x="5925858" y="6771154"/>
                  <a:pt x="5813056" y="6725342"/>
                </a:cubicBezTo>
                <a:cubicBezTo>
                  <a:pt x="5662221" y="6665699"/>
                  <a:pt x="5511818" y="6599574"/>
                  <a:pt x="5364441" y="6531288"/>
                </a:cubicBezTo>
                <a:cubicBezTo>
                  <a:pt x="4735169" y="6246473"/>
                  <a:pt x="4253275" y="5957337"/>
                  <a:pt x="3882022" y="5649616"/>
                </a:cubicBezTo>
                <a:cubicBezTo>
                  <a:pt x="3761440" y="5548483"/>
                  <a:pt x="3650800" y="5443028"/>
                  <a:pt x="3550532" y="5333683"/>
                </a:cubicBezTo>
                <a:cubicBezTo>
                  <a:pt x="3165448" y="4912296"/>
                  <a:pt x="2907861" y="4404038"/>
                  <a:pt x="2740603" y="3728954"/>
                </a:cubicBezTo>
                <a:cubicBezTo>
                  <a:pt x="2633852" y="3303677"/>
                  <a:pt x="2603598" y="2960948"/>
                  <a:pt x="2640334" y="2648906"/>
                </a:cubicBezTo>
                <a:cubicBezTo>
                  <a:pt x="2673614" y="2378353"/>
                  <a:pt x="2760485" y="2105641"/>
                  <a:pt x="2844328" y="1845461"/>
                </a:cubicBezTo>
                <a:cubicBezTo>
                  <a:pt x="2881065" y="1736116"/>
                  <a:pt x="2917801" y="1622449"/>
                  <a:pt x="2948056" y="1510944"/>
                </a:cubicBezTo>
                <a:cubicBezTo>
                  <a:pt x="3095432" y="1007009"/>
                  <a:pt x="3155507" y="500911"/>
                  <a:pt x="3132169" y="1297"/>
                </a:cubicBezTo>
                <a:close/>
                <a:moveTo>
                  <a:pt x="1666605" y="1297"/>
                </a:moveTo>
                <a:lnTo>
                  <a:pt x="1680003" y="1297"/>
                </a:lnTo>
                <a:cubicBezTo>
                  <a:pt x="1680003" y="7348"/>
                  <a:pt x="1680003" y="13831"/>
                  <a:pt x="1680003" y="19882"/>
                </a:cubicBezTo>
                <a:cubicBezTo>
                  <a:pt x="1737053" y="624950"/>
                  <a:pt x="1693402" y="1256815"/>
                  <a:pt x="1549482" y="1899053"/>
                </a:cubicBezTo>
                <a:cubicBezTo>
                  <a:pt x="1529168" y="1995864"/>
                  <a:pt x="1505831" y="2093107"/>
                  <a:pt x="1482491" y="2186028"/>
                </a:cubicBezTo>
                <a:cubicBezTo>
                  <a:pt x="1408587" y="2477326"/>
                  <a:pt x="1335114" y="2778564"/>
                  <a:pt x="1321715" y="3078073"/>
                </a:cubicBezTo>
                <a:cubicBezTo>
                  <a:pt x="1308318" y="3402217"/>
                  <a:pt x="1365367" y="3761800"/>
                  <a:pt x="1495889" y="4176705"/>
                </a:cubicBezTo>
                <a:cubicBezTo>
                  <a:pt x="1706800" y="4847899"/>
                  <a:pt x="2008038" y="5360047"/>
                  <a:pt x="2439797" y="5785324"/>
                </a:cubicBezTo>
                <a:cubicBezTo>
                  <a:pt x="2550006" y="5892940"/>
                  <a:pt x="2670587" y="5996234"/>
                  <a:pt x="2801111" y="6095205"/>
                </a:cubicBezTo>
                <a:cubicBezTo>
                  <a:pt x="3137787" y="6352360"/>
                  <a:pt x="3550964" y="6591363"/>
                  <a:pt x="4120160" y="6858024"/>
                </a:cubicBezTo>
                <a:lnTo>
                  <a:pt x="4095092" y="6858024"/>
                </a:lnTo>
                <a:cubicBezTo>
                  <a:pt x="3533675" y="6593955"/>
                  <a:pt x="3123958" y="6356681"/>
                  <a:pt x="2790738" y="6101688"/>
                </a:cubicBezTo>
                <a:cubicBezTo>
                  <a:pt x="2660216" y="6002284"/>
                  <a:pt x="2536609" y="5896829"/>
                  <a:pt x="2425967" y="5789646"/>
                </a:cubicBezTo>
                <a:cubicBezTo>
                  <a:pt x="1994207" y="5364369"/>
                  <a:pt x="1693402" y="4852221"/>
                  <a:pt x="1479034" y="4178866"/>
                </a:cubicBezTo>
                <a:cubicBezTo>
                  <a:pt x="1348512" y="3763530"/>
                  <a:pt x="1294921" y="3404378"/>
                  <a:pt x="1308318" y="3078073"/>
                </a:cubicBezTo>
                <a:cubicBezTo>
                  <a:pt x="1321715" y="2776403"/>
                  <a:pt x="1395622" y="2475165"/>
                  <a:pt x="1469093" y="2183867"/>
                </a:cubicBezTo>
                <a:cubicBezTo>
                  <a:pt x="1489406" y="2090946"/>
                  <a:pt x="1512745" y="1994135"/>
                  <a:pt x="1536083" y="1899053"/>
                </a:cubicBezTo>
                <a:cubicBezTo>
                  <a:pt x="1680003" y="1256815"/>
                  <a:pt x="1723655" y="624950"/>
                  <a:pt x="1666605" y="19882"/>
                </a:cubicBezTo>
                <a:cubicBezTo>
                  <a:pt x="1666605" y="13831"/>
                  <a:pt x="1666605" y="7348"/>
                  <a:pt x="1666605" y="1297"/>
                </a:cubicBezTo>
                <a:close/>
                <a:moveTo>
                  <a:pt x="5716245" y="865"/>
                </a:moveTo>
                <a:lnTo>
                  <a:pt x="5729643" y="865"/>
                </a:lnTo>
                <a:cubicBezTo>
                  <a:pt x="5692906" y="275739"/>
                  <a:pt x="5619434" y="548452"/>
                  <a:pt x="5508793" y="814683"/>
                </a:cubicBezTo>
                <a:cubicBezTo>
                  <a:pt x="5455201" y="942611"/>
                  <a:pt x="5394694" y="1070541"/>
                  <a:pt x="5334619" y="1194580"/>
                </a:cubicBezTo>
                <a:cubicBezTo>
                  <a:pt x="5223979" y="1415429"/>
                  <a:pt x="5113769" y="1644491"/>
                  <a:pt x="5053695" y="1878739"/>
                </a:cubicBezTo>
                <a:cubicBezTo>
                  <a:pt x="4956451" y="2237891"/>
                  <a:pt x="4983248" y="2607416"/>
                  <a:pt x="5023441" y="2919458"/>
                </a:cubicBezTo>
                <a:cubicBezTo>
                  <a:pt x="5077033" y="3379743"/>
                  <a:pt x="5194157" y="3976600"/>
                  <a:pt x="5585723" y="4509493"/>
                </a:cubicBezTo>
                <a:cubicBezTo>
                  <a:pt x="5990687" y="5060537"/>
                  <a:pt x="6716769" y="5560584"/>
                  <a:pt x="7626966" y="5911524"/>
                </a:cubicBezTo>
                <a:cubicBezTo>
                  <a:pt x="8232035" y="6146204"/>
                  <a:pt x="8915763" y="6321675"/>
                  <a:pt x="9666913" y="6434908"/>
                </a:cubicBezTo>
                <a:lnTo>
                  <a:pt x="9666913" y="6443985"/>
                </a:lnTo>
                <a:cubicBezTo>
                  <a:pt x="8913170" y="6330750"/>
                  <a:pt x="8225552" y="6154848"/>
                  <a:pt x="7617025" y="5919736"/>
                </a:cubicBezTo>
                <a:cubicBezTo>
                  <a:pt x="7171868" y="5746426"/>
                  <a:pt x="6770362" y="5539838"/>
                  <a:pt x="6425472" y="5306455"/>
                </a:cubicBezTo>
                <a:cubicBezTo>
                  <a:pt x="6067617" y="5062699"/>
                  <a:pt x="5779778" y="4796468"/>
                  <a:pt x="5572325" y="4513383"/>
                </a:cubicBezTo>
                <a:cubicBezTo>
                  <a:pt x="5180759" y="3980490"/>
                  <a:pt x="5063635" y="3381904"/>
                  <a:pt x="5006586" y="2921188"/>
                </a:cubicBezTo>
                <a:cubicBezTo>
                  <a:pt x="4969849" y="2607416"/>
                  <a:pt x="4943053" y="2237459"/>
                  <a:pt x="5036839" y="1876146"/>
                </a:cubicBezTo>
                <a:cubicBezTo>
                  <a:pt x="5100372" y="1642763"/>
                  <a:pt x="5210581" y="1413269"/>
                  <a:pt x="5321221" y="1192419"/>
                </a:cubicBezTo>
                <a:cubicBezTo>
                  <a:pt x="5381728" y="1068812"/>
                  <a:pt x="5441803" y="940451"/>
                  <a:pt x="5495395" y="812521"/>
                </a:cubicBezTo>
                <a:cubicBezTo>
                  <a:pt x="5605604" y="545859"/>
                  <a:pt x="5679509" y="273579"/>
                  <a:pt x="5716245" y="865"/>
                </a:cubicBezTo>
                <a:close/>
                <a:moveTo>
                  <a:pt x="4726525" y="865"/>
                </a:moveTo>
                <a:lnTo>
                  <a:pt x="4739923" y="865"/>
                </a:lnTo>
                <a:cubicBezTo>
                  <a:pt x="4723068" y="366500"/>
                  <a:pt x="4649595" y="727812"/>
                  <a:pt x="4519073" y="1085235"/>
                </a:cubicBezTo>
                <a:cubicBezTo>
                  <a:pt x="4475422" y="1209274"/>
                  <a:pt x="4421830" y="1333313"/>
                  <a:pt x="4371695" y="1453030"/>
                </a:cubicBezTo>
                <a:cubicBezTo>
                  <a:pt x="4274453" y="1688575"/>
                  <a:pt x="4170726" y="1931899"/>
                  <a:pt x="4120592" y="2177816"/>
                </a:cubicBezTo>
                <a:cubicBezTo>
                  <a:pt x="4043230" y="2555552"/>
                  <a:pt x="4090338" y="2939771"/>
                  <a:pt x="4140473" y="3234958"/>
                </a:cubicBezTo>
                <a:cubicBezTo>
                  <a:pt x="4220429" y="3693514"/>
                  <a:pt x="4367806" y="4290372"/>
                  <a:pt x="4799566" y="4827154"/>
                </a:cubicBezTo>
                <a:cubicBezTo>
                  <a:pt x="4886436" y="4936498"/>
                  <a:pt x="4986705" y="5044114"/>
                  <a:pt x="5097346" y="5145247"/>
                </a:cubicBezTo>
                <a:cubicBezTo>
                  <a:pt x="5448718" y="5473714"/>
                  <a:pt x="5913757" y="5772791"/>
                  <a:pt x="6485979" y="6037292"/>
                </a:cubicBezTo>
                <a:cubicBezTo>
                  <a:pt x="6626441" y="6103417"/>
                  <a:pt x="6773819" y="6167382"/>
                  <a:pt x="6924221" y="6225295"/>
                </a:cubicBezTo>
                <a:cubicBezTo>
                  <a:pt x="7325729" y="6384342"/>
                  <a:pt x="7763970" y="6520482"/>
                  <a:pt x="8222527" y="6631988"/>
                </a:cubicBezTo>
                <a:cubicBezTo>
                  <a:pt x="8573466" y="6718427"/>
                  <a:pt x="8955524" y="6793628"/>
                  <a:pt x="9362217" y="6858024"/>
                </a:cubicBezTo>
                <a:lnTo>
                  <a:pt x="9306465" y="6858024"/>
                </a:lnTo>
                <a:cubicBezTo>
                  <a:pt x="8917924" y="6795789"/>
                  <a:pt x="8552290" y="6723181"/>
                  <a:pt x="8216044" y="6640632"/>
                </a:cubicBezTo>
                <a:cubicBezTo>
                  <a:pt x="7757921" y="6529127"/>
                  <a:pt x="7319246" y="6392986"/>
                  <a:pt x="6917738" y="6233939"/>
                </a:cubicBezTo>
                <a:cubicBezTo>
                  <a:pt x="6767336" y="6173865"/>
                  <a:pt x="6619958" y="6112061"/>
                  <a:pt x="6479496" y="6045935"/>
                </a:cubicBezTo>
                <a:cubicBezTo>
                  <a:pt x="5903817" y="5779706"/>
                  <a:pt x="5435320" y="5478035"/>
                  <a:pt x="5083948" y="5151730"/>
                </a:cubicBezTo>
                <a:cubicBezTo>
                  <a:pt x="4973739" y="5048437"/>
                  <a:pt x="4873038" y="4940821"/>
                  <a:pt x="4786168" y="4831476"/>
                </a:cubicBezTo>
                <a:cubicBezTo>
                  <a:pt x="4354840" y="4294261"/>
                  <a:pt x="4207463" y="3695676"/>
                  <a:pt x="4127075" y="3234958"/>
                </a:cubicBezTo>
                <a:cubicBezTo>
                  <a:pt x="4076940" y="2939771"/>
                  <a:pt x="4026807" y="2553824"/>
                  <a:pt x="4107194" y="2177816"/>
                </a:cubicBezTo>
                <a:cubicBezTo>
                  <a:pt x="4157329" y="1930170"/>
                  <a:pt x="4261054" y="1686415"/>
                  <a:pt x="4358298" y="1450869"/>
                </a:cubicBezTo>
                <a:cubicBezTo>
                  <a:pt x="4408432" y="1330721"/>
                  <a:pt x="4462023" y="1207113"/>
                  <a:pt x="4505676" y="1083075"/>
                </a:cubicBezTo>
                <a:cubicBezTo>
                  <a:pt x="4636198" y="727812"/>
                  <a:pt x="4709670" y="364338"/>
                  <a:pt x="4726525" y="865"/>
                </a:cubicBezTo>
                <a:close/>
                <a:moveTo>
                  <a:pt x="4581741" y="865"/>
                </a:moveTo>
                <a:lnTo>
                  <a:pt x="4595139" y="865"/>
                </a:lnTo>
                <a:cubicBezTo>
                  <a:pt x="4581741" y="378601"/>
                  <a:pt x="4511725" y="754608"/>
                  <a:pt x="4377746" y="1124132"/>
                </a:cubicBezTo>
                <a:cubicBezTo>
                  <a:pt x="4334094" y="1246011"/>
                  <a:pt x="4283961" y="1370050"/>
                  <a:pt x="4233826" y="1489767"/>
                </a:cubicBezTo>
                <a:cubicBezTo>
                  <a:pt x="4136583" y="1727473"/>
                  <a:pt x="4036314" y="1973390"/>
                  <a:pt x="3986180" y="2221036"/>
                </a:cubicBezTo>
                <a:cubicBezTo>
                  <a:pt x="3912708" y="2598772"/>
                  <a:pt x="3962841" y="2984720"/>
                  <a:pt x="4012976" y="3278178"/>
                </a:cubicBezTo>
                <a:cubicBezTo>
                  <a:pt x="4096389" y="3738894"/>
                  <a:pt x="4247224" y="4335752"/>
                  <a:pt x="4685467" y="4872534"/>
                </a:cubicBezTo>
                <a:cubicBezTo>
                  <a:pt x="4775796" y="4981879"/>
                  <a:pt x="4876064" y="5089495"/>
                  <a:pt x="4986705" y="5190628"/>
                </a:cubicBezTo>
                <a:cubicBezTo>
                  <a:pt x="5341534" y="5516933"/>
                  <a:pt x="5810031" y="5816441"/>
                  <a:pt x="6385711" y="6082672"/>
                </a:cubicBezTo>
                <a:cubicBezTo>
                  <a:pt x="6526173" y="6148797"/>
                  <a:pt x="6673550" y="6210601"/>
                  <a:pt x="6823953" y="6270675"/>
                </a:cubicBezTo>
                <a:cubicBezTo>
                  <a:pt x="7228916" y="6429723"/>
                  <a:pt x="7663702" y="6568024"/>
                  <a:pt x="8122259" y="6681690"/>
                </a:cubicBezTo>
                <a:cubicBezTo>
                  <a:pt x="8381573" y="6745655"/>
                  <a:pt x="8658608" y="6804432"/>
                  <a:pt x="8951634" y="6858456"/>
                </a:cubicBezTo>
                <a:lnTo>
                  <a:pt x="8900205" y="6858456"/>
                </a:lnTo>
                <a:cubicBezTo>
                  <a:pt x="8623169" y="6807459"/>
                  <a:pt x="8360829" y="6751273"/>
                  <a:pt x="8115776" y="6690766"/>
                </a:cubicBezTo>
                <a:cubicBezTo>
                  <a:pt x="7657652" y="6577100"/>
                  <a:pt x="7222433" y="6438798"/>
                  <a:pt x="6817470" y="6277591"/>
                </a:cubicBezTo>
                <a:cubicBezTo>
                  <a:pt x="6667067" y="6219676"/>
                  <a:pt x="6519690" y="6155712"/>
                  <a:pt x="6375770" y="6089588"/>
                </a:cubicBezTo>
                <a:cubicBezTo>
                  <a:pt x="5800090" y="5823356"/>
                  <a:pt x="5328136" y="5521687"/>
                  <a:pt x="4976765" y="5197543"/>
                </a:cubicBezTo>
                <a:cubicBezTo>
                  <a:pt x="4863098" y="5094249"/>
                  <a:pt x="4762397" y="4986633"/>
                  <a:pt x="4675527" y="4877289"/>
                </a:cubicBezTo>
                <a:cubicBezTo>
                  <a:pt x="4233826" y="4337913"/>
                  <a:pt x="4083423" y="3741488"/>
                  <a:pt x="3999578" y="3280771"/>
                </a:cubicBezTo>
                <a:cubicBezTo>
                  <a:pt x="3945986" y="2985584"/>
                  <a:pt x="3895852" y="2599204"/>
                  <a:pt x="3972783" y="2219307"/>
                </a:cubicBezTo>
                <a:cubicBezTo>
                  <a:pt x="4022916" y="1971229"/>
                  <a:pt x="4123185" y="1725312"/>
                  <a:pt x="4220429" y="1488038"/>
                </a:cubicBezTo>
                <a:cubicBezTo>
                  <a:pt x="4270562" y="1368320"/>
                  <a:pt x="4320697" y="1244281"/>
                  <a:pt x="4364348" y="1122404"/>
                </a:cubicBezTo>
                <a:cubicBezTo>
                  <a:pt x="4494870" y="752447"/>
                  <a:pt x="4568343" y="376872"/>
                  <a:pt x="4581741" y="865"/>
                </a:cubicBezTo>
                <a:close/>
                <a:moveTo>
                  <a:pt x="4293901" y="865"/>
                </a:moveTo>
                <a:lnTo>
                  <a:pt x="4307299" y="865"/>
                </a:lnTo>
                <a:cubicBezTo>
                  <a:pt x="4300384" y="403668"/>
                  <a:pt x="4230369" y="806471"/>
                  <a:pt x="4096389" y="1202791"/>
                </a:cubicBezTo>
                <a:cubicBezTo>
                  <a:pt x="4053170" y="1322508"/>
                  <a:pt x="4006061" y="1444386"/>
                  <a:pt x="3959384" y="1561942"/>
                </a:cubicBezTo>
                <a:cubicBezTo>
                  <a:pt x="3865599" y="1803538"/>
                  <a:pt x="3765330" y="2053345"/>
                  <a:pt x="3721679" y="2305314"/>
                </a:cubicBezTo>
                <a:cubicBezTo>
                  <a:pt x="3648207" y="2689532"/>
                  <a:pt x="3704824" y="3075480"/>
                  <a:pt x="3761872" y="3368937"/>
                </a:cubicBezTo>
                <a:cubicBezTo>
                  <a:pt x="3895420" y="4050505"/>
                  <a:pt x="4109787" y="4544068"/>
                  <a:pt x="4461159" y="4965455"/>
                </a:cubicBezTo>
                <a:cubicBezTo>
                  <a:pt x="4551488" y="5072639"/>
                  <a:pt x="4655214" y="5180255"/>
                  <a:pt x="4768880" y="5281388"/>
                </a:cubicBezTo>
                <a:cubicBezTo>
                  <a:pt x="5123710" y="5603372"/>
                  <a:pt x="5599121" y="5900719"/>
                  <a:pt x="6181283" y="6171271"/>
                </a:cubicBezTo>
                <a:cubicBezTo>
                  <a:pt x="6325203" y="6237397"/>
                  <a:pt x="6472580" y="6299201"/>
                  <a:pt x="6622984" y="6359275"/>
                </a:cubicBezTo>
                <a:cubicBezTo>
                  <a:pt x="7030974" y="6520050"/>
                  <a:pt x="7466191" y="6660513"/>
                  <a:pt x="7921289" y="6776340"/>
                </a:cubicBezTo>
                <a:cubicBezTo>
                  <a:pt x="8031066" y="6804865"/>
                  <a:pt x="8143003" y="6831661"/>
                  <a:pt x="8257533" y="6857592"/>
                </a:cubicBezTo>
                <a:lnTo>
                  <a:pt x="8219501" y="6857592"/>
                </a:lnTo>
                <a:cubicBezTo>
                  <a:pt x="8116640" y="6833822"/>
                  <a:pt x="8015939" y="6809619"/>
                  <a:pt x="7917399" y="6784552"/>
                </a:cubicBezTo>
                <a:cubicBezTo>
                  <a:pt x="7458844" y="6669157"/>
                  <a:pt x="7024058" y="6528695"/>
                  <a:pt x="6615637" y="6367487"/>
                </a:cubicBezTo>
                <a:cubicBezTo>
                  <a:pt x="6465233" y="6307412"/>
                  <a:pt x="6317856" y="6243448"/>
                  <a:pt x="6173937" y="6177322"/>
                </a:cubicBezTo>
                <a:cubicBezTo>
                  <a:pt x="5588317" y="5906770"/>
                  <a:pt x="5113337" y="5607693"/>
                  <a:pt x="4755050" y="5287439"/>
                </a:cubicBezTo>
                <a:cubicBezTo>
                  <a:pt x="4644841" y="5184144"/>
                  <a:pt x="4541115" y="5076528"/>
                  <a:pt x="4447329" y="4967184"/>
                </a:cubicBezTo>
                <a:cubicBezTo>
                  <a:pt x="4095957" y="4546229"/>
                  <a:pt x="3882022" y="4052666"/>
                  <a:pt x="3748043" y="3368937"/>
                </a:cubicBezTo>
                <a:cubicBezTo>
                  <a:pt x="3690994" y="3075480"/>
                  <a:pt x="3633944" y="2689532"/>
                  <a:pt x="3704392" y="2305314"/>
                </a:cubicBezTo>
                <a:cubicBezTo>
                  <a:pt x="3751501" y="2053345"/>
                  <a:pt x="3848311" y="1801378"/>
                  <a:pt x="3945554" y="1559782"/>
                </a:cubicBezTo>
                <a:cubicBezTo>
                  <a:pt x="3992663" y="1442226"/>
                  <a:pt x="4039340" y="1320347"/>
                  <a:pt x="4079533" y="1200631"/>
                </a:cubicBezTo>
                <a:cubicBezTo>
                  <a:pt x="4216971" y="804310"/>
                  <a:pt x="4287418" y="403668"/>
                  <a:pt x="4293901" y="865"/>
                </a:cubicBezTo>
                <a:close/>
                <a:moveTo>
                  <a:pt x="3858684" y="865"/>
                </a:moveTo>
                <a:lnTo>
                  <a:pt x="3872082" y="865"/>
                </a:lnTo>
                <a:cubicBezTo>
                  <a:pt x="3878564" y="440836"/>
                  <a:pt x="3811575" y="882969"/>
                  <a:pt x="3671113" y="1318619"/>
                </a:cubicBezTo>
                <a:cubicBezTo>
                  <a:pt x="3631351" y="1436175"/>
                  <a:pt x="3591157" y="1553731"/>
                  <a:pt x="3547506" y="1669558"/>
                </a:cubicBezTo>
                <a:cubicBezTo>
                  <a:pt x="3456745" y="1919366"/>
                  <a:pt x="3363393" y="2175656"/>
                  <a:pt x="3319740" y="2435835"/>
                </a:cubicBezTo>
                <a:cubicBezTo>
                  <a:pt x="3272631" y="2741395"/>
                  <a:pt x="3292945" y="3071590"/>
                  <a:pt x="3383272" y="3503350"/>
                </a:cubicBezTo>
                <a:cubicBezTo>
                  <a:pt x="3530650" y="4184484"/>
                  <a:pt x="3757983" y="4678048"/>
                  <a:pt x="4126211" y="5101596"/>
                </a:cubicBezTo>
                <a:cubicBezTo>
                  <a:pt x="4219996" y="5208780"/>
                  <a:pt x="4323722" y="5316396"/>
                  <a:pt x="4440846" y="5417529"/>
                </a:cubicBezTo>
                <a:cubicBezTo>
                  <a:pt x="4799134" y="5731300"/>
                  <a:pt x="5284053" y="6030809"/>
                  <a:pt x="5876588" y="6303522"/>
                </a:cubicBezTo>
                <a:cubicBezTo>
                  <a:pt x="6023965" y="6369648"/>
                  <a:pt x="6171343" y="6433612"/>
                  <a:pt x="6321746" y="6493687"/>
                </a:cubicBezTo>
                <a:cubicBezTo>
                  <a:pt x="6662314" y="6630260"/>
                  <a:pt x="7021033" y="6753003"/>
                  <a:pt x="7390557" y="6857592"/>
                </a:cubicBezTo>
                <a:lnTo>
                  <a:pt x="7359439" y="6857592"/>
                </a:lnTo>
                <a:cubicBezTo>
                  <a:pt x="6997262" y="6753867"/>
                  <a:pt x="6647187" y="6635445"/>
                  <a:pt x="6314831" y="6501898"/>
                </a:cubicBezTo>
                <a:cubicBezTo>
                  <a:pt x="6163995" y="6442256"/>
                  <a:pt x="6013593" y="6378291"/>
                  <a:pt x="5869673" y="6310005"/>
                </a:cubicBezTo>
                <a:cubicBezTo>
                  <a:pt x="5274112" y="6037292"/>
                  <a:pt x="4788761" y="5737783"/>
                  <a:pt x="4427449" y="5421850"/>
                </a:cubicBezTo>
                <a:cubicBezTo>
                  <a:pt x="4313782" y="5320717"/>
                  <a:pt x="4206598" y="5213101"/>
                  <a:pt x="4112813" y="5105917"/>
                </a:cubicBezTo>
                <a:cubicBezTo>
                  <a:pt x="3744585" y="4682803"/>
                  <a:pt x="3517253" y="4189238"/>
                  <a:pt x="3369875" y="3505511"/>
                </a:cubicBezTo>
                <a:cubicBezTo>
                  <a:pt x="3276089" y="3071590"/>
                  <a:pt x="3259665" y="2741395"/>
                  <a:pt x="3306342" y="2433674"/>
                </a:cubicBezTo>
                <a:cubicBezTo>
                  <a:pt x="3346536" y="2175224"/>
                  <a:pt x="3443780" y="1917204"/>
                  <a:pt x="3534108" y="1667398"/>
                </a:cubicBezTo>
                <a:cubicBezTo>
                  <a:pt x="3573869" y="1552002"/>
                  <a:pt x="3617522" y="1434014"/>
                  <a:pt x="3657715" y="1316458"/>
                </a:cubicBezTo>
                <a:cubicBezTo>
                  <a:pt x="3798609" y="880808"/>
                  <a:pt x="3865167" y="440836"/>
                  <a:pt x="3858684" y="865"/>
                </a:cubicBezTo>
                <a:close/>
                <a:moveTo>
                  <a:pt x="2985225" y="865"/>
                </a:moveTo>
                <a:lnTo>
                  <a:pt x="2998622" y="865"/>
                </a:lnTo>
                <a:cubicBezTo>
                  <a:pt x="3028875" y="513013"/>
                  <a:pt x="2968801" y="1033372"/>
                  <a:pt x="2821423" y="1551570"/>
                </a:cubicBezTo>
                <a:cubicBezTo>
                  <a:pt x="2791602" y="1661347"/>
                  <a:pt x="2757890" y="1772853"/>
                  <a:pt x="2721154" y="1880037"/>
                </a:cubicBezTo>
                <a:cubicBezTo>
                  <a:pt x="2637310" y="2144538"/>
                  <a:pt x="2553464" y="2418979"/>
                  <a:pt x="2520184" y="2691693"/>
                </a:cubicBezTo>
                <a:cubicBezTo>
                  <a:pt x="2486906" y="3005464"/>
                  <a:pt x="2520184" y="3348193"/>
                  <a:pt x="2627369" y="3771741"/>
                </a:cubicBezTo>
                <a:cubicBezTo>
                  <a:pt x="2801543" y="4445097"/>
                  <a:pt x="3062587" y="4955083"/>
                  <a:pt x="3450694" y="5374309"/>
                </a:cubicBezTo>
                <a:cubicBezTo>
                  <a:pt x="3550964" y="5481493"/>
                  <a:pt x="3664629" y="5589109"/>
                  <a:pt x="3785211" y="5688081"/>
                </a:cubicBezTo>
                <a:cubicBezTo>
                  <a:pt x="4153439" y="5994072"/>
                  <a:pt x="4641816" y="6283209"/>
                  <a:pt x="5271088" y="6568024"/>
                </a:cubicBezTo>
                <a:cubicBezTo>
                  <a:pt x="5418033" y="6636310"/>
                  <a:pt x="5572325" y="6702003"/>
                  <a:pt x="5722728" y="6762078"/>
                </a:cubicBezTo>
                <a:cubicBezTo>
                  <a:pt x="5802252" y="6794493"/>
                  <a:pt x="5882639" y="6826475"/>
                  <a:pt x="5963890" y="6858024"/>
                </a:cubicBezTo>
                <a:lnTo>
                  <a:pt x="5935798" y="6858024"/>
                </a:lnTo>
                <a:cubicBezTo>
                  <a:pt x="5861029" y="6829499"/>
                  <a:pt x="5787125" y="6800544"/>
                  <a:pt x="5712788" y="6770722"/>
                </a:cubicBezTo>
                <a:cubicBezTo>
                  <a:pt x="5562385" y="6708918"/>
                  <a:pt x="5411550" y="6644955"/>
                  <a:pt x="5261147" y="6576668"/>
                </a:cubicBezTo>
                <a:cubicBezTo>
                  <a:pt x="4631875" y="6289692"/>
                  <a:pt x="4143498" y="6000555"/>
                  <a:pt x="3775272" y="5694996"/>
                </a:cubicBezTo>
                <a:cubicBezTo>
                  <a:pt x="3651663" y="5593862"/>
                  <a:pt x="3537566" y="5488408"/>
                  <a:pt x="3437296" y="5379064"/>
                </a:cubicBezTo>
                <a:cubicBezTo>
                  <a:pt x="3049189" y="4957676"/>
                  <a:pt x="2788145" y="4447689"/>
                  <a:pt x="2613972" y="3774334"/>
                </a:cubicBezTo>
                <a:cubicBezTo>
                  <a:pt x="2506787" y="3348625"/>
                  <a:pt x="2473508" y="3005897"/>
                  <a:pt x="2506787" y="2692125"/>
                </a:cubicBezTo>
                <a:cubicBezTo>
                  <a:pt x="2537042" y="2417251"/>
                  <a:pt x="2623912" y="2144538"/>
                  <a:pt x="2707756" y="1878307"/>
                </a:cubicBezTo>
                <a:cubicBezTo>
                  <a:pt x="2741035" y="1770692"/>
                  <a:pt x="2777772" y="1659186"/>
                  <a:pt x="2808025" y="1549842"/>
                </a:cubicBezTo>
                <a:cubicBezTo>
                  <a:pt x="2954970" y="1031211"/>
                  <a:pt x="3012020" y="513013"/>
                  <a:pt x="2985225" y="865"/>
                </a:cubicBezTo>
                <a:close/>
                <a:moveTo>
                  <a:pt x="2838710" y="865"/>
                </a:moveTo>
                <a:lnTo>
                  <a:pt x="2855567" y="865"/>
                </a:lnTo>
                <a:cubicBezTo>
                  <a:pt x="2885387" y="525114"/>
                  <a:pt x="2828770" y="1058007"/>
                  <a:pt x="2681392" y="1588739"/>
                </a:cubicBezTo>
                <a:cubicBezTo>
                  <a:pt x="2651139" y="1698083"/>
                  <a:pt x="2617428" y="1807860"/>
                  <a:pt x="2584149" y="1915044"/>
                </a:cubicBezTo>
                <a:cubicBezTo>
                  <a:pt x="2503762" y="2181274"/>
                  <a:pt x="2416891" y="2458309"/>
                  <a:pt x="2390096" y="2734912"/>
                </a:cubicBezTo>
                <a:cubicBezTo>
                  <a:pt x="2356383" y="3050844"/>
                  <a:pt x="2393120" y="3393572"/>
                  <a:pt x="2503762" y="3817122"/>
                </a:cubicBezTo>
                <a:cubicBezTo>
                  <a:pt x="2677936" y="4490477"/>
                  <a:pt x="2945462" y="4998302"/>
                  <a:pt x="3340485" y="5419690"/>
                </a:cubicBezTo>
                <a:cubicBezTo>
                  <a:pt x="3440755" y="5526873"/>
                  <a:pt x="3554421" y="5634489"/>
                  <a:pt x="3675002" y="5733461"/>
                </a:cubicBezTo>
                <a:cubicBezTo>
                  <a:pt x="4046255" y="6037292"/>
                  <a:pt x="4535064" y="6324267"/>
                  <a:pt x="5170819" y="6613403"/>
                </a:cubicBezTo>
                <a:cubicBezTo>
                  <a:pt x="5317764" y="6681690"/>
                  <a:pt x="5472057" y="6745655"/>
                  <a:pt x="5622459" y="6807459"/>
                </a:cubicBezTo>
                <a:cubicBezTo>
                  <a:pt x="5663518" y="6824314"/>
                  <a:pt x="5705440" y="6841169"/>
                  <a:pt x="5747363" y="6858024"/>
                </a:cubicBezTo>
                <a:lnTo>
                  <a:pt x="5722728" y="6858024"/>
                </a:lnTo>
                <a:cubicBezTo>
                  <a:pt x="5685992" y="6843330"/>
                  <a:pt x="5649256" y="6828635"/>
                  <a:pt x="5612519" y="6813941"/>
                </a:cubicBezTo>
                <a:cubicBezTo>
                  <a:pt x="5462117" y="6754299"/>
                  <a:pt x="5311281" y="6688173"/>
                  <a:pt x="5160879" y="6619886"/>
                </a:cubicBezTo>
                <a:cubicBezTo>
                  <a:pt x="4525124" y="6330750"/>
                  <a:pt x="4036314" y="6043343"/>
                  <a:pt x="3665063" y="5739943"/>
                </a:cubicBezTo>
                <a:cubicBezTo>
                  <a:pt x="3541456" y="5638810"/>
                  <a:pt x="3427357" y="5533356"/>
                  <a:pt x="3327087" y="5424011"/>
                </a:cubicBezTo>
                <a:cubicBezTo>
                  <a:pt x="2932064" y="5002624"/>
                  <a:pt x="2664538" y="4492638"/>
                  <a:pt x="2490364" y="3819282"/>
                </a:cubicBezTo>
                <a:cubicBezTo>
                  <a:pt x="2376698" y="3393572"/>
                  <a:pt x="2342986" y="3050844"/>
                  <a:pt x="2373240" y="2734912"/>
                </a:cubicBezTo>
                <a:cubicBezTo>
                  <a:pt x="2403493" y="2457877"/>
                  <a:pt x="2490364" y="2181274"/>
                  <a:pt x="2570751" y="1912883"/>
                </a:cubicBezTo>
                <a:cubicBezTo>
                  <a:pt x="2604462" y="1807428"/>
                  <a:pt x="2637742" y="1695923"/>
                  <a:pt x="2667995" y="1588739"/>
                </a:cubicBezTo>
                <a:cubicBezTo>
                  <a:pt x="2815373" y="1056278"/>
                  <a:pt x="2871989" y="523385"/>
                  <a:pt x="2838710" y="865"/>
                </a:cubicBezTo>
                <a:close/>
                <a:moveTo>
                  <a:pt x="2693495" y="865"/>
                </a:moveTo>
                <a:lnTo>
                  <a:pt x="2706893" y="865"/>
                </a:lnTo>
                <a:cubicBezTo>
                  <a:pt x="2740603" y="535486"/>
                  <a:pt x="2687012" y="1083075"/>
                  <a:pt x="2539633" y="1628068"/>
                </a:cubicBezTo>
                <a:cubicBezTo>
                  <a:pt x="2509381" y="1735252"/>
                  <a:pt x="2476102" y="1844596"/>
                  <a:pt x="2445847" y="1950052"/>
                </a:cubicBezTo>
                <a:cubicBezTo>
                  <a:pt x="2365893" y="2218443"/>
                  <a:pt x="2282048" y="2499368"/>
                  <a:pt x="2255252" y="2778131"/>
                </a:cubicBezTo>
                <a:cubicBezTo>
                  <a:pt x="2225430" y="3094064"/>
                  <a:pt x="2262167" y="3438954"/>
                  <a:pt x="2375833" y="3862501"/>
                </a:cubicBezTo>
                <a:cubicBezTo>
                  <a:pt x="2556490" y="4533696"/>
                  <a:pt x="2827906" y="5043682"/>
                  <a:pt x="3225955" y="5465070"/>
                </a:cubicBezTo>
                <a:cubicBezTo>
                  <a:pt x="3326224" y="5572253"/>
                  <a:pt x="3443780" y="5679869"/>
                  <a:pt x="3567387" y="5778841"/>
                </a:cubicBezTo>
                <a:cubicBezTo>
                  <a:pt x="3935614" y="6080510"/>
                  <a:pt x="4427449" y="6367487"/>
                  <a:pt x="5066660" y="6656623"/>
                </a:cubicBezTo>
                <a:cubicBezTo>
                  <a:pt x="5217064" y="6724910"/>
                  <a:pt x="5371356" y="6791034"/>
                  <a:pt x="5521759" y="6852838"/>
                </a:cubicBezTo>
                <a:cubicBezTo>
                  <a:pt x="5526081" y="6854568"/>
                  <a:pt x="5529970" y="6856296"/>
                  <a:pt x="5533428" y="6857592"/>
                </a:cubicBezTo>
                <a:lnTo>
                  <a:pt x="5507928" y="6857592"/>
                </a:lnTo>
                <a:cubicBezTo>
                  <a:pt x="5358390" y="6795789"/>
                  <a:pt x="5209284" y="6732257"/>
                  <a:pt x="5059745" y="6664835"/>
                </a:cubicBezTo>
                <a:cubicBezTo>
                  <a:pt x="4417508" y="6373537"/>
                  <a:pt x="3925241" y="6086561"/>
                  <a:pt x="3553989" y="5784892"/>
                </a:cubicBezTo>
                <a:cubicBezTo>
                  <a:pt x="3429949" y="5683759"/>
                  <a:pt x="3316284" y="5578303"/>
                  <a:pt x="3212557" y="5468959"/>
                </a:cubicBezTo>
                <a:cubicBezTo>
                  <a:pt x="2814076" y="5048005"/>
                  <a:pt x="2543090" y="4537585"/>
                  <a:pt x="2362435" y="3862501"/>
                </a:cubicBezTo>
                <a:cubicBezTo>
                  <a:pt x="2248336" y="3438954"/>
                  <a:pt x="2208575" y="3094064"/>
                  <a:pt x="2241852" y="2778131"/>
                </a:cubicBezTo>
                <a:cubicBezTo>
                  <a:pt x="2268650" y="2497207"/>
                  <a:pt x="2352062" y="2218443"/>
                  <a:pt x="2432449" y="1947890"/>
                </a:cubicBezTo>
                <a:cubicBezTo>
                  <a:pt x="2462704" y="1842868"/>
                  <a:pt x="2495983" y="1733091"/>
                  <a:pt x="2526235" y="1625908"/>
                </a:cubicBezTo>
                <a:cubicBezTo>
                  <a:pt x="2670155" y="1080913"/>
                  <a:pt x="2726772" y="535919"/>
                  <a:pt x="2693495" y="865"/>
                </a:cubicBezTo>
                <a:close/>
                <a:moveTo>
                  <a:pt x="2546980" y="865"/>
                </a:moveTo>
                <a:lnTo>
                  <a:pt x="2560380" y="865"/>
                </a:lnTo>
                <a:cubicBezTo>
                  <a:pt x="2600573" y="548020"/>
                  <a:pt x="2543525" y="1107709"/>
                  <a:pt x="2399604" y="1667398"/>
                </a:cubicBezTo>
                <a:cubicBezTo>
                  <a:pt x="2369351" y="1772853"/>
                  <a:pt x="2339529" y="1880037"/>
                  <a:pt x="2309276" y="1983330"/>
                </a:cubicBezTo>
                <a:cubicBezTo>
                  <a:pt x="2228887" y="2256043"/>
                  <a:pt x="2148500" y="2538697"/>
                  <a:pt x="2121704" y="2821783"/>
                </a:cubicBezTo>
                <a:cubicBezTo>
                  <a:pt x="2094908" y="3139444"/>
                  <a:pt x="2135103" y="3484333"/>
                  <a:pt x="2248768" y="3907881"/>
                </a:cubicBezTo>
                <a:cubicBezTo>
                  <a:pt x="2436341" y="4579076"/>
                  <a:pt x="2710782" y="5089063"/>
                  <a:pt x="3112289" y="5510450"/>
                </a:cubicBezTo>
                <a:cubicBezTo>
                  <a:pt x="3216015" y="5617634"/>
                  <a:pt x="3333571" y="5723088"/>
                  <a:pt x="3457178" y="5824221"/>
                </a:cubicBezTo>
                <a:cubicBezTo>
                  <a:pt x="3828431" y="6121569"/>
                  <a:pt x="4320697" y="6408545"/>
                  <a:pt x="4966392" y="6702003"/>
                </a:cubicBezTo>
                <a:cubicBezTo>
                  <a:pt x="5086109" y="6756459"/>
                  <a:pt x="5207555" y="6807891"/>
                  <a:pt x="5328136" y="6857160"/>
                </a:cubicBezTo>
                <a:lnTo>
                  <a:pt x="5299612" y="6857160"/>
                </a:lnTo>
                <a:cubicBezTo>
                  <a:pt x="5186378" y="6809187"/>
                  <a:pt x="5073143" y="6759485"/>
                  <a:pt x="4959910" y="6708054"/>
                </a:cubicBezTo>
                <a:cubicBezTo>
                  <a:pt x="4313782" y="6416756"/>
                  <a:pt x="3818491" y="6127620"/>
                  <a:pt x="3447237" y="5830272"/>
                </a:cubicBezTo>
                <a:cubicBezTo>
                  <a:pt x="3319740" y="5729139"/>
                  <a:pt x="3206074" y="5623684"/>
                  <a:pt x="3102348" y="5514339"/>
                </a:cubicBezTo>
                <a:cubicBezTo>
                  <a:pt x="2697816" y="5093385"/>
                  <a:pt x="2423375" y="4581237"/>
                  <a:pt x="2235803" y="3907881"/>
                </a:cubicBezTo>
                <a:cubicBezTo>
                  <a:pt x="2118679" y="3484765"/>
                  <a:pt x="2078484" y="3139876"/>
                  <a:pt x="2108737" y="2819622"/>
                </a:cubicBezTo>
                <a:cubicBezTo>
                  <a:pt x="2132508" y="2536968"/>
                  <a:pt x="2215922" y="2256043"/>
                  <a:pt x="2296308" y="1983330"/>
                </a:cubicBezTo>
                <a:cubicBezTo>
                  <a:pt x="2326131" y="1877875"/>
                  <a:pt x="2356383" y="1770692"/>
                  <a:pt x="2383181" y="1665237"/>
                </a:cubicBezTo>
                <a:cubicBezTo>
                  <a:pt x="2530125" y="1105548"/>
                  <a:pt x="2583717" y="545859"/>
                  <a:pt x="2546980" y="865"/>
                </a:cubicBezTo>
                <a:close/>
                <a:moveTo>
                  <a:pt x="2400036" y="865"/>
                </a:moveTo>
                <a:lnTo>
                  <a:pt x="2413434" y="865"/>
                </a:lnTo>
                <a:cubicBezTo>
                  <a:pt x="2457084" y="558392"/>
                  <a:pt x="2403493" y="1130616"/>
                  <a:pt x="2256115" y="1706727"/>
                </a:cubicBezTo>
                <a:cubicBezTo>
                  <a:pt x="2229320" y="1810022"/>
                  <a:pt x="2199067" y="1915476"/>
                  <a:pt x="2172271" y="2018770"/>
                </a:cubicBezTo>
                <a:cubicBezTo>
                  <a:pt x="2091882" y="2293212"/>
                  <a:pt x="2011496" y="2578459"/>
                  <a:pt x="1988157" y="2863273"/>
                </a:cubicBezTo>
                <a:cubicBezTo>
                  <a:pt x="1961361" y="3183095"/>
                  <a:pt x="2004581" y="3530145"/>
                  <a:pt x="2125161" y="3951533"/>
                </a:cubicBezTo>
                <a:cubicBezTo>
                  <a:pt x="2316190" y="4624888"/>
                  <a:pt x="2593657" y="5134875"/>
                  <a:pt x="3002080" y="5556263"/>
                </a:cubicBezTo>
                <a:cubicBezTo>
                  <a:pt x="3105805" y="5663445"/>
                  <a:pt x="3223362" y="5768900"/>
                  <a:pt x="3346969" y="5870033"/>
                </a:cubicBezTo>
                <a:cubicBezTo>
                  <a:pt x="3725137" y="6169543"/>
                  <a:pt x="4207030" y="6448307"/>
                  <a:pt x="4866123" y="6745655"/>
                </a:cubicBezTo>
                <a:cubicBezTo>
                  <a:pt x="4950400" y="6783688"/>
                  <a:pt x="5035542" y="6821288"/>
                  <a:pt x="5120684" y="6857592"/>
                </a:cubicBezTo>
                <a:lnTo>
                  <a:pt x="5091296" y="6857592"/>
                </a:lnTo>
                <a:cubicBezTo>
                  <a:pt x="5012636" y="6823881"/>
                  <a:pt x="4933545" y="6789306"/>
                  <a:pt x="4855751" y="6753867"/>
                </a:cubicBezTo>
                <a:cubicBezTo>
                  <a:pt x="4196658" y="6454357"/>
                  <a:pt x="3714765" y="6175593"/>
                  <a:pt x="3336595" y="5876084"/>
                </a:cubicBezTo>
                <a:cubicBezTo>
                  <a:pt x="3209531" y="5774951"/>
                  <a:pt x="3092408" y="5669496"/>
                  <a:pt x="2988682" y="5562313"/>
                </a:cubicBezTo>
                <a:cubicBezTo>
                  <a:pt x="2580259" y="5139197"/>
                  <a:pt x="2302360" y="4627049"/>
                  <a:pt x="2111764" y="3953694"/>
                </a:cubicBezTo>
                <a:cubicBezTo>
                  <a:pt x="1991614" y="3530145"/>
                  <a:pt x="1947963" y="3185257"/>
                  <a:pt x="1974759" y="2863273"/>
                </a:cubicBezTo>
                <a:cubicBezTo>
                  <a:pt x="1998098" y="2578459"/>
                  <a:pt x="2078484" y="2293212"/>
                  <a:pt x="2158874" y="2016609"/>
                </a:cubicBezTo>
                <a:cubicBezTo>
                  <a:pt x="2185669" y="1915044"/>
                  <a:pt x="2215922" y="1810022"/>
                  <a:pt x="2242718" y="1704566"/>
                </a:cubicBezTo>
                <a:cubicBezTo>
                  <a:pt x="2390096" y="1130616"/>
                  <a:pt x="2443687" y="558392"/>
                  <a:pt x="2400036" y="865"/>
                </a:cubicBezTo>
                <a:close/>
                <a:moveTo>
                  <a:pt x="2252226" y="865"/>
                </a:moveTo>
                <a:lnTo>
                  <a:pt x="2265624" y="865"/>
                </a:lnTo>
                <a:cubicBezTo>
                  <a:pt x="2312734" y="568766"/>
                  <a:pt x="2262599" y="1155250"/>
                  <a:pt x="2115221" y="1743896"/>
                </a:cubicBezTo>
                <a:cubicBezTo>
                  <a:pt x="2088426" y="1847189"/>
                  <a:pt x="2061629" y="1952644"/>
                  <a:pt x="2034834" y="2051617"/>
                </a:cubicBezTo>
                <a:cubicBezTo>
                  <a:pt x="1957904" y="2330380"/>
                  <a:pt x="1877515" y="2619518"/>
                  <a:pt x="1854176" y="2906493"/>
                </a:cubicBezTo>
                <a:cubicBezTo>
                  <a:pt x="1830839" y="3228475"/>
                  <a:pt x="1877515" y="3575525"/>
                  <a:pt x="1998098" y="3996913"/>
                </a:cubicBezTo>
                <a:cubicBezTo>
                  <a:pt x="2192151" y="4670269"/>
                  <a:pt x="2476966" y="5180255"/>
                  <a:pt x="2888413" y="5601642"/>
                </a:cubicBezTo>
                <a:cubicBezTo>
                  <a:pt x="2995596" y="5710987"/>
                  <a:pt x="3112721" y="5814281"/>
                  <a:pt x="3239786" y="5915414"/>
                </a:cubicBezTo>
                <a:cubicBezTo>
                  <a:pt x="3614496" y="6212762"/>
                  <a:pt x="4099847" y="6489365"/>
                  <a:pt x="4765854" y="6791034"/>
                </a:cubicBezTo>
                <a:cubicBezTo>
                  <a:pt x="4815125" y="6813509"/>
                  <a:pt x="4865259" y="6835982"/>
                  <a:pt x="4915393" y="6858024"/>
                </a:cubicBezTo>
                <a:lnTo>
                  <a:pt x="4892055" y="6858024"/>
                </a:lnTo>
                <a:cubicBezTo>
                  <a:pt x="4846243" y="6838144"/>
                  <a:pt x="4800862" y="6817831"/>
                  <a:pt x="4755482" y="6797517"/>
                </a:cubicBezTo>
                <a:cubicBezTo>
                  <a:pt x="4089474" y="6498009"/>
                  <a:pt x="3604123" y="6219244"/>
                  <a:pt x="3225955" y="5919736"/>
                </a:cubicBezTo>
                <a:cubicBezTo>
                  <a:pt x="3098891" y="5820332"/>
                  <a:pt x="2981766" y="5714876"/>
                  <a:pt x="2878041" y="5607693"/>
                </a:cubicBezTo>
                <a:cubicBezTo>
                  <a:pt x="2463136" y="5182416"/>
                  <a:pt x="2178753" y="4672429"/>
                  <a:pt x="1984699" y="3999074"/>
                </a:cubicBezTo>
                <a:cubicBezTo>
                  <a:pt x="1864118" y="3575525"/>
                  <a:pt x="1817441" y="3228475"/>
                  <a:pt x="1840778" y="2906493"/>
                </a:cubicBezTo>
                <a:cubicBezTo>
                  <a:pt x="1864118" y="2617356"/>
                  <a:pt x="1941048" y="2330380"/>
                  <a:pt x="2017978" y="2051617"/>
                </a:cubicBezTo>
                <a:cubicBezTo>
                  <a:pt x="2048231" y="1950484"/>
                  <a:pt x="2075028" y="1847189"/>
                  <a:pt x="2101823" y="1743896"/>
                </a:cubicBezTo>
                <a:cubicBezTo>
                  <a:pt x="2248768" y="1155250"/>
                  <a:pt x="2298903" y="568766"/>
                  <a:pt x="2252226" y="865"/>
                </a:cubicBezTo>
                <a:close/>
                <a:moveTo>
                  <a:pt x="2105282" y="865"/>
                </a:moveTo>
                <a:lnTo>
                  <a:pt x="2122137" y="865"/>
                </a:lnTo>
                <a:cubicBezTo>
                  <a:pt x="2168812" y="581299"/>
                  <a:pt x="2122137" y="1180317"/>
                  <a:pt x="1974759" y="1783225"/>
                </a:cubicBezTo>
                <a:cubicBezTo>
                  <a:pt x="1947963" y="1884358"/>
                  <a:pt x="1921168" y="1987652"/>
                  <a:pt x="1894371" y="2086624"/>
                </a:cubicBezTo>
                <a:cubicBezTo>
                  <a:pt x="1820899" y="2367549"/>
                  <a:pt x="1743537" y="2658415"/>
                  <a:pt x="1723655" y="2949711"/>
                </a:cubicBezTo>
                <a:cubicBezTo>
                  <a:pt x="1699884" y="3273856"/>
                  <a:pt x="1746993" y="3620906"/>
                  <a:pt x="1874058" y="4042292"/>
                </a:cubicBezTo>
                <a:cubicBezTo>
                  <a:pt x="2071570" y="4713055"/>
                  <a:pt x="2359410" y="5223475"/>
                  <a:pt x="2777772" y="5648752"/>
                </a:cubicBezTo>
                <a:cubicBezTo>
                  <a:pt x="2881497" y="5756367"/>
                  <a:pt x="3002080" y="5859661"/>
                  <a:pt x="3129144" y="5960794"/>
                </a:cubicBezTo>
                <a:cubicBezTo>
                  <a:pt x="3507312" y="6253820"/>
                  <a:pt x="3992231" y="6532584"/>
                  <a:pt x="4661697" y="6834254"/>
                </a:cubicBezTo>
                <a:cubicBezTo>
                  <a:pt x="4678984" y="6842033"/>
                  <a:pt x="4695840" y="6849813"/>
                  <a:pt x="4712694" y="6858024"/>
                </a:cubicBezTo>
                <a:lnTo>
                  <a:pt x="4691518" y="6858024"/>
                </a:lnTo>
                <a:cubicBezTo>
                  <a:pt x="4678984" y="6852406"/>
                  <a:pt x="4666883" y="6846356"/>
                  <a:pt x="4654782" y="6840737"/>
                </a:cubicBezTo>
                <a:cubicBezTo>
                  <a:pt x="3982290" y="6539067"/>
                  <a:pt x="3493482" y="6260303"/>
                  <a:pt x="3118771" y="5965116"/>
                </a:cubicBezTo>
                <a:cubicBezTo>
                  <a:pt x="2988249" y="5865712"/>
                  <a:pt x="2871126" y="5760257"/>
                  <a:pt x="2763942" y="5653073"/>
                </a:cubicBezTo>
                <a:cubicBezTo>
                  <a:pt x="2345580" y="5227796"/>
                  <a:pt x="2058173" y="4717377"/>
                  <a:pt x="1857203" y="4042292"/>
                </a:cubicBezTo>
                <a:cubicBezTo>
                  <a:pt x="1733596" y="3620906"/>
                  <a:pt x="1686919" y="3273856"/>
                  <a:pt x="1706800" y="2949711"/>
                </a:cubicBezTo>
                <a:cubicBezTo>
                  <a:pt x="1727112" y="2658415"/>
                  <a:pt x="1807501" y="2365387"/>
                  <a:pt x="1880974" y="2084463"/>
                </a:cubicBezTo>
                <a:cubicBezTo>
                  <a:pt x="1907769" y="1985491"/>
                  <a:pt x="1934566" y="1882197"/>
                  <a:pt x="1961361" y="1781064"/>
                </a:cubicBezTo>
                <a:cubicBezTo>
                  <a:pt x="2105282" y="1178156"/>
                  <a:pt x="2155414" y="579138"/>
                  <a:pt x="2105282" y="865"/>
                </a:cubicBezTo>
                <a:close/>
                <a:moveTo>
                  <a:pt x="1957472" y="865"/>
                </a:moveTo>
                <a:lnTo>
                  <a:pt x="1974327" y="865"/>
                </a:lnTo>
                <a:cubicBezTo>
                  <a:pt x="2024460" y="591240"/>
                  <a:pt x="1977783" y="1202791"/>
                  <a:pt x="1833865" y="1822122"/>
                </a:cubicBezTo>
                <a:cubicBezTo>
                  <a:pt x="1810526" y="1921094"/>
                  <a:pt x="1783730" y="2022227"/>
                  <a:pt x="1756935" y="2119471"/>
                </a:cubicBezTo>
                <a:cubicBezTo>
                  <a:pt x="1683462" y="2404286"/>
                  <a:pt x="1606530" y="2697743"/>
                  <a:pt x="1589675" y="2992931"/>
                </a:cubicBezTo>
                <a:cubicBezTo>
                  <a:pt x="1569795" y="3313185"/>
                  <a:pt x="1619928" y="3670607"/>
                  <a:pt x="1746993" y="4085512"/>
                </a:cubicBezTo>
                <a:cubicBezTo>
                  <a:pt x="1951420" y="4758435"/>
                  <a:pt x="2242284" y="5268854"/>
                  <a:pt x="2664105" y="5694131"/>
                </a:cubicBezTo>
                <a:cubicBezTo>
                  <a:pt x="2771288" y="5801747"/>
                  <a:pt x="2891871" y="5905041"/>
                  <a:pt x="3018935" y="6006174"/>
                </a:cubicBezTo>
                <a:cubicBezTo>
                  <a:pt x="3388459" y="6290989"/>
                  <a:pt x="3863871" y="6561973"/>
                  <a:pt x="4516912" y="6858024"/>
                </a:cubicBezTo>
                <a:lnTo>
                  <a:pt x="4491845" y="6858024"/>
                </a:lnTo>
                <a:cubicBezTo>
                  <a:pt x="3844854" y="6564998"/>
                  <a:pt x="3375061" y="6294446"/>
                  <a:pt x="3008562" y="6010496"/>
                </a:cubicBezTo>
                <a:cubicBezTo>
                  <a:pt x="2878041" y="5911092"/>
                  <a:pt x="2760917" y="5805637"/>
                  <a:pt x="2653732" y="5698453"/>
                </a:cubicBezTo>
                <a:cubicBezTo>
                  <a:pt x="2228887" y="5273176"/>
                  <a:pt x="1937590" y="4761029"/>
                  <a:pt x="1733596" y="4087673"/>
                </a:cubicBezTo>
                <a:cubicBezTo>
                  <a:pt x="1606530" y="3672769"/>
                  <a:pt x="1556397" y="3313617"/>
                  <a:pt x="1576277" y="2993363"/>
                </a:cubicBezTo>
                <a:cubicBezTo>
                  <a:pt x="1593132" y="2698176"/>
                  <a:pt x="1670063" y="2402556"/>
                  <a:pt x="1743537" y="2117741"/>
                </a:cubicBezTo>
                <a:cubicBezTo>
                  <a:pt x="1770332" y="2020499"/>
                  <a:pt x="1793670" y="1919366"/>
                  <a:pt x="1817009" y="1820394"/>
                </a:cubicBezTo>
                <a:cubicBezTo>
                  <a:pt x="1963953" y="1202791"/>
                  <a:pt x="2011063" y="589510"/>
                  <a:pt x="1957472" y="865"/>
                </a:cubicBezTo>
                <a:close/>
                <a:moveTo>
                  <a:pt x="1813983" y="865"/>
                </a:moveTo>
                <a:lnTo>
                  <a:pt x="1827381" y="865"/>
                </a:lnTo>
                <a:cubicBezTo>
                  <a:pt x="1884431" y="601612"/>
                  <a:pt x="1837754" y="1227426"/>
                  <a:pt x="1690376" y="1861452"/>
                </a:cubicBezTo>
                <a:cubicBezTo>
                  <a:pt x="1670063" y="1958695"/>
                  <a:pt x="1643267" y="2057667"/>
                  <a:pt x="1619928" y="2152749"/>
                </a:cubicBezTo>
                <a:cubicBezTo>
                  <a:pt x="1546455" y="2439725"/>
                  <a:pt x="1472983" y="2739234"/>
                  <a:pt x="1456128" y="3034421"/>
                </a:cubicBezTo>
                <a:cubicBezTo>
                  <a:pt x="1439272" y="3358565"/>
                  <a:pt x="1492863" y="3715988"/>
                  <a:pt x="1619928" y="4130892"/>
                </a:cubicBezTo>
                <a:cubicBezTo>
                  <a:pt x="1827381" y="4803816"/>
                  <a:pt x="2125161" y="5314234"/>
                  <a:pt x="2553464" y="5739511"/>
                </a:cubicBezTo>
                <a:cubicBezTo>
                  <a:pt x="2660648" y="5847127"/>
                  <a:pt x="2781230" y="5950421"/>
                  <a:pt x="2911750" y="6051554"/>
                </a:cubicBezTo>
                <a:cubicBezTo>
                  <a:pt x="3259665" y="6319945"/>
                  <a:pt x="3708281" y="6577532"/>
                  <a:pt x="4316807" y="6857592"/>
                </a:cubicBezTo>
                <a:lnTo>
                  <a:pt x="4293901" y="6857592"/>
                </a:lnTo>
                <a:cubicBezTo>
                  <a:pt x="3694452" y="6580125"/>
                  <a:pt x="3246700" y="6324267"/>
                  <a:pt x="2898352" y="6055876"/>
                </a:cubicBezTo>
                <a:cubicBezTo>
                  <a:pt x="2770856" y="5956471"/>
                  <a:pt x="2647250" y="5851017"/>
                  <a:pt x="2540066" y="5743834"/>
                </a:cubicBezTo>
                <a:cubicBezTo>
                  <a:pt x="2111764" y="5318557"/>
                  <a:pt x="1813983" y="4806409"/>
                  <a:pt x="1606530" y="4133053"/>
                </a:cubicBezTo>
                <a:cubicBezTo>
                  <a:pt x="1479466" y="3718149"/>
                  <a:pt x="1425874" y="3358565"/>
                  <a:pt x="1442730" y="3034421"/>
                </a:cubicBezTo>
                <a:cubicBezTo>
                  <a:pt x="1459154" y="2737073"/>
                  <a:pt x="1533058" y="2439725"/>
                  <a:pt x="1606530" y="2150589"/>
                </a:cubicBezTo>
                <a:cubicBezTo>
                  <a:pt x="1630301" y="2055506"/>
                  <a:pt x="1653639" y="1956534"/>
                  <a:pt x="1676978" y="1859291"/>
                </a:cubicBezTo>
                <a:cubicBezTo>
                  <a:pt x="1823923" y="1225697"/>
                  <a:pt x="1867576" y="599883"/>
                  <a:pt x="1813983" y="865"/>
                </a:cubicBezTo>
                <a:close/>
                <a:moveTo>
                  <a:pt x="1519660" y="865"/>
                </a:moveTo>
                <a:lnTo>
                  <a:pt x="1533058" y="865"/>
                </a:lnTo>
                <a:cubicBezTo>
                  <a:pt x="1533058" y="17288"/>
                  <a:pt x="1536516" y="35873"/>
                  <a:pt x="1536516" y="52296"/>
                </a:cubicBezTo>
                <a:cubicBezTo>
                  <a:pt x="1593565" y="657364"/>
                  <a:pt x="1549913" y="1291390"/>
                  <a:pt x="1409451" y="1937950"/>
                </a:cubicBezTo>
                <a:cubicBezTo>
                  <a:pt x="1389138" y="2030871"/>
                  <a:pt x="1365799" y="2125954"/>
                  <a:pt x="1342461" y="2218875"/>
                </a:cubicBezTo>
                <a:cubicBezTo>
                  <a:pt x="1275471" y="2511901"/>
                  <a:pt x="1201999" y="2817893"/>
                  <a:pt x="1188601" y="3121292"/>
                </a:cubicBezTo>
                <a:cubicBezTo>
                  <a:pt x="1178660" y="3447597"/>
                  <a:pt x="1235277" y="3807181"/>
                  <a:pt x="1369256" y="4222085"/>
                </a:cubicBezTo>
                <a:cubicBezTo>
                  <a:pt x="1586651" y="4893280"/>
                  <a:pt x="1891345" y="5405427"/>
                  <a:pt x="2329588" y="5830704"/>
                </a:cubicBezTo>
                <a:cubicBezTo>
                  <a:pt x="2436773" y="5938320"/>
                  <a:pt x="2560380" y="6041613"/>
                  <a:pt x="2690902" y="6140585"/>
                </a:cubicBezTo>
                <a:cubicBezTo>
                  <a:pt x="3009859" y="6381316"/>
                  <a:pt x="3397102" y="6607353"/>
                  <a:pt x="3923512" y="6858024"/>
                </a:cubicBezTo>
                <a:lnTo>
                  <a:pt x="3900606" y="6858024"/>
                </a:lnTo>
                <a:cubicBezTo>
                  <a:pt x="3380248" y="6609946"/>
                  <a:pt x="2996461" y="6385639"/>
                  <a:pt x="2680528" y="6147068"/>
                </a:cubicBezTo>
                <a:cubicBezTo>
                  <a:pt x="2550006" y="6047664"/>
                  <a:pt x="2426399" y="5942210"/>
                  <a:pt x="2315758" y="5835026"/>
                </a:cubicBezTo>
                <a:cubicBezTo>
                  <a:pt x="1877515" y="5409749"/>
                  <a:pt x="1572820" y="4895440"/>
                  <a:pt x="1355426" y="4222085"/>
                </a:cubicBezTo>
                <a:cubicBezTo>
                  <a:pt x="1221447" y="3808910"/>
                  <a:pt x="1161372" y="3447597"/>
                  <a:pt x="1174770" y="3121292"/>
                </a:cubicBezTo>
                <a:cubicBezTo>
                  <a:pt x="1188168" y="2817893"/>
                  <a:pt x="1258617" y="2511901"/>
                  <a:pt x="1329063" y="2216714"/>
                </a:cubicBezTo>
                <a:cubicBezTo>
                  <a:pt x="1352401" y="2125954"/>
                  <a:pt x="1372715" y="2030871"/>
                  <a:pt x="1396053" y="1937950"/>
                </a:cubicBezTo>
                <a:cubicBezTo>
                  <a:pt x="1536516" y="1291390"/>
                  <a:pt x="1580167" y="657364"/>
                  <a:pt x="1523118" y="52296"/>
                </a:cubicBezTo>
                <a:cubicBezTo>
                  <a:pt x="1523118" y="35873"/>
                  <a:pt x="1519660" y="17288"/>
                  <a:pt x="1519660" y="865"/>
                </a:cubicBezTo>
                <a:close/>
                <a:moveTo>
                  <a:pt x="927556" y="865"/>
                </a:moveTo>
                <a:lnTo>
                  <a:pt x="940955" y="865"/>
                </a:lnTo>
                <a:cubicBezTo>
                  <a:pt x="950895" y="58347"/>
                  <a:pt x="957379" y="118421"/>
                  <a:pt x="960836" y="182386"/>
                </a:cubicBezTo>
                <a:cubicBezTo>
                  <a:pt x="1010970" y="785294"/>
                  <a:pt x="970777" y="1429692"/>
                  <a:pt x="843711" y="2092675"/>
                </a:cubicBezTo>
                <a:cubicBezTo>
                  <a:pt x="826856" y="2177384"/>
                  <a:pt x="810000" y="2264255"/>
                  <a:pt x="790119" y="2346804"/>
                </a:cubicBezTo>
                <a:cubicBezTo>
                  <a:pt x="726587" y="2656253"/>
                  <a:pt x="659598" y="2974346"/>
                  <a:pt x="656141" y="3292440"/>
                </a:cubicBezTo>
                <a:cubicBezTo>
                  <a:pt x="652683" y="3624796"/>
                  <a:pt x="723130" y="3988269"/>
                  <a:pt x="863592" y="4401445"/>
                </a:cubicBezTo>
                <a:cubicBezTo>
                  <a:pt x="1097840" y="5072639"/>
                  <a:pt x="1422417" y="5584786"/>
                  <a:pt x="1877515" y="6012225"/>
                </a:cubicBezTo>
                <a:cubicBezTo>
                  <a:pt x="1991181" y="6119841"/>
                  <a:pt x="2118679" y="6223134"/>
                  <a:pt x="2255684" y="6322107"/>
                </a:cubicBezTo>
                <a:cubicBezTo>
                  <a:pt x="2527965" y="6522644"/>
                  <a:pt x="2838710" y="6698979"/>
                  <a:pt x="3150753" y="6858024"/>
                </a:cubicBezTo>
                <a:lnTo>
                  <a:pt x="3127414" y="6858024"/>
                </a:lnTo>
                <a:cubicBezTo>
                  <a:pt x="2819694" y="6700707"/>
                  <a:pt x="2514135" y="6525237"/>
                  <a:pt x="2242284" y="6328590"/>
                </a:cubicBezTo>
                <a:cubicBezTo>
                  <a:pt x="2108737" y="6229185"/>
                  <a:pt x="1981241" y="6123730"/>
                  <a:pt x="1867576" y="6016547"/>
                </a:cubicBezTo>
                <a:cubicBezTo>
                  <a:pt x="1409019" y="5589109"/>
                  <a:pt x="1084443" y="5074800"/>
                  <a:pt x="850194" y="4401445"/>
                </a:cubicBezTo>
                <a:cubicBezTo>
                  <a:pt x="706275" y="3990430"/>
                  <a:pt x="639285" y="3626957"/>
                  <a:pt x="642743" y="3292440"/>
                </a:cubicBezTo>
                <a:cubicBezTo>
                  <a:pt x="646200" y="2974346"/>
                  <a:pt x="713190" y="2654525"/>
                  <a:pt x="776722" y="2344643"/>
                </a:cubicBezTo>
                <a:cubicBezTo>
                  <a:pt x="793577" y="2262094"/>
                  <a:pt x="813457" y="2177384"/>
                  <a:pt x="830313" y="2092675"/>
                </a:cubicBezTo>
                <a:cubicBezTo>
                  <a:pt x="957379" y="1429692"/>
                  <a:pt x="997572" y="785294"/>
                  <a:pt x="947438" y="182386"/>
                </a:cubicBezTo>
                <a:cubicBezTo>
                  <a:pt x="944413" y="118421"/>
                  <a:pt x="937497" y="58779"/>
                  <a:pt x="927556" y="865"/>
                </a:cubicBezTo>
                <a:close/>
                <a:moveTo>
                  <a:pt x="482400" y="865"/>
                </a:moveTo>
                <a:lnTo>
                  <a:pt x="495797" y="865"/>
                </a:lnTo>
                <a:cubicBezTo>
                  <a:pt x="515678" y="98108"/>
                  <a:pt x="522593" y="192758"/>
                  <a:pt x="529076" y="279629"/>
                </a:cubicBezTo>
                <a:cubicBezTo>
                  <a:pt x="575753" y="882536"/>
                  <a:pt x="539016" y="1531258"/>
                  <a:pt x="418434" y="2208502"/>
                </a:cubicBezTo>
                <a:cubicBezTo>
                  <a:pt x="405036" y="2286729"/>
                  <a:pt x="391639" y="2365387"/>
                  <a:pt x="374782" y="2439725"/>
                </a:cubicBezTo>
                <a:cubicBezTo>
                  <a:pt x="314708" y="2762141"/>
                  <a:pt x="254202" y="3092335"/>
                  <a:pt x="257659" y="3420801"/>
                </a:cubicBezTo>
                <a:cubicBezTo>
                  <a:pt x="261117" y="3759207"/>
                  <a:pt x="335022" y="4124842"/>
                  <a:pt x="485424" y="4535856"/>
                </a:cubicBezTo>
                <a:cubicBezTo>
                  <a:pt x="729612" y="5198839"/>
                  <a:pt x="1074502" y="5725249"/>
                  <a:pt x="1542998" y="6148797"/>
                </a:cubicBezTo>
                <a:cubicBezTo>
                  <a:pt x="1660122" y="6256413"/>
                  <a:pt x="1787188" y="6359708"/>
                  <a:pt x="1927651" y="6458678"/>
                </a:cubicBezTo>
                <a:cubicBezTo>
                  <a:pt x="2129916" y="6601302"/>
                  <a:pt x="2350767" y="6733553"/>
                  <a:pt x="2581556" y="6857592"/>
                </a:cubicBezTo>
                <a:lnTo>
                  <a:pt x="2559515" y="6857592"/>
                </a:lnTo>
                <a:cubicBezTo>
                  <a:pt x="2333477" y="6735282"/>
                  <a:pt x="2115653" y="6604760"/>
                  <a:pt x="1914251" y="6462569"/>
                </a:cubicBezTo>
                <a:cubicBezTo>
                  <a:pt x="1777246" y="6365325"/>
                  <a:pt x="1646724" y="6262032"/>
                  <a:pt x="1529600" y="6154848"/>
                </a:cubicBezTo>
                <a:cubicBezTo>
                  <a:pt x="1064561" y="5729571"/>
                  <a:pt x="716215" y="5201000"/>
                  <a:pt x="472026" y="4538018"/>
                </a:cubicBezTo>
                <a:cubicBezTo>
                  <a:pt x="321191" y="4124842"/>
                  <a:pt x="247718" y="3761368"/>
                  <a:pt x="244261" y="3420801"/>
                </a:cubicBezTo>
                <a:cubicBezTo>
                  <a:pt x="240804" y="3092335"/>
                  <a:pt x="301310" y="2759980"/>
                  <a:pt x="361385" y="2439725"/>
                </a:cubicBezTo>
                <a:cubicBezTo>
                  <a:pt x="374782" y="2363227"/>
                  <a:pt x="391639" y="2285000"/>
                  <a:pt x="405036" y="2208502"/>
                </a:cubicBezTo>
                <a:cubicBezTo>
                  <a:pt x="525618" y="1531258"/>
                  <a:pt x="562354" y="882536"/>
                  <a:pt x="515678" y="279629"/>
                </a:cubicBezTo>
                <a:cubicBezTo>
                  <a:pt x="509195" y="192758"/>
                  <a:pt x="499254" y="98108"/>
                  <a:pt x="482400" y="865"/>
                </a:cubicBezTo>
                <a:close/>
                <a:moveTo>
                  <a:pt x="331564" y="865"/>
                </a:moveTo>
                <a:lnTo>
                  <a:pt x="344962" y="865"/>
                </a:lnTo>
                <a:cubicBezTo>
                  <a:pt x="368301" y="108481"/>
                  <a:pt x="378674" y="215664"/>
                  <a:pt x="385156" y="312908"/>
                </a:cubicBezTo>
                <a:cubicBezTo>
                  <a:pt x="431833" y="913655"/>
                  <a:pt x="395096" y="1564104"/>
                  <a:pt x="277973" y="2247832"/>
                </a:cubicBezTo>
                <a:cubicBezTo>
                  <a:pt x="264575" y="2322169"/>
                  <a:pt x="251175" y="2398667"/>
                  <a:pt x="237778" y="2470843"/>
                </a:cubicBezTo>
                <a:cubicBezTo>
                  <a:pt x="177703" y="2794987"/>
                  <a:pt x="117628" y="3131665"/>
                  <a:pt x="124111" y="3464020"/>
                </a:cubicBezTo>
                <a:cubicBezTo>
                  <a:pt x="131026" y="3804588"/>
                  <a:pt x="207957" y="4170222"/>
                  <a:pt x="361817" y="4579076"/>
                </a:cubicBezTo>
                <a:cubicBezTo>
                  <a:pt x="609463" y="5244219"/>
                  <a:pt x="957379" y="5770629"/>
                  <a:pt x="1429331" y="6194177"/>
                </a:cubicBezTo>
                <a:cubicBezTo>
                  <a:pt x="1546455" y="6301793"/>
                  <a:pt x="1676978" y="6405087"/>
                  <a:pt x="1817441" y="6504059"/>
                </a:cubicBezTo>
                <a:cubicBezTo>
                  <a:pt x="1996801" y="6628962"/>
                  <a:pt x="2191720" y="6746520"/>
                  <a:pt x="2394850" y="6857592"/>
                </a:cubicBezTo>
                <a:lnTo>
                  <a:pt x="2373240" y="6857592"/>
                </a:lnTo>
                <a:cubicBezTo>
                  <a:pt x="2173136" y="6748248"/>
                  <a:pt x="1983402" y="6632420"/>
                  <a:pt x="1807501" y="6507949"/>
                </a:cubicBezTo>
                <a:cubicBezTo>
                  <a:pt x="1667037" y="6410705"/>
                  <a:pt x="1536516" y="6307412"/>
                  <a:pt x="1415933" y="6200228"/>
                </a:cubicBezTo>
                <a:cubicBezTo>
                  <a:pt x="947438" y="5774951"/>
                  <a:pt x="596065" y="5246380"/>
                  <a:pt x="348419" y="4581237"/>
                </a:cubicBezTo>
                <a:cubicBezTo>
                  <a:pt x="194559" y="4170222"/>
                  <a:pt x="117197" y="3804588"/>
                  <a:pt x="110713" y="3464020"/>
                </a:cubicBezTo>
                <a:cubicBezTo>
                  <a:pt x="103798" y="3131665"/>
                  <a:pt x="164305" y="2794987"/>
                  <a:pt x="224380" y="2470843"/>
                </a:cubicBezTo>
                <a:cubicBezTo>
                  <a:pt x="237778" y="2396505"/>
                  <a:pt x="251175" y="2322169"/>
                  <a:pt x="264575" y="2247832"/>
                </a:cubicBezTo>
                <a:cubicBezTo>
                  <a:pt x="378240" y="1564536"/>
                  <a:pt x="415409" y="913655"/>
                  <a:pt x="371757" y="312908"/>
                </a:cubicBezTo>
                <a:cubicBezTo>
                  <a:pt x="364842" y="215664"/>
                  <a:pt x="354903" y="108048"/>
                  <a:pt x="331564" y="865"/>
                </a:cubicBezTo>
                <a:close/>
                <a:moveTo>
                  <a:pt x="177272" y="865"/>
                </a:moveTo>
                <a:lnTo>
                  <a:pt x="194126" y="865"/>
                </a:lnTo>
                <a:cubicBezTo>
                  <a:pt x="224380" y="118421"/>
                  <a:pt x="234320" y="238571"/>
                  <a:pt x="241235" y="343594"/>
                </a:cubicBezTo>
                <a:cubicBezTo>
                  <a:pt x="284887" y="944340"/>
                  <a:pt x="251175" y="1599111"/>
                  <a:pt x="137509" y="2286729"/>
                </a:cubicBezTo>
                <a:cubicBezTo>
                  <a:pt x="124111" y="2358905"/>
                  <a:pt x="110713" y="2431513"/>
                  <a:pt x="100773" y="2501528"/>
                </a:cubicBezTo>
                <a:cubicBezTo>
                  <a:pt x="72248" y="2665761"/>
                  <a:pt x="42967" y="2833020"/>
                  <a:pt x="21628" y="3001305"/>
                </a:cubicBezTo>
                <a:lnTo>
                  <a:pt x="0" y="3220433"/>
                </a:lnTo>
                <a:lnTo>
                  <a:pt x="0" y="3069197"/>
                </a:lnTo>
                <a:lnTo>
                  <a:pt x="6448" y="3000440"/>
                </a:lnTo>
                <a:cubicBezTo>
                  <a:pt x="26869" y="2832156"/>
                  <a:pt x="55177" y="2664897"/>
                  <a:pt x="83485" y="2499800"/>
                </a:cubicBezTo>
                <a:cubicBezTo>
                  <a:pt x="96883" y="2429353"/>
                  <a:pt x="110281" y="2357177"/>
                  <a:pt x="120222" y="2285000"/>
                </a:cubicBezTo>
                <a:cubicBezTo>
                  <a:pt x="233888" y="1599111"/>
                  <a:pt x="271057" y="944340"/>
                  <a:pt x="227406" y="343594"/>
                </a:cubicBezTo>
                <a:cubicBezTo>
                  <a:pt x="220923" y="238571"/>
                  <a:pt x="210550" y="118421"/>
                  <a:pt x="177272" y="865"/>
                </a:cubicBezTo>
                <a:close/>
                <a:moveTo>
                  <a:pt x="26870" y="865"/>
                </a:moveTo>
                <a:lnTo>
                  <a:pt x="39834" y="865"/>
                </a:lnTo>
                <a:cubicBezTo>
                  <a:pt x="77002" y="129226"/>
                  <a:pt x="90401" y="261045"/>
                  <a:pt x="96883" y="376872"/>
                </a:cubicBezTo>
                <a:cubicBezTo>
                  <a:pt x="129621" y="826136"/>
                  <a:pt x="117142" y="1307976"/>
                  <a:pt x="62180" y="1813458"/>
                </a:cubicBezTo>
                <a:lnTo>
                  <a:pt x="0" y="2275627"/>
                </a:lnTo>
                <a:lnTo>
                  <a:pt x="0" y="2177011"/>
                </a:lnTo>
                <a:lnTo>
                  <a:pt x="49031" y="1812364"/>
                </a:lnTo>
                <a:cubicBezTo>
                  <a:pt x="103933" y="1307733"/>
                  <a:pt x="116656" y="826136"/>
                  <a:pt x="83918" y="376872"/>
                </a:cubicBezTo>
                <a:cubicBezTo>
                  <a:pt x="77002" y="261045"/>
                  <a:pt x="63604" y="128794"/>
                  <a:pt x="26870" y="865"/>
                </a:cubicBezTo>
                <a:close/>
                <a:moveTo>
                  <a:pt x="4005629" y="433"/>
                </a:moveTo>
                <a:lnTo>
                  <a:pt x="4019027" y="433"/>
                </a:lnTo>
                <a:cubicBezTo>
                  <a:pt x="4019027" y="427871"/>
                  <a:pt x="3952037" y="857469"/>
                  <a:pt x="3811575" y="1278857"/>
                </a:cubicBezTo>
                <a:cubicBezTo>
                  <a:pt x="3771381" y="1398574"/>
                  <a:pt x="3728163" y="1518292"/>
                  <a:pt x="3684510" y="1634119"/>
                </a:cubicBezTo>
                <a:cubicBezTo>
                  <a:pt x="3590725" y="1880037"/>
                  <a:pt x="3497371" y="2135894"/>
                  <a:pt x="3453720" y="2392184"/>
                </a:cubicBezTo>
                <a:cubicBezTo>
                  <a:pt x="3403587" y="2696014"/>
                  <a:pt x="3420441" y="3026210"/>
                  <a:pt x="3510769" y="3457970"/>
                </a:cubicBezTo>
                <a:cubicBezTo>
                  <a:pt x="3651231" y="4141265"/>
                  <a:pt x="3875539" y="4632667"/>
                  <a:pt x="4236852" y="5056216"/>
                </a:cubicBezTo>
                <a:cubicBezTo>
                  <a:pt x="4330638" y="5163400"/>
                  <a:pt x="4434363" y="5271016"/>
                  <a:pt x="4551488" y="5372149"/>
                </a:cubicBezTo>
                <a:cubicBezTo>
                  <a:pt x="4905886" y="5688081"/>
                  <a:pt x="5387779" y="5987589"/>
                  <a:pt x="5980314" y="6258142"/>
                </a:cubicBezTo>
                <a:cubicBezTo>
                  <a:pt x="6124234" y="6326428"/>
                  <a:pt x="6271611" y="6390393"/>
                  <a:pt x="6422015" y="6447010"/>
                </a:cubicBezTo>
                <a:cubicBezTo>
                  <a:pt x="6815309" y="6605192"/>
                  <a:pt x="7230213" y="6742197"/>
                  <a:pt x="7663269" y="6856728"/>
                </a:cubicBezTo>
                <a:lnTo>
                  <a:pt x="7626102" y="6856728"/>
                </a:lnTo>
                <a:cubicBezTo>
                  <a:pt x="7206443" y="6743925"/>
                  <a:pt x="6799319" y="6607785"/>
                  <a:pt x="6415531" y="6455654"/>
                </a:cubicBezTo>
                <a:cubicBezTo>
                  <a:pt x="6264696" y="6395579"/>
                  <a:pt x="6114294" y="6331615"/>
                  <a:pt x="5970373" y="6265489"/>
                </a:cubicBezTo>
                <a:cubicBezTo>
                  <a:pt x="5378271" y="5993208"/>
                  <a:pt x="4896376" y="5693699"/>
                  <a:pt x="4538090" y="5375605"/>
                </a:cubicBezTo>
                <a:cubicBezTo>
                  <a:pt x="4424423" y="5274473"/>
                  <a:pt x="4317239" y="5166857"/>
                  <a:pt x="4223454" y="5059673"/>
                </a:cubicBezTo>
                <a:cubicBezTo>
                  <a:pt x="3862141" y="4636558"/>
                  <a:pt x="3637833" y="4142994"/>
                  <a:pt x="3497371" y="3459266"/>
                </a:cubicBezTo>
                <a:cubicBezTo>
                  <a:pt x="3407043" y="3025778"/>
                  <a:pt x="3390188" y="2695150"/>
                  <a:pt x="3440323" y="2391752"/>
                </a:cubicBezTo>
                <a:cubicBezTo>
                  <a:pt x="3483541" y="2133734"/>
                  <a:pt x="3577327" y="1877875"/>
                  <a:pt x="3671113" y="1631957"/>
                </a:cubicBezTo>
                <a:cubicBezTo>
                  <a:pt x="3714332" y="1516131"/>
                  <a:pt x="3757983" y="1396413"/>
                  <a:pt x="3798177" y="1276696"/>
                </a:cubicBezTo>
                <a:cubicBezTo>
                  <a:pt x="3935182" y="855309"/>
                  <a:pt x="4005629" y="427871"/>
                  <a:pt x="4005629" y="433"/>
                </a:cubicBezTo>
                <a:close/>
                <a:moveTo>
                  <a:pt x="1372282" y="433"/>
                </a:moveTo>
                <a:lnTo>
                  <a:pt x="1385681" y="433"/>
                </a:lnTo>
                <a:cubicBezTo>
                  <a:pt x="1388705" y="29390"/>
                  <a:pt x="1392163" y="56185"/>
                  <a:pt x="1392163" y="85142"/>
                </a:cubicBezTo>
                <a:cubicBezTo>
                  <a:pt x="1449213" y="690212"/>
                  <a:pt x="1405561" y="1326398"/>
                  <a:pt x="1268556" y="1976847"/>
                </a:cubicBezTo>
                <a:cubicBezTo>
                  <a:pt x="1248676" y="2068040"/>
                  <a:pt x="1224905" y="2160961"/>
                  <a:pt x="1205024" y="2251722"/>
                </a:cubicBezTo>
                <a:cubicBezTo>
                  <a:pt x="1138035" y="2549069"/>
                  <a:pt x="1067586" y="2856790"/>
                  <a:pt x="1057646" y="3164511"/>
                </a:cubicBezTo>
                <a:cubicBezTo>
                  <a:pt x="1047707" y="3492977"/>
                  <a:pt x="1107781" y="3852129"/>
                  <a:pt x="1241760" y="4265304"/>
                </a:cubicBezTo>
                <a:cubicBezTo>
                  <a:pt x="1462611" y="4938660"/>
                  <a:pt x="1773790" y="5450807"/>
                  <a:pt x="2215489" y="5876084"/>
                </a:cubicBezTo>
                <a:cubicBezTo>
                  <a:pt x="2326131" y="5983700"/>
                  <a:pt x="2449738" y="6086993"/>
                  <a:pt x="2583717" y="6185966"/>
                </a:cubicBezTo>
                <a:cubicBezTo>
                  <a:pt x="2932929" y="6448307"/>
                  <a:pt x="3348266" y="6672614"/>
                  <a:pt x="3730323" y="6858024"/>
                </a:cubicBezTo>
                <a:lnTo>
                  <a:pt x="3705687" y="6858024"/>
                </a:lnTo>
                <a:cubicBezTo>
                  <a:pt x="3326224" y="6674774"/>
                  <a:pt x="2918666" y="6452629"/>
                  <a:pt x="2570320" y="6192449"/>
                </a:cubicBezTo>
                <a:cubicBezTo>
                  <a:pt x="2439797" y="6093044"/>
                  <a:pt x="2315758" y="5987589"/>
                  <a:pt x="2202091" y="5880407"/>
                </a:cubicBezTo>
                <a:cubicBezTo>
                  <a:pt x="1760392" y="5452968"/>
                  <a:pt x="1449213" y="4940821"/>
                  <a:pt x="1228362" y="4267466"/>
                </a:cubicBezTo>
                <a:cubicBezTo>
                  <a:pt x="1094384" y="3854289"/>
                  <a:pt x="1030850" y="3492977"/>
                  <a:pt x="1040791" y="3164511"/>
                </a:cubicBezTo>
                <a:cubicBezTo>
                  <a:pt x="1051163" y="2856790"/>
                  <a:pt x="1124636" y="2547341"/>
                  <a:pt x="1191627" y="2249561"/>
                </a:cubicBezTo>
                <a:cubicBezTo>
                  <a:pt x="1211507" y="2160529"/>
                  <a:pt x="1234846" y="2067608"/>
                  <a:pt x="1251701" y="1974686"/>
                </a:cubicBezTo>
                <a:cubicBezTo>
                  <a:pt x="1392163" y="1326398"/>
                  <a:pt x="1432357" y="690212"/>
                  <a:pt x="1378765" y="85142"/>
                </a:cubicBezTo>
                <a:cubicBezTo>
                  <a:pt x="1375740" y="56185"/>
                  <a:pt x="1375740" y="29390"/>
                  <a:pt x="1372282" y="433"/>
                </a:cubicBezTo>
                <a:close/>
                <a:moveTo>
                  <a:pt x="1225337" y="433"/>
                </a:moveTo>
                <a:lnTo>
                  <a:pt x="1238734" y="433"/>
                </a:lnTo>
                <a:cubicBezTo>
                  <a:pt x="1242193" y="39762"/>
                  <a:pt x="1245218" y="79091"/>
                  <a:pt x="1248676" y="116260"/>
                </a:cubicBezTo>
                <a:cubicBezTo>
                  <a:pt x="1302267" y="721330"/>
                  <a:pt x="1262074" y="1361405"/>
                  <a:pt x="1125069" y="2016176"/>
                </a:cubicBezTo>
                <a:cubicBezTo>
                  <a:pt x="1108213" y="2104776"/>
                  <a:pt x="1087900" y="2195536"/>
                  <a:pt x="1068020" y="2282407"/>
                </a:cubicBezTo>
                <a:cubicBezTo>
                  <a:pt x="1001030" y="2584077"/>
                  <a:pt x="930581" y="2895687"/>
                  <a:pt x="924099" y="3207730"/>
                </a:cubicBezTo>
                <a:cubicBezTo>
                  <a:pt x="914159" y="3536196"/>
                  <a:pt x="977691" y="3897509"/>
                  <a:pt x="1118153" y="4310684"/>
                </a:cubicBezTo>
                <a:cubicBezTo>
                  <a:pt x="1342029" y="4984040"/>
                  <a:pt x="1656665" y="5494027"/>
                  <a:pt x="2101823" y="5921465"/>
                </a:cubicBezTo>
                <a:cubicBezTo>
                  <a:pt x="2215489" y="6029081"/>
                  <a:pt x="2339096" y="6132374"/>
                  <a:pt x="2473076" y="6231346"/>
                </a:cubicBezTo>
                <a:cubicBezTo>
                  <a:pt x="2797651" y="6471212"/>
                  <a:pt x="3177981" y="6680826"/>
                  <a:pt x="3536701" y="6857592"/>
                </a:cubicBezTo>
                <a:lnTo>
                  <a:pt x="3511634" y="6857592"/>
                </a:lnTo>
                <a:cubicBezTo>
                  <a:pt x="3155507" y="6682554"/>
                  <a:pt x="2781230" y="6475103"/>
                  <a:pt x="2463136" y="6237397"/>
                </a:cubicBezTo>
                <a:cubicBezTo>
                  <a:pt x="2329588" y="6137993"/>
                  <a:pt x="2202524" y="6032537"/>
                  <a:pt x="2091882" y="5925354"/>
                </a:cubicBezTo>
                <a:cubicBezTo>
                  <a:pt x="1643267" y="5497916"/>
                  <a:pt x="1329063" y="4985769"/>
                  <a:pt x="1101298" y="4312414"/>
                </a:cubicBezTo>
                <a:cubicBezTo>
                  <a:pt x="964293" y="3899238"/>
                  <a:pt x="900761" y="3536196"/>
                  <a:pt x="910701" y="3205569"/>
                </a:cubicBezTo>
                <a:cubicBezTo>
                  <a:pt x="917616" y="2895687"/>
                  <a:pt x="987631" y="2584077"/>
                  <a:pt x="1054621" y="2282407"/>
                </a:cubicBezTo>
                <a:cubicBezTo>
                  <a:pt x="1074934" y="2193807"/>
                  <a:pt x="1094815" y="2102616"/>
                  <a:pt x="1111671" y="2014016"/>
                </a:cubicBezTo>
                <a:cubicBezTo>
                  <a:pt x="1245218" y="1359677"/>
                  <a:pt x="1288869" y="721330"/>
                  <a:pt x="1235277" y="116260"/>
                </a:cubicBezTo>
                <a:cubicBezTo>
                  <a:pt x="1231819" y="79091"/>
                  <a:pt x="1228794" y="39762"/>
                  <a:pt x="1225337" y="433"/>
                </a:cubicBezTo>
                <a:close/>
                <a:moveTo>
                  <a:pt x="1074069" y="433"/>
                </a:moveTo>
                <a:lnTo>
                  <a:pt x="1090925" y="433"/>
                </a:lnTo>
                <a:cubicBezTo>
                  <a:pt x="1097840" y="47974"/>
                  <a:pt x="1100866" y="97676"/>
                  <a:pt x="1104323" y="149107"/>
                </a:cubicBezTo>
                <a:cubicBezTo>
                  <a:pt x="1157916" y="754176"/>
                  <a:pt x="1117721" y="1394685"/>
                  <a:pt x="983741" y="2053345"/>
                </a:cubicBezTo>
                <a:cubicBezTo>
                  <a:pt x="966887" y="2142376"/>
                  <a:pt x="947006" y="2228815"/>
                  <a:pt x="930150" y="2315686"/>
                </a:cubicBezTo>
                <a:cubicBezTo>
                  <a:pt x="863160" y="2619518"/>
                  <a:pt x="796170" y="2935449"/>
                  <a:pt x="789687" y="3249221"/>
                </a:cubicBezTo>
                <a:cubicBezTo>
                  <a:pt x="783204" y="3581576"/>
                  <a:pt x="850194" y="3942889"/>
                  <a:pt x="990657" y="4356065"/>
                </a:cubicBezTo>
                <a:cubicBezTo>
                  <a:pt x="1221880" y="5027259"/>
                  <a:pt x="1539540" y="5539406"/>
                  <a:pt x="1991614" y="5966845"/>
                </a:cubicBezTo>
                <a:cubicBezTo>
                  <a:pt x="2105282" y="6074461"/>
                  <a:pt x="2228887" y="6177754"/>
                  <a:pt x="2362867" y="6276726"/>
                </a:cubicBezTo>
                <a:cubicBezTo>
                  <a:pt x="2662808" y="6496280"/>
                  <a:pt x="3004672" y="6688605"/>
                  <a:pt x="3342214" y="6858024"/>
                </a:cubicBezTo>
                <a:lnTo>
                  <a:pt x="3320605" y="6858024"/>
                </a:lnTo>
                <a:cubicBezTo>
                  <a:pt x="2985657" y="6690766"/>
                  <a:pt x="2649843" y="6500602"/>
                  <a:pt x="2352927" y="6283209"/>
                </a:cubicBezTo>
                <a:cubicBezTo>
                  <a:pt x="2219381" y="6183805"/>
                  <a:pt x="2091882" y="6078350"/>
                  <a:pt x="1978216" y="5971166"/>
                </a:cubicBezTo>
                <a:cubicBezTo>
                  <a:pt x="1526575" y="5543729"/>
                  <a:pt x="1208483" y="5031581"/>
                  <a:pt x="977691" y="4358225"/>
                </a:cubicBezTo>
                <a:cubicBezTo>
                  <a:pt x="836797" y="3945050"/>
                  <a:pt x="770240" y="3581576"/>
                  <a:pt x="776722" y="3249221"/>
                </a:cubicBezTo>
                <a:cubicBezTo>
                  <a:pt x="783204" y="2935449"/>
                  <a:pt x="850194" y="2619518"/>
                  <a:pt x="913294" y="2313525"/>
                </a:cubicBezTo>
                <a:cubicBezTo>
                  <a:pt x="933608" y="2228815"/>
                  <a:pt x="953489" y="2140216"/>
                  <a:pt x="970344" y="2053345"/>
                </a:cubicBezTo>
                <a:cubicBezTo>
                  <a:pt x="1100866" y="1394253"/>
                  <a:pt x="1141060" y="754176"/>
                  <a:pt x="1090925" y="149107"/>
                </a:cubicBezTo>
                <a:cubicBezTo>
                  <a:pt x="1087468" y="97676"/>
                  <a:pt x="1080552" y="47974"/>
                  <a:pt x="1074069" y="433"/>
                </a:cubicBezTo>
                <a:close/>
                <a:moveTo>
                  <a:pt x="780179" y="433"/>
                </a:moveTo>
                <a:lnTo>
                  <a:pt x="793577" y="433"/>
                </a:lnTo>
                <a:cubicBezTo>
                  <a:pt x="806974" y="74770"/>
                  <a:pt x="813457" y="146946"/>
                  <a:pt x="816915" y="213072"/>
                </a:cubicBezTo>
                <a:cubicBezTo>
                  <a:pt x="867049" y="818140"/>
                  <a:pt x="826856" y="1462539"/>
                  <a:pt x="703249" y="2131572"/>
                </a:cubicBezTo>
                <a:cubicBezTo>
                  <a:pt x="686393" y="2214553"/>
                  <a:pt x="669970" y="2297102"/>
                  <a:pt x="653115" y="2377489"/>
                </a:cubicBezTo>
                <a:cubicBezTo>
                  <a:pt x="589583" y="2691261"/>
                  <a:pt x="526050" y="3013676"/>
                  <a:pt x="522593" y="3335659"/>
                </a:cubicBezTo>
                <a:cubicBezTo>
                  <a:pt x="522593" y="3670175"/>
                  <a:pt x="592609" y="4033650"/>
                  <a:pt x="739985" y="4444664"/>
                </a:cubicBezTo>
                <a:cubicBezTo>
                  <a:pt x="977691" y="5118019"/>
                  <a:pt x="1305292" y="5630167"/>
                  <a:pt x="1767306" y="6057605"/>
                </a:cubicBezTo>
                <a:cubicBezTo>
                  <a:pt x="1880974" y="6165220"/>
                  <a:pt x="2008470" y="6268515"/>
                  <a:pt x="2145475" y="6367487"/>
                </a:cubicBezTo>
                <a:cubicBezTo>
                  <a:pt x="2395282" y="6546846"/>
                  <a:pt x="2675774" y="6709783"/>
                  <a:pt x="2960590" y="6857160"/>
                </a:cubicBezTo>
                <a:lnTo>
                  <a:pt x="2936818" y="6857160"/>
                </a:lnTo>
                <a:cubicBezTo>
                  <a:pt x="2655894" y="6711079"/>
                  <a:pt x="2379290" y="6550304"/>
                  <a:pt x="2135535" y="6373105"/>
                </a:cubicBezTo>
                <a:cubicBezTo>
                  <a:pt x="1998098" y="6273700"/>
                  <a:pt x="1871033" y="6168678"/>
                  <a:pt x="1753909" y="6063223"/>
                </a:cubicBezTo>
                <a:cubicBezTo>
                  <a:pt x="1292327" y="5634057"/>
                  <a:pt x="964293" y="5119748"/>
                  <a:pt x="726587" y="4446393"/>
                </a:cubicBezTo>
                <a:cubicBezTo>
                  <a:pt x="579642" y="4033218"/>
                  <a:pt x="509195" y="3669743"/>
                  <a:pt x="509195" y="3335227"/>
                </a:cubicBezTo>
                <a:cubicBezTo>
                  <a:pt x="512652" y="3013243"/>
                  <a:pt x="576185" y="2689099"/>
                  <a:pt x="639717" y="2377057"/>
                </a:cubicBezTo>
                <a:cubicBezTo>
                  <a:pt x="656141" y="2296670"/>
                  <a:pt x="672995" y="2211960"/>
                  <a:pt x="686393" y="2129411"/>
                </a:cubicBezTo>
                <a:cubicBezTo>
                  <a:pt x="813457" y="1462539"/>
                  <a:pt x="853652" y="818140"/>
                  <a:pt x="803517" y="215232"/>
                </a:cubicBezTo>
                <a:cubicBezTo>
                  <a:pt x="797035" y="146946"/>
                  <a:pt x="790119" y="74770"/>
                  <a:pt x="780179" y="433"/>
                </a:cubicBezTo>
                <a:close/>
                <a:moveTo>
                  <a:pt x="628912" y="433"/>
                </a:moveTo>
                <a:lnTo>
                  <a:pt x="645768" y="433"/>
                </a:lnTo>
                <a:cubicBezTo>
                  <a:pt x="659165" y="85142"/>
                  <a:pt x="669106" y="169852"/>
                  <a:pt x="672563" y="246350"/>
                </a:cubicBezTo>
                <a:cubicBezTo>
                  <a:pt x="719672" y="849258"/>
                  <a:pt x="682504" y="1497546"/>
                  <a:pt x="558897" y="2170901"/>
                </a:cubicBezTo>
                <a:cubicBezTo>
                  <a:pt x="545499" y="2249128"/>
                  <a:pt x="528644" y="2329516"/>
                  <a:pt x="515245" y="2408175"/>
                </a:cubicBezTo>
                <a:cubicBezTo>
                  <a:pt x="451713" y="2726268"/>
                  <a:pt x="388180" y="3052574"/>
                  <a:pt x="391639" y="3378879"/>
                </a:cubicBezTo>
                <a:cubicBezTo>
                  <a:pt x="391639" y="3715556"/>
                  <a:pt x="465112" y="4079029"/>
                  <a:pt x="612488" y="4490044"/>
                </a:cubicBezTo>
                <a:cubicBezTo>
                  <a:pt x="856678" y="5163400"/>
                  <a:pt x="1188168" y="5675547"/>
                  <a:pt x="1653207" y="6102985"/>
                </a:cubicBezTo>
                <a:cubicBezTo>
                  <a:pt x="1770332" y="6210601"/>
                  <a:pt x="1897829" y="6313895"/>
                  <a:pt x="2034834" y="6412867"/>
                </a:cubicBezTo>
                <a:cubicBezTo>
                  <a:pt x="2262167" y="6574938"/>
                  <a:pt x="2510676" y="6721884"/>
                  <a:pt x="2768696" y="6857592"/>
                </a:cubicBezTo>
                <a:lnTo>
                  <a:pt x="2748382" y="6857592"/>
                </a:lnTo>
                <a:cubicBezTo>
                  <a:pt x="2493821" y="6724045"/>
                  <a:pt x="2248768" y="6578828"/>
                  <a:pt x="2024893" y="6419349"/>
                </a:cubicBezTo>
                <a:cubicBezTo>
                  <a:pt x="1887456" y="6319945"/>
                  <a:pt x="1756935" y="6214923"/>
                  <a:pt x="1643267" y="6109468"/>
                </a:cubicBezTo>
                <a:cubicBezTo>
                  <a:pt x="1174770" y="5679869"/>
                  <a:pt x="843711" y="5165560"/>
                  <a:pt x="599091" y="4492205"/>
                </a:cubicBezTo>
                <a:cubicBezTo>
                  <a:pt x="451713" y="4079461"/>
                  <a:pt x="378240" y="3715988"/>
                  <a:pt x="374782" y="3379311"/>
                </a:cubicBezTo>
                <a:cubicBezTo>
                  <a:pt x="374782" y="3053006"/>
                  <a:pt x="438315" y="2724540"/>
                  <a:pt x="501847" y="2408607"/>
                </a:cubicBezTo>
                <a:cubicBezTo>
                  <a:pt x="515245" y="2330380"/>
                  <a:pt x="532101" y="2249561"/>
                  <a:pt x="545499" y="2169173"/>
                </a:cubicBezTo>
                <a:cubicBezTo>
                  <a:pt x="669106" y="1497978"/>
                  <a:pt x="705841" y="849258"/>
                  <a:pt x="659165" y="246350"/>
                </a:cubicBezTo>
                <a:cubicBezTo>
                  <a:pt x="652251" y="169852"/>
                  <a:pt x="645768" y="85142"/>
                  <a:pt x="628912" y="433"/>
                </a:cubicBezTo>
                <a:close/>
                <a:moveTo>
                  <a:pt x="4150413" y="0"/>
                </a:moveTo>
                <a:lnTo>
                  <a:pt x="4163811" y="0"/>
                </a:lnTo>
                <a:cubicBezTo>
                  <a:pt x="4160354" y="414905"/>
                  <a:pt x="4089906" y="830242"/>
                  <a:pt x="3952901" y="1239096"/>
                </a:cubicBezTo>
                <a:cubicBezTo>
                  <a:pt x="3912708" y="1359244"/>
                  <a:pt x="3866031" y="1480691"/>
                  <a:pt x="3822380" y="1596518"/>
                </a:cubicBezTo>
                <a:cubicBezTo>
                  <a:pt x="3728595" y="1842004"/>
                  <a:pt x="3631783" y="2093971"/>
                  <a:pt x="3588131" y="2348100"/>
                </a:cubicBezTo>
                <a:cubicBezTo>
                  <a:pt x="3534540" y="2651932"/>
                  <a:pt x="3551395" y="2980397"/>
                  <a:pt x="3638265" y="3413886"/>
                </a:cubicBezTo>
                <a:cubicBezTo>
                  <a:pt x="3771814" y="4095452"/>
                  <a:pt x="3992663" y="4589016"/>
                  <a:pt x="4350951" y="5010403"/>
                </a:cubicBezTo>
                <a:cubicBezTo>
                  <a:pt x="4441278" y="5117587"/>
                  <a:pt x="4545005" y="5225203"/>
                  <a:pt x="4658670" y="5326336"/>
                </a:cubicBezTo>
                <a:cubicBezTo>
                  <a:pt x="5016958" y="5644429"/>
                  <a:pt x="5495395" y="5943938"/>
                  <a:pt x="6081015" y="6214491"/>
                </a:cubicBezTo>
                <a:cubicBezTo>
                  <a:pt x="6224935" y="6280616"/>
                  <a:pt x="6372312" y="6344581"/>
                  <a:pt x="6522715" y="6404654"/>
                </a:cubicBezTo>
                <a:cubicBezTo>
                  <a:pt x="6931137" y="6568024"/>
                  <a:pt x="7369379" y="6708486"/>
                  <a:pt x="7824477" y="6826042"/>
                </a:cubicBezTo>
                <a:cubicBezTo>
                  <a:pt x="7865969" y="6836847"/>
                  <a:pt x="7908323" y="6847220"/>
                  <a:pt x="7951543" y="6857160"/>
                </a:cubicBezTo>
                <a:lnTo>
                  <a:pt x="7910051" y="6857160"/>
                </a:lnTo>
                <a:cubicBezTo>
                  <a:pt x="7878934" y="6849381"/>
                  <a:pt x="7848248" y="6841601"/>
                  <a:pt x="7817994" y="6833822"/>
                </a:cubicBezTo>
                <a:cubicBezTo>
                  <a:pt x="7362897" y="6715833"/>
                  <a:pt x="6924654" y="6573210"/>
                  <a:pt x="6516232" y="6410273"/>
                </a:cubicBezTo>
                <a:cubicBezTo>
                  <a:pt x="6365397" y="6350198"/>
                  <a:pt x="6218452" y="6288395"/>
                  <a:pt x="6071074" y="6220110"/>
                </a:cubicBezTo>
                <a:cubicBezTo>
                  <a:pt x="5485455" y="5949557"/>
                  <a:pt x="5007019" y="5650480"/>
                  <a:pt x="4648731" y="5330225"/>
                </a:cubicBezTo>
                <a:cubicBezTo>
                  <a:pt x="4535064" y="5229092"/>
                  <a:pt x="4427881" y="5121477"/>
                  <a:pt x="4337553" y="5014293"/>
                </a:cubicBezTo>
                <a:cubicBezTo>
                  <a:pt x="3979698" y="4591177"/>
                  <a:pt x="3758416" y="4097614"/>
                  <a:pt x="3621411" y="3413886"/>
                </a:cubicBezTo>
                <a:cubicBezTo>
                  <a:pt x="3534540" y="2979965"/>
                  <a:pt x="3521142" y="2651500"/>
                  <a:pt x="3574733" y="2348100"/>
                </a:cubicBezTo>
                <a:cubicBezTo>
                  <a:pt x="3618386" y="2092242"/>
                  <a:pt x="3715197" y="1840274"/>
                  <a:pt x="3808982" y="1594358"/>
                </a:cubicBezTo>
                <a:cubicBezTo>
                  <a:pt x="3852633" y="1478530"/>
                  <a:pt x="3899309" y="1356652"/>
                  <a:pt x="3939503" y="1239096"/>
                </a:cubicBezTo>
                <a:cubicBezTo>
                  <a:pt x="4076940" y="830242"/>
                  <a:pt x="4146956" y="414905"/>
                  <a:pt x="4150413" y="0"/>
                </a:cubicBezTo>
                <a:close/>
              </a:path>
            </a:pathLst>
          </a:custGeom>
          <a:solidFill>
            <a:schemeClr val="bg1">
              <a:lumMod val="85000"/>
              <a:alpha val="3035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24FEA05A-4BEE-924B-B56C-B716191BDA1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015" y="923889"/>
            <a:ext cx="2541915" cy="107371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65F7EBB-091F-AA44-B62F-D26DB40C1BF2}"/>
              </a:ext>
            </a:extLst>
          </p:cNvPr>
          <p:cNvCxnSpPr>
            <a:cxnSpLocks/>
          </p:cNvCxnSpPr>
          <p:nvPr userDrawn="1"/>
        </p:nvCxnSpPr>
        <p:spPr>
          <a:xfrm>
            <a:off x="410501" y="5064093"/>
            <a:ext cx="5767451" cy="0"/>
          </a:xfrm>
          <a:prstGeom prst="line">
            <a:avLst/>
          </a:prstGeom>
          <a:ln>
            <a:gradFill flip="none" rotWithShape="1">
              <a:gsLst>
                <a:gs pos="1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D03E0CF7-E95F-5345-8496-9FD03146F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4044" y="2872222"/>
            <a:ext cx="5767451" cy="197248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400" b="1" cap="none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over Slide 2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4B3AC23-0499-3246-8976-3C6EC59C3B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4044" y="5283483"/>
            <a:ext cx="576745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cap="all" spc="300" baseline="0">
                <a:solidFill>
                  <a:schemeClr val="tx2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45511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-1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3"/>
              </a:gs>
              <a:gs pos="0">
                <a:schemeClr val="tx2">
                  <a:lumMod val="50000"/>
                </a:schemeClr>
              </a:gs>
              <a:gs pos="54000">
                <a:schemeClr val="tx2">
                  <a:alpha val="90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95957D18-C83C-E72E-80C2-37218B74E4C6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0496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701"/>
            <a:ext cx="11585448" cy="792843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AC4A47FE-B210-8775-7B14-95103AF702AC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175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DF39395D-5788-42F2-A649-7A66CAA99D0D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0545" y="1473200"/>
            <a:ext cx="11868912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FF3EF0C9-7054-4616-8F06-3EFAC24F1EDC}"/>
              </a:ext>
            </a:extLst>
          </p:cNvPr>
          <p:cNvSpPr/>
          <p:nvPr/>
        </p:nvSpPr>
        <p:spPr>
          <a:xfrm>
            <a:off x="3942557" y="-2381"/>
            <a:ext cx="8242300" cy="6858000"/>
          </a:xfrm>
          <a:prstGeom prst="rect">
            <a:avLst/>
          </a:prstGeom>
          <a:gradFill flip="none" rotWithShape="1">
            <a:gsLst>
              <a:gs pos="64000">
                <a:schemeClr val="bg1">
                  <a:alpha val="92000"/>
                </a:schemeClr>
              </a:gs>
              <a:gs pos="81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5257148" y="2705100"/>
            <a:ext cx="6630052" cy="203804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4400"/>
              </a:lnSpc>
              <a:defRPr sz="5400" b="1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Divid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7148" y="5300380"/>
            <a:ext cx="6630052" cy="2904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spc="300">
                <a:solidFill>
                  <a:schemeClr val="tx2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C97480E-BED0-4B56-8A0A-2AFE498C51D2}"/>
              </a:ext>
            </a:extLst>
          </p:cNvPr>
          <p:cNvSpPr/>
          <p:nvPr/>
        </p:nvSpPr>
        <p:spPr>
          <a:xfrm flipV="1">
            <a:off x="4233489" y="0"/>
            <a:ext cx="1162537" cy="6858000"/>
          </a:xfrm>
          <a:custGeom>
            <a:avLst/>
            <a:gdLst>
              <a:gd name="connsiteX0" fmla="*/ 1117940 w 1117940"/>
              <a:gd name="connsiteY0" fmla="*/ 0 h 6858000"/>
              <a:gd name="connsiteX1" fmla="*/ 889340 w 1117940"/>
              <a:gd name="connsiteY1" fmla="*/ 1168400 h 6858000"/>
              <a:gd name="connsiteX2" fmla="*/ 178140 w 1117940"/>
              <a:gd name="connsiteY2" fmla="*/ 3048000 h 6858000"/>
              <a:gd name="connsiteX3" fmla="*/ 340 w 1117940"/>
              <a:gd name="connsiteY3" fmla="*/ 4343400 h 6858000"/>
              <a:gd name="connsiteX4" fmla="*/ 203540 w 1117940"/>
              <a:gd name="connsiteY4" fmla="*/ 5613400 h 6858000"/>
              <a:gd name="connsiteX5" fmla="*/ 1003640 w 111794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7940" h="6858000">
                <a:moveTo>
                  <a:pt x="1117940" y="0"/>
                </a:moveTo>
                <a:cubicBezTo>
                  <a:pt x="1081956" y="330200"/>
                  <a:pt x="1045973" y="660400"/>
                  <a:pt x="889340" y="1168400"/>
                </a:cubicBezTo>
                <a:cubicBezTo>
                  <a:pt x="732707" y="1676400"/>
                  <a:pt x="326307" y="2518833"/>
                  <a:pt x="178140" y="3048000"/>
                </a:cubicBezTo>
                <a:cubicBezTo>
                  <a:pt x="29973" y="3577167"/>
                  <a:pt x="-3893" y="3915833"/>
                  <a:pt x="340" y="4343400"/>
                </a:cubicBezTo>
                <a:cubicBezTo>
                  <a:pt x="4573" y="4770967"/>
                  <a:pt x="36323" y="5194300"/>
                  <a:pt x="203540" y="5613400"/>
                </a:cubicBezTo>
                <a:cubicBezTo>
                  <a:pt x="370757" y="6032500"/>
                  <a:pt x="687198" y="6445250"/>
                  <a:pt x="1003640" y="6858000"/>
                </a:cubicBezTo>
              </a:path>
            </a:pathLst>
          </a:custGeom>
          <a:noFill/>
          <a:ln w="15875">
            <a:solidFill>
              <a:schemeClr val="bg1">
                <a:alpha val="8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64F9551-FB27-492E-8EA7-EC4DB915F4AA}"/>
              </a:ext>
            </a:extLst>
          </p:cNvPr>
          <p:cNvCxnSpPr>
            <a:cxnSpLocks/>
          </p:cNvCxnSpPr>
          <p:nvPr/>
        </p:nvCxnSpPr>
        <p:spPr>
          <a:xfrm>
            <a:off x="5257148" y="5038693"/>
            <a:ext cx="5435706" cy="0"/>
          </a:xfrm>
          <a:prstGeom prst="line">
            <a:avLst/>
          </a:prstGeom>
          <a:ln>
            <a:gradFill flip="none" rotWithShape="1">
              <a:gsLst>
                <a:gs pos="1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9775A2-078D-4EBE-B50A-32A40BEFD388}"/>
              </a:ext>
            </a:extLst>
          </p:cNvPr>
          <p:cNvSpPr/>
          <p:nvPr/>
        </p:nvSpPr>
        <p:spPr>
          <a:xfrm>
            <a:off x="218539" y="-2869"/>
            <a:ext cx="5877461" cy="6860868"/>
          </a:xfrm>
          <a:custGeom>
            <a:avLst/>
            <a:gdLst>
              <a:gd name="connsiteX0" fmla="*/ 0 w 6710000"/>
              <a:gd name="connsiteY0" fmla="*/ 6767133 h 6858000"/>
              <a:gd name="connsiteX1" fmla="*/ 61409 w 6710000"/>
              <a:gd name="connsiteY1" fmla="*/ 6858000 h 6858000"/>
              <a:gd name="connsiteX2" fmla="*/ 42656 w 6710000"/>
              <a:gd name="connsiteY2" fmla="*/ 6858000 h 6858000"/>
              <a:gd name="connsiteX3" fmla="*/ 0 w 6710000"/>
              <a:gd name="connsiteY3" fmla="*/ 6794901 h 6858000"/>
              <a:gd name="connsiteX4" fmla="*/ 0 w 6710000"/>
              <a:gd name="connsiteY4" fmla="*/ 6468280 h 6858000"/>
              <a:gd name="connsiteX5" fmla="*/ 72167 w 6710000"/>
              <a:gd name="connsiteY5" fmla="*/ 6593013 h 6858000"/>
              <a:gd name="connsiteX6" fmla="*/ 233941 w 6710000"/>
              <a:gd name="connsiteY6" fmla="*/ 6835826 h 6858000"/>
              <a:gd name="connsiteX7" fmla="*/ 250890 w 6710000"/>
              <a:gd name="connsiteY7" fmla="*/ 6858000 h 6858000"/>
              <a:gd name="connsiteX8" fmla="*/ 230297 w 6710000"/>
              <a:gd name="connsiteY8" fmla="*/ 6858000 h 6858000"/>
              <a:gd name="connsiteX9" fmla="*/ 217393 w 6710000"/>
              <a:gd name="connsiteY9" fmla="*/ 6841108 h 6858000"/>
              <a:gd name="connsiteX10" fmla="*/ 55623 w 6710000"/>
              <a:gd name="connsiteY10" fmla="*/ 6598099 h 6858000"/>
              <a:gd name="connsiteX11" fmla="*/ 0 w 6710000"/>
              <a:gd name="connsiteY11" fmla="*/ 6501837 h 6858000"/>
              <a:gd name="connsiteX12" fmla="*/ 0 w 6710000"/>
              <a:gd name="connsiteY12" fmla="*/ 6127856 h 6858000"/>
              <a:gd name="connsiteX13" fmla="*/ 74782 w 6710000"/>
              <a:gd name="connsiteY13" fmla="*/ 6280093 h 6858000"/>
              <a:gd name="connsiteX14" fmla="*/ 259740 w 6710000"/>
              <a:gd name="connsiteY14" fmla="*/ 6599011 h 6858000"/>
              <a:gd name="connsiteX15" fmla="*/ 439100 w 6710000"/>
              <a:gd name="connsiteY15" fmla="*/ 6858000 h 6858000"/>
              <a:gd name="connsiteX16" fmla="*/ 420644 w 6710000"/>
              <a:gd name="connsiteY16" fmla="*/ 6858000 h 6858000"/>
              <a:gd name="connsiteX17" fmla="*/ 243317 w 6710000"/>
              <a:gd name="connsiteY17" fmla="*/ 6602664 h 6858000"/>
              <a:gd name="connsiteX18" fmla="*/ 57373 w 6710000"/>
              <a:gd name="connsiteY18" fmla="*/ 6283122 h 6858000"/>
              <a:gd name="connsiteX19" fmla="*/ 0 w 6710000"/>
              <a:gd name="connsiteY19" fmla="*/ 6166955 h 6858000"/>
              <a:gd name="connsiteX20" fmla="*/ 0 w 6710000"/>
              <a:gd name="connsiteY20" fmla="*/ 5727262 h 6858000"/>
              <a:gd name="connsiteX21" fmla="*/ 93060 w 6710000"/>
              <a:gd name="connsiteY21" fmla="*/ 5950881 h 6858000"/>
              <a:gd name="connsiteX22" fmla="*/ 528035 w 6710000"/>
              <a:gd name="connsiteY22" fmla="*/ 6723817 h 6858000"/>
              <a:gd name="connsiteX23" fmla="*/ 626660 w 6710000"/>
              <a:gd name="connsiteY23" fmla="*/ 6858000 h 6858000"/>
              <a:gd name="connsiteX24" fmla="*/ 607172 w 6710000"/>
              <a:gd name="connsiteY24" fmla="*/ 6858000 h 6858000"/>
              <a:gd name="connsiteX25" fmla="*/ 511220 w 6710000"/>
              <a:gd name="connsiteY25" fmla="*/ 6727192 h 6858000"/>
              <a:gd name="connsiteX26" fmla="*/ 76244 w 6710000"/>
              <a:gd name="connsiteY26" fmla="*/ 5953636 h 6858000"/>
              <a:gd name="connsiteX27" fmla="*/ 0 w 6710000"/>
              <a:gd name="connsiteY27" fmla="*/ 5770403 h 6858000"/>
              <a:gd name="connsiteX28" fmla="*/ 0 w 6710000"/>
              <a:gd name="connsiteY28" fmla="*/ 5218362 h 6858000"/>
              <a:gd name="connsiteX29" fmla="*/ 23141 w 6710000"/>
              <a:gd name="connsiteY29" fmla="*/ 5299255 h 6858000"/>
              <a:gd name="connsiteX30" fmla="*/ 677327 w 6710000"/>
              <a:gd name="connsiteY30" fmla="*/ 6667002 h 6858000"/>
              <a:gd name="connsiteX31" fmla="*/ 818345 w 6710000"/>
              <a:gd name="connsiteY31" fmla="*/ 6858000 h 6858000"/>
              <a:gd name="connsiteX32" fmla="*/ 797399 w 6710000"/>
              <a:gd name="connsiteY32" fmla="*/ 6858000 h 6858000"/>
              <a:gd name="connsiteX33" fmla="*/ 659968 w 6710000"/>
              <a:gd name="connsiteY33" fmla="*/ 6671426 h 6858000"/>
              <a:gd name="connsiteX34" fmla="*/ 5783 w 6710000"/>
              <a:gd name="connsiteY34" fmla="*/ 5299255 h 6858000"/>
              <a:gd name="connsiteX35" fmla="*/ 0 w 6710000"/>
              <a:gd name="connsiteY35" fmla="*/ 5279204 h 6858000"/>
              <a:gd name="connsiteX36" fmla="*/ 0 w 6710000"/>
              <a:gd name="connsiteY36" fmla="*/ 4465450 h 6858000"/>
              <a:gd name="connsiteX37" fmla="*/ 5037 w 6710000"/>
              <a:gd name="connsiteY37" fmla="*/ 4510117 h 6858000"/>
              <a:gd name="connsiteX38" fmla="*/ 182081 w 6710000"/>
              <a:gd name="connsiteY38" fmla="*/ 5242297 h 6858000"/>
              <a:gd name="connsiteX39" fmla="*/ 990300 w 6710000"/>
              <a:gd name="connsiteY39" fmla="*/ 6839127 h 6858000"/>
              <a:gd name="connsiteX40" fmla="*/ 1006050 w 6710000"/>
              <a:gd name="connsiteY40" fmla="*/ 6858000 h 6858000"/>
              <a:gd name="connsiteX41" fmla="*/ 984214 w 6710000"/>
              <a:gd name="connsiteY41" fmla="*/ 6858000 h 6858000"/>
              <a:gd name="connsiteX42" fmla="*/ 972958 w 6710000"/>
              <a:gd name="connsiteY42" fmla="*/ 6844510 h 6858000"/>
              <a:gd name="connsiteX43" fmla="*/ 160926 w 6710000"/>
              <a:gd name="connsiteY43" fmla="*/ 5245010 h 6858000"/>
              <a:gd name="connsiteX44" fmla="*/ 55970 w 6710000"/>
              <a:gd name="connsiteY44" fmla="*/ 4866800 h 6858000"/>
              <a:gd name="connsiteX45" fmla="*/ 0 w 6710000"/>
              <a:gd name="connsiteY45" fmla="*/ 4583010 h 6858000"/>
              <a:gd name="connsiteX46" fmla="*/ 5126028 w 6710000"/>
              <a:gd name="connsiteY46" fmla="*/ 2170 h 6858000"/>
              <a:gd name="connsiteX47" fmla="*/ 5142843 w 6710000"/>
              <a:gd name="connsiteY47" fmla="*/ 2170 h 6858000"/>
              <a:gd name="connsiteX48" fmla="*/ 4865649 w 6710000"/>
              <a:gd name="connsiteY48" fmla="*/ 1121800 h 6858000"/>
              <a:gd name="connsiteX49" fmla="*/ 4655718 w 6710000"/>
              <a:gd name="connsiteY49" fmla="*/ 1593737 h 6858000"/>
              <a:gd name="connsiteX50" fmla="*/ 4311259 w 6710000"/>
              <a:gd name="connsiteY50" fmla="*/ 2464379 h 6858000"/>
              <a:gd name="connsiteX51" fmla="*/ 4290102 w 6710000"/>
              <a:gd name="connsiteY51" fmla="*/ 3778751 h 6858000"/>
              <a:gd name="connsiteX52" fmla="*/ 5033811 w 6710000"/>
              <a:gd name="connsiteY52" fmla="*/ 5774448 h 6858000"/>
              <a:gd name="connsiteX53" fmla="*/ 5386407 w 6710000"/>
              <a:gd name="connsiteY53" fmla="*/ 6176406 h 6858000"/>
              <a:gd name="connsiteX54" fmla="*/ 6134792 w 6710000"/>
              <a:gd name="connsiteY54" fmla="*/ 6775957 h 6858000"/>
              <a:gd name="connsiteX55" fmla="*/ 6263750 w 6710000"/>
              <a:gd name="connsiteY55" fmla="*/ 6858000 h 6858000"/>
              <a:gd name="connsiteX56" fmla="*/ 6240757 w 6710000"/>
              <a:gd name="connsiteY56" fmla="*/ 6858000 h 6858000"/>
              <a:gd name="connsiteX57" fmla="*/ 6121638 w 6710000"/>
              <a:gd name="connsiteY57" fmla="*/ 6782466 h 6858000"/>
              <a:gd name="connsiteX58" fmla="*/ 5373930 w 6710000"/>
              <a:gd name="connsiteY58" fmla="*/ 6180746 h 6858000"/>
              <a:gd name="connsiteX59" fmla="*/ 5016994 w 6710000"/>
              <a:gd name="connsiteY59" fmla="*/ 5778787 h 6858000"/>
              <a:gd name="connsiteX60" fmla="*/ 4273287 w 6710000"/>
              <a:gd name="connsiteY60" fmla="*/ 3777665 h 6858000"/>
              <a:gd name="connsiteX61" fmla="*/ 4294441 w 6710000"/>
              <a:gd name="connsiteY61" fmla="*/ 2463294 h 6858000"/>
              <a:gd name="connsiteX62" fmla="*/ 4634562 w 6710000"/>
              <a:gd name="connsiteY62" fmla="*/ 1589939 h 6858000"/>
              <a:gd name="connsiteX63" fmla="*/ 4844493 w 6710000"/>
              <a:gd name="connsiteY63" fmla="*/ 1118004 h 6858000"/>
              <a:gd name="connsiteX64" fmla="*/ 5126028 w 6710000"/>
              <a:gd name="connsiteY64" fmla="*/ 2170 h 6858000"/>
              <a:gd name="connsiteX65" fmla="*/ 5302868 w 6710000"/>
              <a:gd name="connsiteY65" fmla="*/ 1628 h 6858000"/>
              <a:gd name="connsiteX66" fmla="*/ 5319685 w 6710000"/>
              <a:gd name="connsiteY66" fmla="*/ 1628 h 6858000"/>
              <a:gd name="connsiteX67" fmla="*/ 5042488 w 6710000"/>
              <a:gd name="connsiteY67" fmla="*/ 1071894 h 6858000"/>
              <a:gd name="connsiteX68" fmla="*/ 4828219 w 6710000"/>
              <a:gd name="connsiteY68" fmla="*/ 1546001 h 6858000"/>
              <a:gd name="connsiteX69" fmla="*/ 4479419 w 6710000"/>
              <a:gd name="connsiteY69" fmla="*/ 2411762 h 6858000"/>
              <a:gd name="connsiteX70" fmla="*/ 4450126 w 6710000"/>
              <a:gd name="connsiteY70" fmla="*/ 3720708 h 6858000"/>
              <a:gd name="connsiteX71" fmla="*/ 5172679 w 6710000"/>
              <a:gd name="connsiteY71" fmla="*/ 5716404 h 6858000"/>
              <a:gd name="connsiteX72" fmla="*/ 5525274 w 6710000"/>
              <a:gd name="connsiteY72" fmla="*/ 6118364 h 6858000"/>
              <a:gd name="connsiteX73" fmla="*/ 6269795 w 6710000"/>
              <a:gd name="connsiteY73" fmla="*/ 6720287 h 6858000"/>
              <a:gd name="connsiteX74" fmla="*/ 6485166 w 6710000"/>
              <a:gd name="connsiteY74" fmla="*/ 6858000 h 6858000"/>
              <a:gd name="connsiteX75" fmla="*/ 6459959 w 6710000"/>
              <a:gd name="connsiteY75" fmla="*/ 6858000 h 6858000"/>
              <a:gd name="connsiteX76" fmla="*/ 6254606 w 6710000"/>
              <a:gd name="connsiteY76" fmla="*/ 6726797 h 6858000"/>
              <a:gd name="connsiteX77" fmla="*/ 5507917 w 6710000"/>
              <a:gd name="connsiteY77" fmla="*/ 6123789 h 6858000"/>
              <a:gd name="connsiteX78" fmla="*/ 5155319 w 6710000"/>
              <a:gd name="connsiteY78" fmla="*/ 5721828 h 6858000"/>
              <a:gd name="connsiteX79" fmla="*/ 4432767 w 6710000"/>
              <a:gd name="connsiteY79" fmla="*/ 3723420 h 6858000"/>
              <a:gd name="connsiteX80" fmla="*/ 4462062 w 6710000"/>
              <a:gd name="connsiteY80" fmla="*/ 2409049 h 6858000"/>
              <a:gd name="connsiteX81" fmla="*/ 4806521 w 6710000"/>
              <a:gd name="connsiteY81" fmla="*/ 1543289 h 6858000"/>
              <a:gd name="connsiteX82" fmla="*/ 5025132 w 6710000"/>
              <a:gd name="connsiteY82" fmla="*/ 1069182 h 6858000"/>
              <a:gd name="connsiteX83" fmla="*/ 5302868 w 6710000"/>
              <a:gd name="connsiteY83" fmla="*/ 1628 h 6858000"/>
              <a:gd name="connsiteX84" fmla="*/ 4949188 w 6710000"/>
              <a:gd name="connsiteY84" fmla="*/ 1628 h 6858000"/>
              <a:gd name="connsiteX85" fmla="*/ 4966003 w 6710000"/>
              <a:gd name="connsiteY85" fmla="*/ 1628 h 6858000"/>
              <a:gd name="connsiteX86" fmla="*/ 4684468 w 6710000"/>
              <a:gd name="connsiteY86" fmla="*/ 1167910 h 6858000"/>
              <a:gd name="connsiteX87" fmla="*/ 4478877 w 6710000"/>
              <a:gd name="connsiteY87" fmla="*/ 1639846 h 6858000"/>
              <a:gd name="connsiteX88" fmla="*/ 4143096 w 6710000"/>
              <a:gd name="connsiteY88" fmla="*/ 2518625 h 6858000"/>
              <a:gd name="connsiteX89" fmla="*/ 4134959 w 6710000"/>
              <a:gd name="connsiteY89" fmla="*/ 3835167 h 6858000"/>
              <a:gd name="connsiteX90" fmla="*/ 4891144 w 6710000"/>
              <a:gd name="connsiteY90" fmla="*/ 5830862 h 6858000"/>
              <a:gd name="connsiteX91" fmla="*/ 5252419 w 6710000"/>
              <a:gd name="connsiteY91" fmla="*/ 6232823 h 6858000"/>
              <a:gd name="connsiteX92" fmla="*/ 6002296 w 6710000"/>
              <a:gd name="connsiteY92" fmla="*/ 6830338 h 6858000"/>
              <a:gd name="connsiteX93" fmla="*/ 6046090 w 6710000"/>
              <a:gd name="connsiteY93" fmla="*/ 6858000 h 6858000"/>
              <a:gd name="connsiteX94" fmla="*/ 6022791 w 6710000"/>
              <a:gd name="connsiteY94" fmla="*/ 6858000 h 6858000"/>
              <a:gd name="connsiteX95" fmla="*/ 5990091 w 6710000"/>
              <a:gd name="connsiteY95" fmla="*/ 6837390 h 6858000"/>
              <a:gd name="connsiteX96" fmla="*/ 5236146 w 6710000"/>
              <a:gd name="connsiteY96" fmla="*/ 6237705 h 6858000"/>
              <a:gd name="connsiteX97" fmla="*/ 4874871 w 6710000"/>
              <a:gd name="connsiteY97" fmla="*/ 5835744 h 6858000"/>
              <a:gd name="connsiteX98" fmla="*/ 4114346 w 6710000"/>
              <a:gd name="connsiteY98" fmla="*/ 3834624 h 6858000"/>
              <a:gd name="connsiteX99" fmla="*/ 4126822 w 6710000"/>
              <a:gd name="connsiteY99" fmla="*/ 2515371 h 6858000"/>
              <a:gd name="connsiteX100" fmla="*/ 4462604 w 6710000"/>
              <a:gd name="connsiteY100" fmla="*/ 1636591 h 6858000"/>
              <a:gd name="connsiteX101" fmla="*/ 4668195 w 6710000"/>
              <a:gd name="connsiteY101" fmla="*/ 1164654 h 6858000"/>
              <a:gd name="connsiteX102" fmla="*/ 4949188 w 6710000"/>
              <a:gd name="connsiteY102" fmla="*/ 1628 h 6858000"/>
              <a:gd name="connsiteX103" fmla="*/ 4768549 w 6710000"/>
              <a:gd name="connsiteY103" fmla="*/ 1628 h 6858000"/>
              <a:gd name="connsiteX104" fmla="*/ 4785365 w 6710000"/>
              <a:gd name="connsiteY104" fmla="*/ 1628 h 6858000"/>
              <a:gd name="connsiteX105" fmla="*/ 4508170 w 6710000"/>
              <a:gd name="connsiteY105" fmla="*/ 1217273 h 6858000"/>
              <a:gd name="connsiteX106" fmla="*/ 4306375 w 6710000"/>
              <a:gd name="connsiteY106" fmla="*/ 1686497 h 6858000"/>
              <a:gd name="connsiteX107" fmla="*/ 3974392 w 6710000"/>
              <a:gd name="connsiteY107" fmla="*/ 2572871 h 6858000"/>
              <a:gd name="connsiteX108" fmla="*/ 3974392 w 6710000"/>
              <a:gd name="connsiteY108" fmla="*/ 3889412 h 6858000"/>
              <a:gd name="connsiteX109" fmla="*/ 4751189 w 6710000"/>
              <a:gd name="connsiteY109" fmla="*/ 5887821 h 6858000"/>
              <a:gd name="connsiteX110" fmla="*/ 5112467 w 6710000"/>
              <a:gd name="connsiteY110" fmla="*/ 6289780 h 6858000"/>
              <a:gd name="connsiteX111" fmla="*/ 5659720 w 6710000"/>
              <a:gd name="connsiteY111" fmla="*/ 6742109 h 6858000"/>
              <a:gd name="connsiteX112" fmla="*/ 5829044 w 6710000"/>
              <a:gd name="connsiteY112" fmla="*/ 6858000 h 6858000"/>
              <a:gd name="connsiteX113" fmla="*/ 5805955 w 6710000"/>
              <a:gd name="connsiteY113" fmla="*/ 6858000 h 6858000"/>
              <a:gd name="connsiteX114" fmla="*/ 5646726 w 6710000"/>
              <a:gd name="connsiteY114" fmla="*/ 6749042 h 6858000"/>
              <a:gd name="connsiteX115" fmla="*/ 5096192 w 6710000"/>
              <a:gd name="connsiteY115" fmla="*/ 6294663 h 6858000"/>
              <a:gd name="connsiteX116" fmla="*/ 4734917 w 6710000"/>
              <a:gd name="connsiteY116" fmla="*/ 5892702 h 6858000"/>
              <a:gd name="connsiteX117" fmla="*/ 3958119 w 6710000"/>
              <a:gd name="connsiteY117" fmla="*/ 3891582 h 6858000"/>
              <a:gd name="connsiteX118" fmla="*/ 3958119 w 6710000"/>
              <a:gd name="connsiteY118" fmla="*/ 2569615 h 6858000"/>
              <a:gd name="connsiteX119" fmla="*/ 4290102 w 6710000"/>
              <a:gd name="connsiteY119" fmla="*/ 1683243 h 6858000"/>
              <a:gd name="connsiteX120" fmla="*/ 4491897 w 6710000"/>
              <a:gd name="connsiteY120" fmla="*/ 1214017 h 6858000"/>
              <a:gd name="connsiteX121" fmla="*/ 4768549 w 6710000"/>
              <a:gd name="connsiteY121" fmla="*/ 1628 h 6858000"/>
              <a:gd name="connsiteX122" fmla="*/ 4591166 w 6710000"/>
              <a:gd name="connsiteY122" fmla="*/ 1628 h 6858000"/>
              <a:gd name="connsiteX123" fmla="*/ 4607983 w 6710000"/>
              <a:gd name="connsiteY123" fmla="*/ 1628 h 6858000"/>
              <a:gd name="connsiteX124" fmla="*/ 4330786 w 6710000"/>
              <a:gd name="connsiteY124" fmla="*/ 1266636 h 6858000"/>
              <a:gd name="connsiteX125" fmla="*/ 4133333 w 6710000"/>
              <a:gd name="connsiteY125" fmla="*/ 1730437 h 6858000"/>
              <a:gd name="connsiteX126" fmla="*/ 3810028 w 6710000"/>
              <a:gd name="connsiteY126" fmla="*/ 2627116 h 6858000"/>
              <a:gd name="connsiteX127" fmla="*/ 3814368 w 6710000"/>
              <a:gd name="connsiteY127" fmla="*/ 3946370 h 6858000"/>
              <a:gd name="connsiteX128" fmla="*/ 4607983 w 6710000"/>
              <a:gd name="connsiteY128" fmla="*/ 5944777 h 6858000"/>
              <a:gd name="connsiteX129" fmla="*/ 4973597 w 6710000"/>
              <a:gd name="connsiteY129" fmla="*/ 6346738 h 6858000"/>
              <a:gd name="connsiteX130" fmla="*/ 5524416 w 6710000"/>
              <a:gd name="connsiteY130" fmla="*/ 6796302 h 6858000"/>
              <a:gd name="connsiteX131" fmla="*/ 5615411 w 6710000"/>
              <a:gd name="connsiteY131" fmla="*/ 6858000 h 6858000"/>
              <a:gd name="connsiteX132" fmla="*/ 5592917 w 6710000"/>
              <a:gd name="connsiteY132" fmla="*/ 6858000 h 6858000"/>
              <a:gd name="connsiteX133" fmla="*/ 5512626 w 6710000"/>
              <a:gd name="connsiteY133" fmla="*/ 6803376 h 6858000"/>
              <a:gd name="connsiteX134" fmla="*/ 4961663 w 6710000"/>
              <a:gd name="connsiteY134" fmla="*/ 6351619 h 6858000"/>
              <a:gd name="connsiteX135" fmla="*/ 4592250 w 6710000"/>
              <a:gd name="connsiteY135" fmla="*/ 5949660 h 6858000"/>
              <a:gd name="connsiteX136" fmla="*/ 3798637 w 6710000"/>
              <a:gd name="connsiteY136" fmla="*/ 3948538 h 6858000"/>
              <a:gd name="connsiteX137" fmla="*/ 3790500 w 6710000"/>
              <a:gd name="connsiteY137" fmla="*/ 2623862 h 6858000"/>
              <a:gd name="connsiteX138" fmla="*/ 4118143 w 6710000"/>
              <a:gd name="connsiteY138" fmla="*/ 1727181 h 6858000"/>
              <a:gd name="connsiteX139" fmla="*/ 4315597 w 6710000"/>
              <a:gd name="connsiteY139" fmla="*/ 1263380 h 6858000"/>
              <a:gd name="connsiteX140" fmla="*/ 4591166 w 6710000"/>
              <a:gd name="connsiteY140" fmla="*/ 1628 h 6858000"/>
              <a:gd name="connsiteX141" fmla="*/ 4411613 w 6710000"/>
              <a:gd name="connsiteY141" fmla="*/ 1628 h 6858000"/>
              <a:gd name="connsiteX142" fmla="*/ 4428428 w 6710000"/>
              <a:gd name="connsiteY142" fmla="*/ 1628 h 6858000"/>
              <a:gd name="connsiteX143" fmla="*/ 4155574 w 6710000"/>
              <a:gd name="connsiteY143" fmla="*/ 1316000 h 6858000"/>
              <a:gd name="connsiteX144" fmla="*/ 3962458 w 6710000"/>
              <a:gd name="connsiteY144" fmla="*/ 1777631 h 6858000"/>
              <a:gd name="connsiteX145" fmla="*/ 3643494 w 6710000"/>
              <a:gd name="connsiteY145" fmla="*/ 2679735 h 6858000"/>
              <a:gd name="connsiteX146" fmla="*/ 3660310 w 6710000"/>
              <a:gd name="connsiteY146" fmla="*/ 4004412 h 6858000"/>
              <a:gd name="connsiteX147" fmla="*/ 4466944 w 6710000"/>
              <a:gd name="connsiteY147" fmla="*/ 6002821 h 6858000"/>
              <a:gd name="connsiteX148" fmla="*/ 4840696 w 6710000"/>
              <a:gd name="connsiteY148" fmla="*/ 6404781 h 6858000"/>
              <a:gd name="connsiteX149" fmla="*/ 5392889 w 6710000"/>
              <a:gd name="connsiteY149" fmla="*/ 6852676 h 6858000"/>
              <a:gd name="connsiteX150" fmla="*/ 5400780 w 6710000"/>
              <a:gd name="connsiteY150" fmla="*/ 6858000 h 6858000"/>
              <a:gd name="connsiteX151" fmla="*/ 5377398 w 6710000"/>
              <a:gd name="connsiteY151" fmla="*/ 6858000 h 6858000"/>
              <a:gd name="connsiteX152" fmla="*/ 5181205 w 6710000"/>
              <a:gd name="connsiteY152" fmla="*/ 6713413 h 6858000"/>
              <a:gd name="connsiteX153" fmla="*/ 4823879 w 6710000"/>
              <a:gd name="connsiteY153" fmla="*/ 6409663 h 6858000"/>
              <a:gd name="connsiteX154" fmla="*/ 4454468 w 6710000"/>
              <a:gd name="connsiteY154" fmla="*/ 6007703 h 6858000"/>
              <a:gd name="connsiteX155" fmla="*/ 3644036 w 6710000"/>
              <a:gd name="connsiteY155" fmla="*/ 4003870 h 6858000"/>
              <a:gd name="connsiteX156" fmla="*/ 3627220 w 6710000"/>
              <a:gd name="connsiteY156" fmla="*/ 2679193 h 6858000"/>
              <a:gd name="connsiteX157" fmla="*/ 3946184 w 6710000"/>
              <a:gd name="connsiteY157" fmla="*/ 1774375 h 6858000"/>
              <a:gd name="connsiteX158" fmla="*/ 4134959 w 6710000"/>
              <a:gd name="connsiteY158" fmla="*/ 1312746 h 6858000"/>
              <a:gd name="connsiteX159" fmla="*/ 4411613 w 6710000"/>
              <a:gd name="connsiteY159" fmla="*/ 1628 h 6858000"/>
              <a:gd name="connsiteX160" fmla="*/ 3875123 w 6710000"/>
              <a:gd name="connsiteY160" fmla="*/ 1628 h 6858000"/>
              <a:gd name="connsiteX161" fmla="*/ 3891940 w 6710000"/>
              <a:gd name="connsiteY161" fmla="*/ 1628 h 6858000"/>
              <a:gd name="connsiteX162" fmla="*/ 3622881 w 6710000"/>
              <a:gd name="connsiteY162" fmla="*/ 1460836 h 6858000"/>
              <a:gd name="connsiteX163" fmla="*/ 3446582 w 6710000"/>
              <a:gd name="connsiteY163" fmla="*/ 1914329 h 6858000"/>
              <a:gd name="connsiteX164" fmla="*/ 3140095 w 6710000"/>
              <a:gd name="connsiteY164" fmla="*/ 2842471 h 6858000"/>
              <a:gd name="connsiteX165" fmla="*/ 3186204 w 6710000"/>
              <a:gd name="connsiteY165" fmla="*/ 4172031 h 6858000"/>
              <a:gd name="connsiteX166" fmla="*/ 4047082 w 6710000"/>
              <a:gd name="connsiteY166" fmla="*/ 6173153 h 6858000"/>
              <a:gd name="connsiteX167" fmla="*/ 4429513 w 6710000"/>
              <a:gd name="connsiteY167" fmla="*/ 6572400 h 6858000"/>
              <a:gd name="connsiteX168" fmla="*/ 4602120 w 6710000"/>
              <a:gd name="connsiteY168" fmla="*/ 6723496 h 6858000"/>
              <a:gd name="connsiteX169" fmla="*/ 4771866 w 6710000"/>
              <a:gd name="connsiteY169" fmla="*/ 6858000 h 6858000"/>
              <a:gd name="connsiteX170" fmla="*/ 4748471 w 6710000"/>
              <a:gd name="connsiteY170" fmla="*/ 6858000 h 6858000"/>
              <a:gd name="connsiteX171" fmla="*/ 4586735 w 6710000"/>
              <a:gd name="connsiteY171" fmla="*/ 6730859 h 6858000"/>
              <a:gd name="connsiteX172" fmla="*/ 4412697 w 6710000"/>
              <a:gd name="connsiteY172" fmla="*/ 6580537 h 6858000"/>
              <a:gd name="connsiteX173" fmla="*/ 4030265 w 6710000"/>
              <a:gd name="connsiteY173" fmla="*/ 6178577 h 6858000"/>
              <a:gd name="connsiteX174" fmla="*/ 3169387 w 6710000"/>
              <a:gd name="connsiteY174" fmla="*/ 4174744 h 6858000"/>
              <a:gd name="connsiteX175" fmla="*/ 3123279 w 6710000"/>
              <a:gd name="connsiteY175" fmla="*/ 2839759 h 6858000"/>
              <a:gd name="connsiteX176" fmla="*/ 3429766 w 6710000"/>
              <a:gd name="connsiteY176" fmla="*/ 1911616 h 6858000"/>
              <a:gd name="connsiteX177" fmla="*/ 3606065 w 6710000"/>
              <a:gd name="connsiteY177" fmla="*/ 1458123 h 6858000"/>
              <a:gd name="connsiteX178" fmla="*/ 3875123 w 6710000"/>
              <a:gd name="connsiteY178" fmla="*/ 1628 h 6858000"/>
              <a:gd name="connsiteX179" fmla="*/ 2967596 w 6710000"/>
              <a:gd name="connsiteY179" fmla="*/ 1628 h 6858000"/>
              <a:gd name="connsiteX180" fmla="*/ 2984412 w 6710000"/>
              <a:gd name="connsiteY180" fmla="*/ 1628 h 6858000"/>
              <a:gd name="connsiteX181" fmla="*/ 2736509 w 6710000"/>
              <a:gd name="connsiteY181" fmla="*/ 1704398 h 6858000"/>
              <a:gd name="connsiteX182" fmla="*/ 2585163 w 6710000"/>
              <a:gd name="connsiteY182" fmla="*/ 2139990 h 6858000"/>
              <a:gd name="connsiteX183" fmla="*/ 2303629 w 6710000"/>
              <a:gd name="connsiteY183" fmla="*/ 3112071 h 6858000"/>
              <a:gd name="connsiteX184" fmla="*/ 2395845 w 6710000"/>
              <a:gd name="connsiteY184" fmla="*/ 4454651 h 6858000"/>
              <a:gd name="connsiteX185" fmla="*/ 3340804 w 6710000"/>
              <a:gd name="connsiteY185" fmla="*/ 6460655 h 6858000"/>
              <a:gd name="connsiteX186" fmla="*/ 3740052 w 6710000"/>
              <a:gd name="connsiteY186" fmla="*/ 6857190 h 6858000"/>
              <a:gd name="connsiteX187" fmla="*/ 3741038 w 6710000"/>
              <a:gd name="connsiteY187" fmla="*/ 6858000 h 6858000"/>
              <a:gd name="connsiteX188" fmla="*/ 3722011 w 6710000"/>
              <a:gd name="connsiteY188" fmla="*/ 6858000 h 6858000"/>
              <a:gd name="connsiteX189" fmla="*/ 3516695 w 6710000"/>
              <a:gd name="connsiteY189" fmla="*/ 6667737 h 6858000"/>
              <a:gd name="connsiteX190" fmla="*/ 3324530 w 6710000"/>
              <a:gd name="connsiteY190" fmla="*/ 6466620 h 6858000"/>
              <a:gd name="connsiteX191" fmla="*/ 2375233 w 6710000"/>
              <a:gd name="connsiteY191" fmla="*/ 4455193 h 6858000"/>
              <a:gd name="connsiteX192" fmla="*/ 2286813 w 6710000"/>
              <a:gd name="connsiteY192" fmla="*/ 3109903 h 6858000"/>
              <a:gd name="connsiteX193" fmla="*/ 2568346 w 6710000"/>
              <a:gd name="connsiteY193" fmla="*/ 2137821 h 6858000"/>
              <a:gd name="connsiteX194" fmla="*/ 2715351 w 6710000"/>
              <a:gd name="connsiteY194" fmla="*/ 1702229 h 6858000"/>
              <a:gd name="connsiteX195" fmla="*/ 2967596 w 6710000"/>
              <a:gd name="connsiteY195" fmla="*/ 1628 h 6858000"/>
              <a:gd name="connsiteX196" fmla="*/ 2781533 w 6710000"/>
              <a:gd name="connsiteY196" fmla="*/ 1628 h 6858000"/>
              <a:gd name="connsiteX197" fmla="*/ 2802687 w 6710000"/>
              <a:gd name="connsiteY197" fmla="*/ 1628 h 6858000"/>
              <a:gd name="connsiteX198" fmla="*/ 2554787 w 6710000"/>
              <a:gd name="connsiteY198" fmla="*/ 1751050 h 6858000"/>
              <a:gd name="connsiteX199" fmla="*/ 2412119 w 6710000"/>
              <a:gd name="connsiteY199" fmla="*/ 2183930 h 6858000"/>
              <a:gd name="connsiteX200" fmla="*/ 2139264 w 6710000"/>
              <a:gd name="connsiteY200" fmla="*/ 3163606 h 6858000"/>
              <a:gd name="connsiteX201" fmla="*/ 2235821 w 6710000"/>
              <a:gd name="connsiteY201" fmla="*/ 4508896 h 6858000"/>
              <a:gd name="connsiteX202" fmla="*/ 3197595 w 6710000"/>
              <a:gd name="connsiteY202" fmla="*/ 6517612 h 6858000"/>
              <a:gd name="connsiteX203" fmla="*/ 3390100 w 6710000"/>
              <a:gd name="connsiteY203" fmla="*/ 6718728 h 6858000"/>
              <a:gd name="connsiteX204" fmla="*/ 3543243 w 6710000"/>
              <a:gd name="connsiteY204" fmla="*/ 6858000 h 6858000"/>
              <a:gd name="connsiteX205" fmla="*/ 3521208 w 6710000"/>
              <a:gd name="connsiteY205" fmla="*/ 6858000 h 6858000"/>
              <a:gd name="connsiteX206" fmla="*/ 3375656 w 6710000"/>
              <a:gd name="connsiteY206" fmla="*/ 6724152 h 6858000"/>
              <a:gd name="connsiteX207" fmla="*/ 3185119 w 6710000"/>
              <a:gd name="connsiteY207" fmla="*/ 6523037 h 6858000"/>
              <a:gd name="connsiteX208" fmla="*/ 2219005 w 6710000"/>
              <a:gd name="connsiteY208" fmla="*/ 4511610 h 6858000"/>
              <a:gd name="connsiteX209" fmla="*/ 2118109 w 6710000"/>
              <a:gd name="connsiteY209" fmla="*/ 3163606 h 6858000"/>
              <a:gd name="connsiteX210" fmla="*/ 2395304 w 6710000"/>
              <a:gd name="connsiteY210" fmla="*/ 2181217 h 6858000"/>
              <a:gd name="connsiteX211" fmla="*/ 2537968 w 6710000"/>
              <a:gd name="connsiteY211" fmla="*/ 1751050 h 6858000"/>
              <a:gd name="connsiteX212" fmla="*/ 2781533 w 6710000"/>
              <a:gd name="connsiteY212" fmla="*/ 1628 h 6858000"/>
              <a:gd name="connsiteX213" fmla="*/ 2601437 w 6710000"/>
              <a:gd name="connsiteY213" fmla="*/ 1628 h 6858000"/>
              <a:gd name="connsiteX214" fmla="*/ 2618253 w 6710000"/>
              <a:gd name="connsiteY214" fmla="*/ 1628 h 6858000"/>
              <a:gd name="connsiteX215" fmla="*/ 2379030 w 6710000"/>
              <a:gd name="connsiteY215" fmla="*/ 1800413 h 6858000"/>
              <a:gd name="connsiteX216" fmla="*/ 2240161 w 6710000"/>
              <a:gd name="connsiteY216" fmla="*/ 2227868 h 6858000"/>
              <a:gd name="connsiteX217" fmla="*/ 1971101 w 6710000"/>
              <a:gd name="connsiteY217" fmla="*/ 3217851 h 6858000"/>
              <a:gd name="connsiteX218" fmla="*/ 2076338 w 6710000"/>
              <a:gd name="connsiteY218" fmla="*/ 4565854 h 6858000"/>
              <a:gd name="connsiteX219" fmla="*/ 3059271 w 6710000"/>
              <a:gd name="connsiteY219" fmla="*/ 6574569 h 6858000"/>
              <a:gd name="connsiteX220" fmla="*/ 3251774 w 6710000"/>
              <a:gd name="connsiteY220" fmla="*/ 6775685 h 6858000"/>
              <a:gd name="connsiteX221" fmla="*/ 3342286 w 6710000"/>
              <a:gd name="connsiteY221" fmla="*/ 6858000 h 6858000"/>
              <a:gd name="connsiteX222" fmla="*/ 3323253 w 6710000"/>
              <a:gd name="connsiteY222" fmla="*/ 6858000 h 6858000"/>
              <a:gd name="connsiteX223" fmla="*/ 3237330 w 6710000"/>
              <a:gd name="connsiteY223" fmla="*/ 6780568 h 6858000"/>
              <a:gd name="connsiteX224" fmla="*/ 3042453 w 6710000"/>
              <a:gd name="connsiteY224" fmla="*/ 6579451 h 6858000"/>
              <a:gd name="connsiteX225" fmla="*/ 2059523 w 6710000"/>
              <a:gd name="connsiteY225" fmla="*/ 4568025 h 6858000"/>
              <a:gd name="connsiteX226" fmla="*/ 1954286 w 6710000"/>
              <a:gd name="connsiteY226" fmla="*/ 3217851 h 6858000"/>
              <a:gd name="connsiteX227" fmla="*/ 2223343 w 6710000"/>
              <a:gd name="connsiteY227" fmla="*/ 2227868 h 6858000"/>
              <a:gd name="connsiteX228" fmla="*/ 2362214 w 6710000"/>
              <a:gd name="connsiteY228" fmla="*/ 1797702 h 6858000"/>
              <a:gd name="connsiteX229" fmla="*/ 2601437 w 6710000"/>
              <a:gd name="connsiteY229" fmla="*/ 1628 h 6858000"/>
              <a:gd name="connsiteX230" fmla="*/ 2417001 w 6710000"/>
              <a:gd name="connsiteY230" fmla="*/ 1628 h 6858000"/>
              <a:gd name="connsiteX231" fmla="*/ 2438158 w 6710000"/>
              <a:gd name="connsiteY231" fmla="*/ 1628 h 6858000"/>
              <a:gd name="connsiteX232" fmla="*/ 2202731 w 6710000"/>
              <a:gd name="connsiteY232" fmla="*/ 1849777 h 6858000"/>
              <a:gd name="connsiteX233" fmla="*/ 2068202 w 6710000"/>
              <a:gd name="connsiteY233" fmla="*/ 2275062 h 6858000"/>
              <a:gd name="connsiteX234" fmla="*/ 1803485 w 6710000"/>
              <a:gd name="connsiteY234" fmla="*/ 3273182 h 6858000"/>
              <a:gd name="connsiteX235" fmla="*/ 1921196 w 6710000"/>
              <a:gd name="connsiteY235" fmla="*/ 4623354 h 6858000"/>
              <a:gd name="connsiteX236" fmla="*/ 2916605 w 6710000"/>
              <a:gd name="connsiteY236" fmla="*/ 6632070 h 6858000"/>
              <a:gd name="connsiteX237" fmla="*/ 3111482 w 6710000"/>
              <a:gd name="connsiteY237" fmla="*/ 6833185 h 6858000"/>
              <a:gd name="connsiteX238" fmla="*/ 3139018 w 6710000"/>
              <a:gd name="connsiteY238" fmla="*/ 6858000 h 6858000"/>
              <a:gd name="connsiteX239" fmla="*/ 3120520 w 6710000"/>
              <a:gd name="connsiteY239" fmla="*/ 6858000 h 6858000"/>
              <a:gd name="connsiteX240" fmla="*/ 3099004 w 6710000"/>
              <a:gd name="connsiteY240" fmla="*/ 6838611 h 6858000"/>
              <a:gd name="connsiteX241" fmla="*/ 2904126 w 6710000"/>
              <a:gd name="connsiteY241" fmla="*/ 6637495 h 6858000"/>
              <a:gd name="connsiteX242" fmla="*/ 1900040 w 6710000"/>
              <a:gd name="connsiteY242" fmla="*/ 4626066 h 6858000"/>
              <a:gd name="connsiteX243" fmla="*/ 1786667 w 6710000"/>
              <a:gd name="connsiteY243" fmla="*/ 3270470 h 6858000"/>
              <a:gd name="connsiteX244" fmla="*/ 2047046 w 6710000"/>
              <a:gd name="connsiteY244" fmla="*/ 2272351 h 6858000"/>
              <a:gd name="connsiteX245" fmla="*/ 2185916 w 6710000"/>
              <a:gd name="connsiteY245" fmla="*/ 1847065 h 6858000"/>
              <a:gd name="connsiteX246" fmla="*/ 2417001 w 6710000"/>
              <a:gd name="connsiteY246" fmla="*/ 1628 h 6858000"/>
              <a:gd name="connsiteX247" fmla="*/ 2235821 w 6710000"/>
              <a:gd name="connsiteY247" fmla="*/ 1628 h 6858000"/>
              <a:gd name="connsiteX248" fmla="*/ 2252636 w 6710000"/>
              <a:gd name="connsiteY248" fmla="*/ 1628 h 6858000"/>
              <a:gd name="connsiteX249" fmla="*/ 2025891 w 6710000"/>
              <a:gd name="connsiteY249" fmla="*/ 1899140 h 6858000"/>
              <a:gd name="connsiteX250" fmla="*/ 1891360 w 6710000"/>
              <a:gd name="connsiteY250" fmla="*/ 2316289 h 6858000"/>
              <a:gd name="connsiteX251" fmla="*/ 1635322 w 6710000"/>
              <a:gd name="connsiteY251" fmla="*/ 3327426 h 6858000"/>
              <a:gd name="connsiteX252" fmla="*/ 1761172 w 6710000"/>
              <a:gd name="connsiteY252" fmla="*/ 4680313 h 6858000"/>
              <a:gd name="connsiteX253" fmla="*/ 2777736 w 6710000"/>
              <a:gd name="connsiteY253" fmla="*/ 6689028 h 6858000"/>
              <a:gd name="connsiteX254" fmla="*/ 2943569 w 6710000"/>
              <a:gd name="connsiteY254" fmla="*/ 6858000 h 6858000"/>
              <a:gd name="connsiteX255" fmla="*/ 2921504 w 6710000"/>
              <a:gd name="connsiteY255" fmla="*/ 6858000 h 6858000"/>
              <a:gd name="connsiteX256" fmla="*/ 2760920 w 6710000"/>
              <a:gd name="connsiteY256" fmla="*/ 6694452 h 6858000"/>
              <a:gd name="connsiteX257" fmla="*/ 1744356 w 6710000"/>
              <a:gd name="connsiteY257" fmla="*/ 4680313 h 6858000"/>
              <a:gd name="connsiteX258" fmla="*/ 1618506 w 6710000"/>
              <a:gd name="connsiteY258" fmla="*/ 3324715 h 6858000"/>
              <a:gd name="connsiteX259" fmla="*/ 1874544 w 6710000"/>
              <a:gd name="connsiteY259" fmla="*/ 2316289 h 6858000"/>
              <a:gd name="connsiteX260" fmla="*/ 2004736 w 6710000"/>
              <a:gd name="connsiteY260" fmla="*/ 1896428 h 6858000"/>
              <a:gd name="connsiteX261" fmla="*/ 2235821 w 6710000"/>
              <a:gd name="connsiteY261" fmla="*/ 1628 h 6858000"/>
              <a:gd name="connsiteX262" fmla="*/ 396352 w 6710000"/>
              <a:gd name="connsiteY262" fmla="*/ 1628 h 6858000"/>
              <a:gd name="connsiteX263" fmla="*/ 413168 w 6710000"/>
              <a:gd name="connsiteY263" fmla="*/ 1628 h 6858000"/>
              <a:gd name="connsiteX264" fmla="*/ 413168 w 6710000"/>
              <a:gd name="connsiteY264" fmla="*/ 24955 h 6858000"/>
              <a:gd name="connsiteX265" fmla="*/ 249348 w 6710000"/>
              <a:gd name="connsiteY265" fmla="*/ 2383554 h 6858000"/>
              <a:gd name="connsiteX266" fmla="*/ 165265 w 6710000"/>
              <a:gd name="connsiteY266" fmla="*/ 2743744 h 6858000"/>
              <a:gd name="connsiteX267" fmla="*/ 35890 w 6710000"/>
              <a:gd name="connsiteY267" fmla="*/ 3299695 h 6858000"/>
              <a:gd name="connsiteX268" fmla="*/ 0 w 6710000"/>
              <a:gd name="connsiteY268" fmla="*/ 3515440 h 6858000"/>
              <a:gd name="connsiteX269" fmla="*/ 0 w 6710000"/>
              <a:gd name="connsiteY269" fmla="*/ 3413219 h 6858000"/>
              <a:gd name="connsiteX270" fmla="*/ 19277 w 6710000"/>
              <a:gd name="connsiteY270" fmla="*/ 3297321 h 6858000"/>
              <a:gd name="connsiteX271" fmla="*/ 148449 w 6710000"/>
              <a:gd name="connsiteY271" fmla="*/ 2741032 h 6858000"/>
              <a:gd name="connsiteX272" fmla="*/ 232530 w 6710000"/>
              <a:gd name="connsiteY272" fmla="*/ 2383554 h 6858000"/>
              <a:gd name="connsiteX273" fmla="*/ 396352 w 6710000"/>
              <a:gd name="connsiteY273" fmla="*/ 24955 h 6858000"/>
              <a:gd name="connsiteX274" fmla="*/ 396352 w 6710000"/>
              <a:gd name="connsiteY274" fmla="*/ 1628 h 6858000"/>
              <a:gd name="connsiteX275" fmla="*/ 5479167 w 6710000"/>
              <a:gd name="connsiteY275" fmla="*/ 1086 h 6858000"/>
              <a:gd name="connsiteX276" fmla="*/ 5495983 w 6710000"/>
              <a:gd name="connsiteY276" fmla="*/ 1086 h 6858000"/>
              <a:gd name="connsiteX277" fmla="*/ 5218787 w 6710000"/>
              <a:gd name="connsiteY277" fmla="*/ 1022531 h 6858000"/>
              <a:gd name="connsiteX278" fmla="*/ 5000176 w 6710000"/>
              <a:gd name="connsiteY278" fmla="*/ 1499350 h 6858000"/>
              <a:gd name="connsiteX279" fmla="*/ 4647581 w 6710000"/>
              <a:gd name="connsiteY279" fmla="*/ 2358057 h 6858000"/>
              <a:gd name="connsiteX280" fmla="*/ 4609609 w 6710000"/>
              <a:gd name="connsiteY280" fmla="*/ 3664292 h 6858000"/>
              <a:gd name="connsiteX281" fmla="*/ 5315344 w 6710000"/>
              <a:gd name="connsiteY281" fmla="*/ 5659989 h 6858000"/>
              <a:gd name="connsiteX282" fmla="*/ 6698707 w 6710000"/>
              <a:gd name="connsiteY282" fmla="*/ 6851723 h 6858000"/>
              <a:gd name="connsiteX283" fmla="*/ 6710000 w 6710000"/>
              <a:gd name="connsiteY283" fmla="*/ 6858000 h 6858000"/>
              <a:gd name="connsiteX284" fmla="*/ 6682458 w 6710000"/>
              <a:gd name="connsiteY284" fmla="*/ 6858000 h 6858000"/>
              <a:gd name="connsiteX285" fmla="*/ 6369337 w 6710000"/>
              <a:gd name="connsiteY285" fmla="*/ 6660278 h 6858000"/>
              <a:gd name="connsiteX286" fmla="*/ 5298529 w 6710000"/>
              <a:gd name="connsiteY286" fmla="*/ 5664871 h 6858000"/>
              <a:gd name="connsiteX287" fmla="*/ 4588453 w 6710000"/>
              <a:gd name="connsiteY287" fmla="*/ 3666464 h 6858000"/>
              <a:gd name="connsiteX288" fmla="*/ 4626425 w 6710000"/>
              <a:gd name="connsiteY288" fmla="*/ 2354803 h 6858000"/>
              <a:gd name="connsiteX289" fmla="*/ 4983360 w 6710000"/>
              <a:gd name="connsiteY289" fmla="*/ 1496638 h 6858000"/>
              <a:gd name="connsiteX290" fmla="*/ 5201971 w 6710000"/>
              <a:gd name="connsiteY290" fmla="*/ 1019818 h 6858000"/>
              <a:gd name="connsiteX291" fmla="*/ 5479167 w 6710000"/>
              <a:gd name="connsiteY291" fmla="*/ 1086 h 6858000"/>
              <a:gd name="connsiteX292" fmla="*/ 4236941 w 6710000"/>
              <a:gd name="connsiteY292" fmla="*/ 1086 h 6858000"/>
              <a:gd name="connsiteX293" fmla="*/ 4253757 w 6710000"/>
              <a:gd name="connsiteY293" fmla="*/ 1086 h 6858000"/>
              <a:gd name="connsiteX294" fmla="*/ 3976562 w 6710000"/>
              <a:gd name="connsiteY294" fmla="*/ 1362108 h 6858000"/>
              <a:gd name="connsiteX295" fmla="*/ 3791584 w 6710000"/>
              <a:gd name="connsiteY295" fmla="*/ 1823738 h 6858000"/>
              <a:gd name="connsiteX296" fmla="*/ 3476418 w 6710000"/>
              <a:gd name="connsiteY296" fmla="*/ 2733437 h 6858000"/>
              <a:gd name="connsiteX297" fmla="*/ 3501371 w 6710000"/>
              <a:gd name="connsiteY297" fmla="*/ 4060285 h 6858000"/>
              <a:gd name="connsiteX298" fmla="*/ 4328618 w 6710000"/>
              <a:gd name="connsiteY298" fmla="*/ 6058694 h 6858000"/>
              <a:gd name="connsiteX299" fmla="*/ 4702370 w 6710000"/>
              <a:gd name="connsiteY299" fmla="*/ 6457941 h 6858000"/>
              <a:gd name="connsiteX300" fmla="*/ 5059754 w 6710000"/>
              <a:gd name="connsiteY300" fmla="*/ 6760124 h 6858000"/>
              <a:gd name="connsiteX301" fmla="*/ 5193099 w 6710000"/>
              <a:gd name="connsiteY301" fmla="*/ 6858000 h 6858000"/>
              <a:gd name="connsiteX302" fmla="*/ 5167772 w 6710000"/>
              <a:gd name="connsiteY302" fmla="*/ 6858000 h 6858000"/>
              <a:gd name="connsiteX303" fmla="*/ 5043684 w 6710000"/>
              <a:gd name="connsiteY303" fmla="*/ 6767235 h 6858000"/>
              <a:gd name="connsiteX304" fmla="*/ 4685552 w 6710000"/>
              <a:gd name="connsiteY304" fmla="*/ 6466078 h 6858000"/>
              <a:gd name="connsiteX305" fmla="*/ 4311801 w 6710000"/>
              <a:gd name="connsiteY305" fmla="*/ 6064118 h 6858000"/>
              <a:gd name="connsiteX306" fmla="*/ 3484555 w 6710000"/>
              <a:gd name="connsiteY306" fmla="*/ 4060285 h 6858000"/>
              <a:gd name="connsiteX307" fmla="*/ 3459602 w 6710000"/>
              <a:gd name="connsiteY307" fmla="*/ 2733437 h 6858000"/>
              <a:gd name="connsiteX308" fmla="*/ 3774769 w 6710000"/>
              <a:gd name="connsiteY308" fmla="*/ 1821026 h 6858000"/>
              <a:gd name="connsiteX309" fmla="*/ 3959747 w 6710000"/>
              <a:gd name="connsiteY309" fmla="*/ 1359397 h 6858000"/>
              <a:gd name="connsiteX310" fmla="*/ 4236941 w 6710000"/>
              <a:gd name="connsiteY310" fmla="*/ 1086 h 6858000"/>
              <a:gd name="connsiteX311" fmla="*/ 4055219 w 6710000"/>
              <a:gd name="connsiteY311" fmla="*/ 1086 h 6858000"/>
              <a:gd name="connsiteX312" fmla="*/ 4072035 w 6710000"/>
              <a:gd name="connsiteY312" fmla="*/ 1086 h 6858000"/>
              <a:gd name="connsiteX313" fmla="*/ 3799179 w 6710000"/>
              <a:gd name="connsiteY313" fmla="*/ 1410929 h 6858000"/>
              <a:gd name="connsiteX314" fmla="*/ 3618541 w 6710000"/>
              <a:gd name="connsiteY314" fmla="*/ 1869848 h 6858000"/>
              <a:gd name="connsiteX315" fmla="*/ 3307714 w 6710000"/>
              <a:gd name="connsiteY315" fmla="*/ 2787684 h 6858000"/>
              <a:gd name="connsiteX316" fmla="*/ 3341346 w 6710000"/>
              <a:gd name="connsiteY316" fmla="*/ 4114531 h 6858000"/>
              <a:gd name="connsiteX317" fmla="*/ 4185408 w 6710000"/>
              <a:gd name="connsiteY317" fmla="*/ 6115652 h 6858000"/>
              <a:gd name="connsiteX318" fmla="*/ 4563500 w 6710000"/>
              <a:gd name="connsiteY318" fmla="*/ 6514900 h 6858000"/>
              <a:gd name="connsiteX319" fmla="*/ 4924140 w 6710000"/>
              <a:gd name="connsiteY319" fmla="*/ 6815633 h 6858000"/>
              <a:gd name="connsiteX320" fmla="*/ 4982461 w 6710000"/>
              <a:gd name="connsiteY320" fmla="*/ 6858000 h 6858000"/>
              <a:gd name="connsiteX321" fmla="*/ 4957779 w 6710000"/>
              <a:gd name="connsiteY321" fmla="*/ 6858000 h 6858000"/>
              <a:gd name="connsiteX322" fmla="*/ 4909833 w 6710000"/>
              <a:gd name="connsiteY322" fmla="*/ 6823167 h 6858000"/>
              <a:gd name="connsiteX323" fmla="*/ 4551024 w 6710000"/>
              <a:gd name="connsiteY323" fmla="*/ 6523579 h 6858000"/>
              <a:gd name="connsiteX324" fmla="*/ 4172932 w 6710000"/>
              <a:gd name="connsiteY324" fmla="*/ 6121620 h 6858000"/>
              <a:gd name="connsiteX325" fmla="*/ 3324530 w 6710000"/>
              <a:gd name="connsiteY325" fmla="*/ 4117786 h 6858000"/>
              <a:gd name="connsiteX326" fmla="*/ 3290899 w 6710000"/>
              <a:gd name="connsiteY326" fmla="*/ 2785514 h 6858000"/>
              <a:gd name="connsiteX327" fmla="*/ 3601726 w 6710000"/>
              <a:gd name="connsiteY327" fmla="*/ 1867678 h 6858000"/>
              <a:gd name="connsiteX328" fmla="*/ 3782363 w 6710000"/>
              <a:gd name="connsiteY328" fmla="*/ 1408760 h 6858000"/>
              <a:gd name="connsiteX329" fmla="*/ 4055219 w 6710000"/>
              <a:gd name="connsiteY329" fmla="*/ 1086 h 6858000"/>
              <a:gd name="connsiteX330" fmla="*/ 3693943 w 6710000"/>
              <a:gd name="connsiteY330" fmla="*/ 1086 h 6858000"/>
              <a:gd name="connsiteX331" fmla="*/ 3710759 w 6710000"/>
              <a:gd name="connsiteY331" fmla="*/ 1086 h 6858000"/>
              <a:gd name="connsiteX332" fmla="*/ 3446040 w 6710000"/>
              <a:gd name="connsiteY332" fmla="*/ 1509656 h 6858000"/>
              <a:gd name="connsiteX333" fmla="*/ 3274081 w 6710000"/>
              <a:gd name="connsiteY333" fmla="*/ 1960436 h 6858000"/>
              <a:gd name="connsiteX334" fmla="*/ 2975731 w 6710000"/>
              <a:gd name="connsiteY334" fmla="*/ 2893463 h 6858000"/>
              <a:gd name="connsiteX335" fmla="*/ 3026179 w 6710000"/>
              <a:gd name="connsiteY335" fmla="*/ 4228446 h 6858000"/>
              <a:gd name="connsiteX336" fmla="*/ 3903873 w 6710000"/>
              <a:gd name="connsiteY336" fmla="*/ 6232279 h 6858000"/>
              <a:gd name="connsiteX337" fmla="*/ 4290102 w 6710000"/>
              <a:gd name="connsiteY337" fmla="*/ 6628815 h 6858000"/>
              <a:gd name="connsiteX338" fmla="*/ 4464172 w 6710000"/>
              <a:gd name="connsiteY338" fmla="*/ 6778910 h 6858000"/>
              <a:gd name="connsiteX339" fmla="*/ 4565238 w 6710000"/>
              <a:gd name="connsiteY339" fmla="*/ 6858000 h 6858000"/>
              <a:gd name="connsiteX340" fmla="*/ 4541100 w 6710000"/>
              <a:gd name="connsiteY340" fmla="*/ 6858000 h 6858000"/>
              <a:gd name="connsiteX341" fmla="*/ 4448231 w 6710000"/>
              <a:gd name="connsiteY341" fmla="*/ 6785881 h 6858000"/>
              <a:gd name="connsiteX342" fmla="*/ 4272745 w 6710000"/>
              <a:gd name="connsiteY342" fmla="*/ 6636410 h 6858000"/>
              <a:gd name="connsiteX343" fmla="*/ 3886514 w 6710000"/>
              <a:gd name="connsiteY343" fmla="*/ 6234449 h 6858000"/>
              <a:gd name="connsiteX344" fmla="*/ 3008821 w 6710000"/>
              <a:gd name="connsiteY344" fmla="*/ 4228446 h 6858000"/>
              <a:gd name="connsiteX345" fmla="*/ 2954034 w 6710000"/>
              <a:gd name="connsiteY345" fmla="*/ 2893463 h 6858000"/>
              <a:gd name="connsiteX346" fmla="*/ 3256723 w 6710000"/>
              <a:gd name="connsiteY346" fmla="*/ 1957725 h 6858000"/>
              <a:gd name="connsiteX347" fmla="*/ 3424884 w 6710000"/>
              <a:gd name="connsiteY347" fmla="*/ 1506945 h 6858000"/>
              <a:gd name="connsiteX348" fmla="*/ 3693943 w 6710000"/>
              <a:gd name="connsiteY348" fmla="*/ 1086 h 6858000"/>
              <a:gd name="connsiteX349" fmla="*/ 3147690 w 6710000"/>
              <a:gd name="connsiteY349" fmla="*/ 1086 h 6858000"/>
              <a:gd name="connsiteX350" fmla="*/ 3164506 w 6710000"/>
              <a:gd name="connsiteY350" fmla="*/ 1086 h 6858000"/>
              <a:gd name="connsiteX351" fmla="*/ 2912265 w 6710000"/>
              <a:gd name="connsiteY351" fmla="*/ 1655035 h 6858000"/>
              <a:gd name="connsiteX352" fmla="*/ 2757122 w 6710000"/>
              <a:gd name="connsiteY352" fmla="*/ 2095508 h 6858000"/>
              <a:gd name="connsiteX353" fmla="*/ 2471247 w 6710000"/>
              <a:gd name="connsiteY353" fmla="*/ 3057284 h 6858000"/>
              <a:gd name="connsiteX354" fmla="*/ 2550987 w 6710000"/>
              <a:gd name="connsiteY354" fmla="*/ 4397151 h 6858000"/>
              <a:gd name="connsiteX355" fmla="*/ 3483470 w 6710000"/>
              <a:gd name="connsiteY355" fmla="*/ 6403154 h 6858000"/>
              <a:gd name="connsiteX356" fmla="*/ 3878377 w 6710000"/>
              <a:gd name="connsiteY356" fmla="*/ 6799690 h 6858000"/>
              <a:gd name="connsiteX357" fmla="*/ 3948295 w 6710000"/>
              <a:gd name="connsiteY357" fmla="*/ 6858000 h 6858000"/>
              <a:gd name="connsiteX358" fmla="*/ 3925054 w 6710000"/>
              <a:gd name="connsiteY358" fmla="*/ 6858000 h 6858000"/>
              <a:gd name="connsiteX359" fmla="*/ 3861563 w 6710000"/>
              <a:gd name="connsiteY359" fmla="*/ 6805113 h 6858000"/>
              <a:gd name="connsiteX360" fmla="*/ 3466654 w 6710000"/>
              <a:gd name="connsiteY360" fmla="*/ 6408577 h 6858000"/>
              <a:gd name="connsiteX361" fmla="*/ 2534172 w 6710000"/>
              <a:gd name="connsiteY361" fmla="*/ 4399863 h 6858000"/>
              <a:gd name="connsiteX362" fmla="*/ 2454430 w 6710000"/>
              <a:gd name="connsiteY362" fmla="*/ 3054571 h 6858000"/>
              <a:gd name="connsiteX363" fmla="*/ 2740306 w 6710000"/>
              <a:gd name="connsiteY363" fmla="*/ 2092797 h 6858000"/>
              <a:gd name="connsiteX364" fmla="*/ 2895448 w 6710000"/>
              <a:gd name="connsiteY364" fmla="*/ 1652323 h 6858000"/>
              <a:gd name="connsiteX365" fmla="*/ 3147690 w 6710000"/>
              <a:gd name="connsiteY365" fmla="*/ 1086 h 6858000"/>
              <a:gd name="connsiteX366" fmla="*/ 2051388 w 6710000"/>
              <a:gd name="connsiteY366" fmla="*/ 1086 h 6858000"/>
              <a:gd name="connsiteX367" fmla="*/ 2068202 w 6710000"/>
              <a:gd name="connsiteY367" fmla="*/ 1086 h 6858000"/>
              <a:gd name="connsiteX368" fmla="*/ 1845795 w 6710000"/>
              <a:gd name="connsiteY368" fmla="*/ 1947418 h 6858000"/>
              <a:gd name="connsiteX369" fmla="*/ 1719945 w 6710000"/>
              <a:gd name="connsiteY369" fmla="*/ 2359686 h 6858000"/>
              <a:gd name="connsiteX370" fmla="*/ 1467702 w 6710000"/>
              <a:gd name="connsiteY370" fmla="*/ 3378418 h 6858000"/>
              <a:gd name="connsiteX371" fmla="*/ 1602233 w 6710000"/>
              <a:gd name="connsiteY371" fmla="*/ 4734016 h 6858000"/>
              <a:gd name="connsiteX372" fmla="*/ 2635610 w 6710000"/>
              <a:gd name="connsiteY372" fmla="*/ 6745443 h 6858000"/>
              <a:gd name="connsiteX373" fmla="*/ 2747940 w 6710000"/>
              <a:gd name="connsiteY373" fmla="*/ 6858000 h 6858000"/>
              <a:gd name="connsiteX374" fmla="*/ 2724848 w 6710000"/>
              <a:gd name="connsiteY374" fmla="*/ 6858000 h 6858000"/>
              <a:gd name="connsiteX375" fmla="*/ 2618794 w 6710000"/>
              <a:gd name="connsiteY375" fmla="*/ 6751411 h 6858000"/>
              <a:gd name="connsiteX376" fmla="*/ 1585418 w 6710000"/>
              <a:gd name="connsiteY376" fmla="*/ 4737271 h 6858000"/>
              <a:gd name="connsiteX377" fmla="*/ 1450887 w 6710000"/>
              <a:gd name="connsiteY377" fmla="*/ 3378960 h 6858000"/>
              <a:gd name="connsiteX378" fmla="*/ 1703129 w 6710000"/>
              <a:gd name="connsiteY378" fmla="*/ 2357515 h 6858000"/>
              <a:gd name="connsiteX379" fmla="*/ 1828979 w 6710000"/>
              <a:gd name="connsiteY379" fmla="*/ 1945249 h 6858000"/>
              <a:gd name="connsiteX380" fmla="*/ 2051388 w 6710000"/>
              <a:gd name="connsiteY380" fmla="*/ 1086 h 6858000"/>
              <a:gd name="connsiteX381" fmla="*/ 1867492 w 6710000"/>
              <a:gd name="connsiteY381" fmla="*/ 1086 h 6858000"/>
              <a:gd name="connsiteX382" fmla="*/ 1888650 w 6710000"/>
              <a:gd name="connsiteY382" fmla="*/ 1086 h 6858000"/>
              <a:gd name="connsiteX383" fmla="*/ 1670038 w 6710000"/>
              <a:gd name="connsiteY383" fmla="*/ 1994070 h 6858000"/>
              <a:gd name="connsiteX384" fmla="*/ 1547986 w 6710000"/>
              <a:gd name="connsiteY384" fmla="*/ 2403625 h 6858000"/>
              <a:gd name="connsiteX385" fmla="*/ 1304425 w 6710000"/>
              <a:gd name="connsiteY385" fmla="*/ 3432664 h 6858000"/>
              <a:gd name="connsiteX386" fmla="*/ 1447090 w 6710000"/>
              <a:gd name="connsiteY386" fmla="*/ 4790975 h 6858000"/>
              <a:gd name="connsiteX387" fmla="*/ 2497284 w 6710000"/>
              <a:gd name="connsiteY387" fmla="*/ 6802402 h 6858000"/>
              <a:gd name="connsiteX388" fmla="*/ 2552770 w 6710000"/>
              <a:gd name="connsiteY388" fmla="*/ 6858000 h 6858000"/>
              <a:gd name="connsiteX389" fmla="*/ 2530391 w 6710000"/>
              <a:gd name="connsiteY389" fmla="*/ 6858000 h 6858000"/>
              <a:gd name="connsiteX390" fmla="*/ 2480468 w 6710000"/>
              <a:gd name="connsiteY390" fmla="*/ 6807825 h 6858000"/>
              <a:gd name="connsiteX391" fmla="*/ 1430274 w 6710000"/>
              <a:gd name="connsiteY391" fmla="*/ 4793686 h 6858000"/>
              <a:gd name="connsiteX392" fmla="*/ 1283269 w 6710000"/>
              <a:gd name="connsiteY392" fmla="*/ 3432664 h 6858000"/>
              <a:gd name="connsiteX393" fmla="*/ 1531170 w 6710000"/>
              <a:gd name="connsiteY393" fmla="*/ 2400912 h 6858000"/>
              <a:gd name="connsiteX394" fmla="*/ 1653223 w 6710000"/>
              <a:gd name="connsiteY394" fmla="*/ 1994070 h 6858000"/>
              <a:gd name="connsiteX395" fmla="*/ 1867492 w 6710000"/>
              <a:gd name="connsiteY395" fmla="*/ 1086 h 6858000"/>
              <a:gd name="connsiteX396" fmla="*/ 1685229 w 6710000"/>
              <a:gd name="connsiteY396" fmla="*/ 1086 h 6858000"/>
              <a:gd name="connsiteX397" fmla="*/ 1702045 w 6710000"/>
              <a:gd name="connsiteY397" fmla="*/ 1086 h 6858000"/>
              <a:gd name="connsiteX398" fmla="*/ 1492113 w 6710000"/>
              <a:gd name="connsiteY398" fmla="*/ 2043433 h 6858000"/>
              <a:gd name="connsiteX399" fmla="*/ 1374400 w 6710000"/>
              <a:gd name="connsiteY399" fmla="*/ 2447564 h 6858000"/>
              <a:gd name="connsiteX400" fmla="*/ 1135179 w 6710000"/>
              <a:gd name="connsiteY400" fmla="*/ 3486909 h 6858000"/>
              <a:gd name="connsiteX401" fmla="*/ 1286523 w 6710000"/>
              <a:gd name="connsiteY401" fmla="*/ 4847931 h 6858000"/>
              <a:gd name="connsiteX402" fmla="*/ 2173546 w 6710000"/>
              <a:gd name="connsiteY402" fmla="*/ 6655634 h 6858000"/>
              <a:gd name="connsiteX403" fmla="*/ 2352333 w 6710000"/>
              <a:gd name="connsiteY403" fmla="*/ 6858000 h 6858000"/>
              <a:gd name="connsiteX404" fmla="*/ 2331196 w 6710000"/>
              <a:gd name="connsiteY404" fmla="*/ 6858000 h 6858000"/>
              <a:gd name="connsiteX405" fmla="*/ 2156574 w 6710000"/>
              <a:gd name="connsiteY405" fmla="*/ 6660662 h 6858000"/>
              <a:gd name="connsiteX406" fmla="*/ 1269707 w 6710000"/>
              <a:gd name="connsiteY406" fmla="*/ 4847931 h 6858000"/>
              <a:gd name="connsiteX407" fmla="*/ 1118360 w 6710000"/>
              <a:gd name="connsiteY407" fmla="*/ 3486909 h 6858000"/>
              <a:gd name="connsiteX408" fmla="*/ 1357583 w 6710000"/>
              <a:gd name="connsiteY408" fmla="*/ 2444851 h 6858000"/>
              <a:gd name="connsiteX409" fmla="*/ 1475296 w 6710000"/>
              <a:gd name="connsiteY409" fmla="*/ 2040722 h 6858000"/>
              <a:gd name="connsiteX410" fmla="*/ 1685229 w 6710000"/>
              <a:gd name="connsiteY410" fmla="*/ 1086 h 6858000"/>
              <a:gd name="connsiteX411" fmla="*/ 1501334 w 6710000"/>
              <a:gd name="connsiteY411" fmla="*/ 1086 h 6858000"/>
              <a:gd name="connsiteX412" fmla="*/ 1518153 w 6710000"/>
              <a:gd name="connsiteY412" fmla="*/ 1086 h 6858000"/>
              <a:gd name="connsiteX413" fmla="*/ 1316358 w 6710000"/>
              <a:gd name="connsiteY413" fmla="*/ 2092797 h 6858000"/>
              <a:gd name="connsiteX414" fmla="*/ 1202986 w 6710000"/>
              <a:gd name="connsiteY414" fmla="*/ 2489332 h 6858000"/>
              <a:gd name="connsiteX415" fmla="*/ 967559 w 6710000"/>
              <a:gd name="connsiteY415" fmla="*/ 3541698 h 6858000"/>
              <a:gd name="connsiteX416" fmla="*/ 1127040 w 6710000"/>
              <a:gd name="connsiteY416" fmla="*/ 4904889 h 6858000"/>
              <a:gd name="connsiteX417" fmla="*/ 2029268 w 6710000"/>
              <a:gd name="connsiteY417" fmla="*/ 6712591 h 6858000"/>
              <a:gd name="connsiteX418" fmla="*/ 2158886 w 6710000"/>
              <a:gd name="connsiteY418" fmla="*/ 6858000 h 6858000"/>
              <a:gd name="connsiteX419" fmla="*/ 2141652 w 6710000"/>
              <a:gd name="connsiteY419" fmla="*/ 6858000 h 6858000"/>
              <a:gd name="connsiteX420" fmla="*/ 2015538 w 6710000"/>
              <a:gd name="connsiteY420" fmla="*/ 6717531 h 6858000"/>
              <a:gd name="connsiteX421" fmla="*/ 1110768 w 6710000"/>
              <a:gd name="connsiteY421" fmla="*/ 4904889 h 6858000"/>
              <a:gd name="connsiteX422" fmla="*/ 951284 w 6710000"/>
              <a:gd name="connsiteY422" fmla="*/ 3538985 h 6858000"/>
              <a:gd name="connsiteX423" fmla="*/ 1186709 w 6710000"/>
              <a:gd name="connsiteY423" fmla="*/ 2489332 h 6858000"/>
              <a:gd name="connsiteX424" fmla="*/ 1295746 w 6710000"/>
              <a:gd name="connsiteY424" fmla="*/ 2090085 h 6858000"/>
              <a:gd name="connsiteX425" fmla="*/ 1501334 w 6710000"/>
              <a:gd name="connsiteY425" fmla="*/ 1086 h 6858000"/>
              <a:gd name="connsiteX426" fmla="*/ 1316901 w 6710000"/>
              <a:gd name="connsiteY426" fmla="*/ 1086 h 6858000"/>
              <a:gd name="connsiteX427" fmla="*/ 1333717 w 6710000"/>
              <a:gd name="connsiteY427" fmla="*/ 1086 h 6858000"/>
              <a:gd name="connsiteX428" fmla="*/ 1136262 w 6710000"/>
              <a:gd name="connsiteY428" fmla="*/ 2142160 h 6858000"/>
              <a:gd name="connsiteX429" fmla="*/ 1031027 w 6710000"/>
              <a:gd name="connsiteY429" fmla="*/ 2533814 h 6858000"/>
              <a:gd name="connsiteX430" fmla="*/ 799941 w 6710000"/>
              <a:gd name="connsiteY430" fmla="*/ 3593773 h 6858000"/>
              <a:gd name="connsiteX431" fmla="*/ 971898 w 6710000"/>
              <a:gd name="connsiteY431" fmla="*/ 4959678 h 6858000"/>
              <a:gd name="connsiteX432" fmla="*/ 1887905 w 6710000"/>
              <a:gd name="connsiteY432" fmla="*/ 6770087 h 6858000"/>
              <a:gd name="connsiteX433" fmla="*/ 1967579 w 6710000"/>
              <a:gd name="connsiteY433" fmla="*/ 6858000 h 6858000"/>
              <a:gd name="connsiteX434" fmla="*/ 1944323 w 6710000"/>
              <a:gd name="connsiteY434" fmla="*/ 6858000 h 6858000"/>
              <a:gd name="connsiteX435" fmla="*/ 1871067 w 6710000"/>
              <a:gd name="connsiteY435" fmla="*/ 6776848 h 6858000"/>
              <a:gd name="connsiteX436" fmla="*/ 955083 w 6710000"/>
              <a:gd name="connsiteY436" fmla="*/ 4962390 h 6858000"/>
              <a:gd name="connsiteX437" fmla="*/ 783124 w 6710000"/>
              <a:gd name="connsiteY437" fmla="*/ 3593773 h 6858000"/>
              <a:gd name="connsiteX438" fmla="*/ 1014212 w 6710000"/>
              <a:gd name="connsiteY438" fmla="*/ 2531102 h 6858000"/>
              <a:gd name="connsiteX439" fmla="*/ 1119447 w 6710000"/>
              <a:gd name="connsiteY439" fmla="*/ 2139448 h 6858000"/>
              <a:gd name="connsiteX440" fmla="*/ 1316901 w 6710000"/>
              <a:gd name="connsiteY440" fmla="*/ 1086 h 6858000"/>
              <a:gd name="connsiteX441" fmla="*/ 1131381 w 6710000"/>
              <a:gd name="connsiteY441" fmla="*/ 1086 h 6858000"/>
              <a:gd name="connsiteX442" fmla="*/ 1148196 w 6710000"/>
              <a:gd name="connsiteY442" fmla="*/ 1086 h 6858000"/>
              <a:gd name="connsiteX443" fmla="*/ 959422 w 6710000"/>
              <a:gd name="connsiteY443" fmla="*/ 2188812 h 6858000"/>
              <a:gd name="connsiteX444" fmla="*/ 858526 w 6710000"/>
              <a:gd name="connsiteY444" fmla="*/ 2575041 h 6858000"/>
              <a:gd name="connsiteX445" fmla="*/ 631777 w 6710000"/>
              <a:gd name="connsiteY445" fmla="*/ 3648020 h 6858000"/>
              <a:gd name="connsiteX446" fmla="*/ 812418 w 6710000"/>
              <a:gd name="connsiteY446" fmla="*/ 5016636 h 6858000"/>
              <a:gd name="connsiteX447" fmla="*/ 1743582 w 6710000"/>
              <a:gd name="connsiteY447" fmla="*/ 6827044 h 6858000"/>
              <a:gd name="connsiteX448" fmla="*/ 1771889 w 6710000"/>
              <a:gd name="connsiteY448" fmla="*/ 6858000 h 6858000"/>
              <a:gd name="connsiteX449" fmla="*/ 1751982 w 6710000"/>
              <a:gd name="connsiteY449" fmla="*/ 6858000 h 6858000"/>
              <a:gd name="connsiteX450" fmla="*/ 1729154 w 6710000"/>
              <a:gd name="connsiteY450" fmla="*/ 6833027 h 6858000"/>
              <a:gd name="connsiteX451" fmla="*/ 795600 w 6710000"/>
              <a:gd name="connsiteY451" fmla="*/ 5019348 h 6858000"/>
              <a:gd name="connsiteX452" fmla="*/ 614961 w 6710000"/>
              <a:gd name="connsiteY452" fmla="*/ 3648020 h 6858000"/>
              <a:gd name="connsiteX453" fmla="*/ 837370 w 6710000"/>
              <a:gd name="connsiteY453" fmla="*/ 2575041 h 6858000"/>
              <a:gd name="connsiteX454" fmla="*/ 942606 w 6710000"/>
              <a:gd name="connsiteY454" fmla="*/ 2188812 h 6858000"/>
              <a:gd name="connsiteX455" fmla="*/ 1131381 w 6710000"/>
              <a:gd name="connsiteY455" fmla="*/ 1086 h 6858000"/>
              <a:gd name="connsiteX456" fmla="*/ 946947 w 6710000"/>
              <a:gd name="connsiteY456" fmla="*/ 1086 h 6858000"/>
              <a:gd name="connsiteX457" fmla="*/ 968102 w 6710000"/>
              <a:gd name="connsiteY457" fmla="*/ 1086 h 6858000"/>
              <a:gd name="connsiteX458" fmla="*/ 783124 w 6710000"/>
              <a:gd name="connsiteY458" fmla="*/ 2238175 h 6858000"/>
              <a:gd name="connsiteX459" fmla="*/ 682227 w 6710000"/>
              <a:gd name="connsiteY459" fmla="*/ 2618979 h 6858000"/>
              <a:gd name="connsiteX460" fmla="*/ 467957 w 6710000"/>
              <a:gd name="connsiteY460" fmla="*/ 3702263 h 6858000"/>
              <a:gd name="connsiteX461" fmla="*/ 656732 w 6710000"/>
              <a:gd name="connsiteY461" fmla="*/ 5073592 h 6858000"/>
              <a:gd name="connsiteX462" fmla="*/ 1427113 w 6710000"/>
              <a:gd name="connsiteY462" fmla="*/ 6668060 h 6858000"/>
              <a:gd name="connsiteX463" fmla="*/ 1580273 w 6710000"/>
              <a:gd name="connsiteY463" fmla="*/ 6858000 h 6858000"/>
              <a:gd name="connsiteX464" fmla="*/ 1558574 w 6710000"/>
              <a:gd name="connsiteY464" fmla="*/ 6858000 h 6858000"/>
              <a:gd name="connsiteX465" fmla="*/ 1409772 w 6710000"/>
              <a:gd name="connsiteY465" fmla="*/ 6673398 h 6858000"/>
              <a:gd name="connsiteX466" fmla="*/ 635576 w 6710000"/>
              <a:gd name="connsiteY466" fmla="*/ 5073592 h 6858000"/>
              <a:gd name="connsiteX467" fmla="*/ 446802 w 6710000"/>
              <a:gd name="connsiteY467" fmla="*/ 3702263 h 6858000"/>
              <a:gd name="connsiteX468" fmla="*/ 665412 w 6710000"/>
              <a:gd name="connsiteY468" fmla="*/ 2616267 h 6858000"/>
              <a:gd name="connsiteX469" fmla="*/ 766308 w 6710000"/>
              <a:gd name="connsiteY469" fmla="*/ 2235463 h 6858000"/>
              <a:gd name="connsiteX470" fmla="*/ 946947 w 6710000"/>
              <a:gd name="connsiteY470" fmla="*/ 1086 h 6858000"/>
              <a:gd name="connsiteX471" fmla="*/ 761427 w 6710000"/>
              <a:gd name="connsiteY471" fmla="*/ 1086 h 6858000"/>
              <a:gd name="connsiteX472" fmla="*/ 782582 w 6710000"/>
              <a:gd name="connsiteY472" fmla="*/ 1086 h 6858000"/>
              <a:gd name="connsiteX473" fmla="*/ 606284 w 6710000"/>
              <a:gd name="connsiteY473" fmla="*/ 2286996 h 6858000"/>
              <a:gd name="connsiteX474" fmla="*/ 509728 w 6710000"/>
              <a:gd name="connsiteY474" fmla="*/ 2660207 h 6858000"/>
              <a:gd name="connsiteX475" fmla="*/ 299795 w 6710000"/>
              <a:gd name="connsiteY475" fmla="*/ 3756510 h 6858000"/>
              <a:gd name="connsiteX476" fmla="*/ 497249 w 6710000"/>
              <a:gd name="connsiteY476" fmla="*/ 5127839 h 6858000"/>
              <a:gd name="connsiteX477" fmla="*/ 1281208 w 6710000"/>
              <a:gd name="connsiteY477" fmla="*/ 6724974 h 6858000"/>
              <a:gd name="connsiteX478" fmla="*/ 1389455 w 6710000"/>
              <a:gd name="connsiteY478" fmla="*/ 6858000 h 6858000"/>
              <a:gd name="connsiteX479" fmla="*/ 1370500 w 6710000"/>
              <a:gd name="connsiteY479" fmla="*/ 6858000 h 6858000"/>
              <a:gd name="connsiteX480" fmla="*/ 1265918 w 6710000"/>
              <a:gd name="connsiteY480" fmla="*/ 6730051 h 6858000"/>
              <a:gd name="connsiteX481" fmla="*/ 480434 w 6710000"/>
              <a:gd name="connsiteY481" fmla="*/ 5130551 h 6858000"/>
              <a:gd name="connsiteX482" fmla="*/ 282979 w 6710000"/>
              <a:gd name="connsiteY482" fmla="*/ 3757052 h 6858000"/>
              <a:gd name="connsiteX483" fmla="*/ 492911 w 6710000"/>
              <a:gd name="connsiteY483" fmla="*/ 2658035 h 6858000"/>
              <a:gd name="connsiteX484" fmla="*/ 585128 w 6710000"/>
              <a:gd name="connsiteY484" fmla="*/ 2284827 h 6858000"/>
              <a:gd name="connsiteX485" fmla="*/ 761427 w 6710000"/>
              <a:gd name="connsiteY485" fmla="*/ 1086 h 6858000"/>
              <a:gd name="connsiteX486" fmla="*/ 581330 w 6710000"/>
              <a:gd name="connsiteY486" fmla="*/ 1086 h 6858000"/>
              <a:gd name="connsiteX487" fmla="*/ 598146 w 6710000"/>
              <a:gd name="connsiteY487" fmla="*/ 1086 h 6858000"/>
              <a:gd name="connsiteX488" fmla="*/ 426187 w 6710000"/>
              <a:gd name="connsiteY488" fmla="*/ 2336360 h 6858000"/>
              <a:gd name="connsiteX489" fmla="*/ 337766 w 6710000"/>
              <a:gd name="connsiteY489" fmla="*/ 2701975 h 6858000"/>
              <a:gd name="connsiteX490" fmla="*/ 132176 w 6710000"/>
              <a:gd name="connsiteY490" fmla="*/ 3808585 h 6858000"/>
              <a:gd name="connsiteX491" fmla="*/ 337766 w 6710000"/>
              <a:gd name="connsiteY491" fmla="*/ 5184796 h 6858000"/>
              <a:gd name="connsiteX492" fmla="*/ 1136221 w 6710000"/>
              <a:gd name="connsiteY492" fmla="*/ 6781932 h 6858000"/>
              <a:gd name="connsiteX493" fmla="*/ 1199192 w 6710000"/>
              <a:gd name="connsiteY493" fmla="*/ 6858000 h 6858000"/>
              <a:gd name="connsiteX494" fmla="*/ 1178104 w 6710000"/>
              <a:gd name="connsiteY494" fmla="*/ 6858000 h 6858000"/>
              <a:gd name="connsiteX495" fmla="*/ 1119405 w 6710000"/>
              <a:gd name="connsiteY495" fmla="*/ 6787010 h 6858000"/>
              <a:gd name="connsiteX496" fmla="*/ 320950 w 6710000"/>
              <a:gd name="connsiteY496" fmla="*/ 5187509 h 6858000"/>
              <a:gd name="connsiteX497" fmla="*/ 115360 w 6710000"/>
              <a:gd name="connsiteY497" fmla="*/ 3808585 h 6858000"/>
              <a:gd name="connsiteX498" fmla="*/ 320950 w 6710000"/>
              <a:gd name="connsiteY498" fmla="*/ 2699264 h 6858000"/>
              <a:gd name="connsiteX499" fmla="*/ 409371 w 6710000"/>
              <a:gd name="connsiteY499" fmla="*/ 2333648 h 6858000"/>
              <a:gd name="connsiteX500" fmla="*/ 581330 w 6710000"/>
              <a:gd name="connsiteY500" fmla="*/ 1086 h 6858000"/>
              <a:gd name="connsiteX501" fmla="*/ 211917 w 6710000"/>
              <a:gd name="connsiteY501" fmla="*/ 1086 h 6858000"/>
              <a:gd name="connsiteX502" fmla="*/ 228733 w 6710000"/>
              <a:gd name="connsiteY502" fmla="*/ 1086 h 6858000"/>
              <a:gd name="connsiteX503" fmla="*/ 233074 w 6710000"/>
              <a:gd name="connsiteY503" fmla="*/ 65638 h 6858000"/>
              <a:gd name="connsiteX504" fmla="*/ 73591 w 6710000"/>
              <a:gd name="connsiteY504" fmla="*/ 2432375 h 6858000"/>
              <a:gd name="connsiteX505" fmla="*/ 0 w 6710000"/>
              <a:gd name="connsiteY505" fmla="*/ 2740979 h 6858000"/>
              <a:gd name="connsiteX506" fmla="*/ 0 w 6710000"/>
              <a:gd name="connsiteY506" fmla="*/ 2669289 h 6858000"/>
              <a:gd name="connsiteX507" fmla="*/ 14734 w 6710000"/>
              <a:gd name="connsiteY507" fmla="*/ 2608334 h 6858000"/>
              <a:gd name="connsiteX508" fmla="*/ 56774 w 6710000"/>
              <a:gd name="connsiteY508" fmla="*/ 2432375 h 6858000"/>
              <a:gd name="connsiteX509" fmla="*/ 216257 w 6710000"/>
              <a:gd name="connsiteY509" fmla="*/ 65638 h 6858000"/>
              <a:gd name="connsiteX510" fmla="*/ 211917 w 6710000"/>
              <a:gd name="connsiteY510" fmla="*/ 1086 h 6858000"/>
              <a:gd name="connsiteX511" fmla="*/ 3332125 w 6710000"/>
              <a:gd name="connsiteY511" fmla="*/ 544 h 6858000"/>
              <a:gd name="connsiteX512" fmla="*/ 3348941 w 6710000"/>
              <a:gd name="connsiteY512" fmla="*/ 544 h 6858000"/>
              <a:gd name="connsiteX513" fmla="*/ 3088562 w 6710000"/>
              <a:gd name="connsiteY513" fmla="*/ 1605129 h 6858000"/>
              <a:gd name="connsiteX514" fmla="*/ 2929079 w 6710000"/>
              <a:gd name="connsiteY514" fmla="*/ 2051028 h 6858000"/>
              <a:gd name="connsiteX515" fmla="*/ 2639409 w 6710000"/>
              <a:gd name="connsiteY515" fmla="*/ 3002496 h 6858000"/>
              <a:gd name="connsiteX516" fmla="*/ 2711012 w 6710000"/>
              <a:gd name="connsiteY516" fmla="*/ 4340193 h 6858000"/>
              <a:gd name="connsiteX517" fmla="*/ 3622339 w 6710000"/>
              <a:gd name="connsiteY517" fmla="*/ 6346196 h 6858000"/>
              <a:gd name="connsiteX518" fmla="*/ 4017247 w 6710000"/>
              <a:gd name="connsiteY518" fmla="*/ 6742732 h 6858000"/>
              <a:gd name="connsiteX519" fmla="*/ 4153244 w 6710000"/>
              <a:gd name="connsiteY519" fmla="*/ 6858000 h 6858000"/>
              <a:gd name="connsiteX520" fmla="*/ 4131719 w 6710000"/>
              <a:gd name="connsiteY520" fmla="*/ 6858000 h 6858000"/>
              <a:gd name="connsiteX521" fmla="*/ 4000431 w 6710000"/>
              <a:gd name="connsiteY521" fmla="*/ 6747070 h 6858000"/>
              <a:gd name="connsiteX522" fmla="*/ 3605523 w 6710000"/>
              <a:gd name="connsiteY522" fmla="*/ 6350535 h 6858000"/>
              <a:gd name="connsiteX523" fmla="*/ 2694196 w 6710000"/>
              <a:gd name="connsiteY523" fmla="*/ 4341820 h 6858000"/>
              <a:gd name="connsiteX524" fmla="*/ 2622594 w 6710000"/>
              <a:gd name="connsiteY524" fmla="*/ 3001954 h 6858000"/>
              <a:gd name="connsiteX525" fmla="*/ 2912265 w 6710000"/>
              <a:gd name="connsiteY525" fmla="*/ 2048314 h 6858000"/>
              <a:gd name="connsiteX526" fmla="*/ 3071746 w 6710000"/>
              <a:gd name="connsiteY526" fmla="*/ 1602417 h 6858000"/>
              <a:gd name="connsiteX527" fmla="*/ 3332125 w 6710000"/>
              <a:gd name="connsiteY527" fmla="*/ 544 h 6858000"/>
              <a:gd name="connsiteX528" fmla="*/ 26939 w 6710000"/>
              <a:gd name="connsiteY528" fmla="*/ 544 h 6858000"/>
              <a:gd name="connsiteX529" fmla="*/ 43756 w 6710000"/>
              <a:gd name="connsiteY529" fmla="*/ 544 h 6858000"/>
              <a:gd name="connsiteX530" fmla="*/ 51892 w 6710000"/>
              <a:gd name="connsiteY530" fmla="*/ 106864 h 6858000"/>
              <a:gd name="connsiteX531" fmla="*/ 3605 w 6710000"/>
              <a:gd name="connsiteY531" fmla="*/ 1872585 h 6858000"/>
              <a:gd name="connsiteX532" fmla="*/ 0 w 6710000"/>
              <a:gd name="connsiteY532" fmla="*/ 1893117 h 6858000"/>
              <a:gd name="connsiteX533" fmla="*/ 0 w 6710000"/>
              <a:gd name="connsiteY533" fmla="*/ 1720977 h 6858000"/>
              <a:gd name="connsiteX534" fmla="*/ 46671 w 6710000"/>
              <a:gd name="connsiteY534" fmla="*/ 1272332 h 6858000"/>
              <a:gd name="connsiteX535" fmla="*/ 35076 w 6710000"/>
              <a:gd name="connsiteY535" fmla="*/ 106864 h 6858000"/>
              <a:gd name="connsiteX536" fmla="*/ 26939 w 6710000"/>
              <a:gd name="connsiteY536" fmla="*/ 544 h 6858000"/>
              <a:gd name="connsiteX537" fmla="*/ 3513847 w 6710000"/>
              <a:gd name="connsiteY537" fmla="*/ 0 h 6858000"/>
              <a:gd name="connsiteX538" fmla="*/ 3530663 w 6710000"/>
              <a:gd name="connsiteY538" fmla="*/ 0 h 6858000"/>
              <a:gd name="connsiteX539" fmla="*/ 3265944 w 6710000"/>
              <a:gd name="connsiteY539" fmla="*/ 1555224 h 6858000"/>
              <a:gd name="connsiteX540" fmla="*/ 3102124 w 6710000"/>
              <a:gd name="connsiteY540" fmla="*/ 2003834 h 6858000"/>
              <a:gd name="connsiteX541" fmla="*/ 2808112 w 6710000"/>
              <a:gd name="connsiteY541" fmla="*/ 2947165 h 6858000"/>
              <a:gd name="connsiteX542" fmla="*/ 2871036 w 6710000"/>
              <a:gd name="connsiteY542" fmla="*/ 4284862 h 6858000"/>
              <a:gd name="connsiteX543" fmla="*/ 3765548 w 6710000"/>
              <a:gd name="connsiteY543" fmla="*/ 6288695 h 6858000"/>
              <a:gd name="connsiteX544" fmla="*/ 4151774 w 6710000"/>
              <a:gd name="connsiteY544" fmla="*/ 6685231 h 6858000"/>
              <a:gd name="connsiteX545" fmla="*/ 4327448 w 6710000"/>
              <a:gd name="connsiteY545" fmla="*/ 6833830 h 6858000"/>
              <a:gd name="connsiteX546" fmla="*/ 4358784 w 6710000"/>
              <a:gd name="connsiteY546" fmla="*/ 6858000 h 6858000"/>
              <a:gd name="connsiteX547" fmla="*/ 4338751 w 6710000"/>
              <a:gd name="connsiteY547" fmla="*/ 6858000 h 6858000"/>
              <a:gd name="connsiteX548" fmla="*/ 4314974 w 6710000"/>
              <a:gd name="connsiteY548" fmla="*/ 6839584 h 6858000"/>
              <a:gd name="connsiteX549" fmla="*/ 4139300 w 6710000"/>
              <a:gd name="connsiteY549" fmla="*/ 6690112 h 6858000"/>
              <a:gd name="connsiteX550" fmla="*/ 3748732 w 6710000"/>
              <a:gd name="connsiteY550" fmla="*/ 6293577 h 6858000"/>
              <a:gd name="connsiteX551" fmla="*/ 2849882 w 6710000"/>
              <a:gd name="connsiteY551" fmla="*/ 4284862 h 6858000"/>
              <a:gd name="connsiteX552" fmla="*/ 2791295 w 6710000"/>
              <a:gd name="connsiteY552" fmla="*/ 2947165 h 6858000"/>
              <a:gd name="connsiteX553" fmla="*/ 3085308 w 6710000"/>
              <a:gd name="connsiteY553" fmla="*/ 2001123 h 6858000"/>
              <a:gd name="connsiteX554" fmla="*/ 3249128 w 6710000"/>
              <a:gd name="connsiteY554" fmla="*/ 1555224 h 6858000"/>
              <a:gd name="connsiteX555" fmla="*/ 3513847 w 6710000"/>
              <a:gd name="connsiteY55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</a:cxnLst>
            <a:rect l="l" t="t" r="r" b="b"/>
            <a:pathLst>
              <a:path w="6710000" h="6858000">
                <a:moveTo>
                  <a:pt x="0" y="6767133"/>
                </a:moveTo>
                <a:lnTo>
                  <a:pt x="61409" y="6858000"/>
                </a:lnTo>
                <a:lnTo>
                  <a:pt x="42656" y="6858000"/>
                </a:lnTo>
                <a:lnTo>
                  <a:pt x="0" y="6794901"/>
                </a:lnTo>
                <a:close/>
                <a:moveTo>
                  <a:pt x="0" y="6468280"/>
                </a:moveTo>
                <a:lnTo>
                  <a:pt x="72167" y="6593013"/>
                </a:lnTo>
                <a:cubicBezTo>
                  <a:pt x="123887" y="6676280"/>
                  <a:pt x="177772" y="6757157"/>
                  <a:pt x="233941" y="6835826"/>
                </a:cubicBezTo>
                <a:lnTo>
                  <a:pt x="250890" y="6858000"/>
                </a:lnTo>
                <a:lnTo>
                  <a:pt x="230297" y="6858000"/>
                </a:lnTo>
                <a:lnTo>
                  <a:pt x="217393" y="6841108"/>
                </a:lnTo>
                <a:cubicBezTo>
                  <a:pt x="161228" y="6762391"/>
                  <a:pt x="107343" y="6681451"/>
                  <a:pt x="55623" y="6598099"/>
                </a:cubicBezTo>
                <a:lnTo>
                  <a:pt x="0" y="6501837"/>
                </a:lnTo>
                <a:close/>
                <a:moveTo>
                  <a:pt x="0" y="6127856"/>
                </a:moveTo>
                <a:lnTo>
                  <a:pt x="74782" y="6280093"/>
                </a:lnTo>
                <a:cubicBezTo>
                  <a:pt x="133133" y="6390348"/>
                  <a:pt x="194722" y="6496524"/>
                  <a:pt x="259740" y="6599011"/>
                </a:cubicBezTo>
                <a:lnTo>
                  <a:pt x="439100" y="6858000"/>
                </a:lnTo>
                <a:lnTo>
                  <a:pt x="420644" y="6858000"/>
                </a:lnTo>
                <a:lnTo>
                  <a:pt x="243317" y="6602664"/>
                </a:lnTo>
                <a:cubicBezTo>
                  <a:pt x="177983" y="6499966"/>
                  <a:pt x="116078" y="6393575"/>
                  <a:pt x="57373" y="6283122"/>
                </a:cubicBezTo>
                <a:lnTo>
                  <a:pt x="0" y="6166955"/>
                </a:lnTo>
                <a:close/>
                <a:moveTo>
                  <a:pt x="0" y="5727262"/>
                </a:moveTo>
                <a:lnTo>
                  <a:pt x="93060" y="5950881"/>
                </a:lnTo>
                <a:cubicBezTo>
                  <a:pt x="219449" y="6232060"/>
                  <a:pt x="363554" y="6488065"/>
                  <a:pt x="528035" y="6723817"/>
                </a:cubicBezTo>
                <a:lnTo>
                  <a:pt x="626660" y="6858000"/>
                </a:lnTo>
                <a:lnTo>
                  <a:pt x="607172" y="6858000"/>
                </a:lnTo>
                <a:lnTo>
                  <a:pt x="511220" y="6727192"/>
                </a:lnTo>
                <a:cubicBezTo>
                  <a:pt x="346738" y="6491042"/>
                  <a:pt x="202633" y="6234878"/>
                  <a:pt x="76244" y="5953636"/>
                </a:cubicBezTo>
                <a:lnTo>
                  <a:pt x="0" y="5770403"/>
                </a:lnTo>
                <a:close/>
                <a:moveTo>
                  <a:pt x="0" y="5218362"/>
                </a:moveTo>
                <a:lnTo>
                  <a:pt x="23141" y="5299255"/>
                </a:lnTo>
                <a:cubicBezTo>
                  <a:pt x="193678" y="5825777"/>
                  <a:pt x="407015" y="6274320"/>
                  <a:pt x="677327" y="6667002"/>
                </a:cubicBezTo>
                <a:lnTo>
                  <a:pt x="818345" y="6858000"/>
                </a:lnTo>
                <a:lnTo>
                  <a:pt x="797399" y="6858000"/>
                </a:lnTo>
                <a:lnTo>
                  <a:pt x="659968" y="6671426"/>
                </a:lnTo>
                <a:cubicBezTo>
                  <a:pt x="389657" y="6277710"/>
                  <a:pt x="176319" y="5827472"/>
                  <a:pt x="5783" y="5299255"/>
                </a:cubicBezTo>
                <a:lnTo>
                  <a:pt x="0" y="5279204"/>
                </a:lnTo>
                <a:close/>
                <a:moveTo>
                  <a:pt x="0" y="4465450"/>
                </a:moveTo>
                <a:lnTo>
                  <a:pt x="5037" y="4510117"/>
                </a:lnTo>
                <a:cubicBezTo>
                  <a:pt x="41314" y="4738898"/>
                  <a:pt x="100171" y="4981918"/>
                  <a:pt x="182081" y="5242297"/>
                </a:cubicBezTo>
                <a:cubicBezTo>
                  <a:pt x="380622" y="5874123"/>
                  <a:pt x="642934" y="6393660"/>
                  <a:pt x="990300" y="6839127"/>
                </a:cubicBezTo>
                <a:lnTo>
                  <a:pt x="1006050" y="6858000"/>
                </a:lnTo>
                <a:lnTo>
                  <a:pt x="984214" y="6858000"/>
                </a:lnTo>
                <a:lnTo>
                  <a:pt x="972958" y="6844510"/>
                </a:lnTo>
                <a:cubicBezTo>
                  <a:pt x="625541" y="6398916"/>
                  <a:pt x="362721" y="5878870"/>
                  <a:pt x="160926" y="5245010"/>
                </a:cubicBezTo>
                <a:cubicBezTo>
                  <a:pt x="119971" y="5114685"/>
                  <a:pt x="85050" y="4988767"/>
                  <a:pt x="55970" y="4866800"/>
                </a:cubicBezTo>
                <a:lnTo>
                  <a:pt x="0" y="4583010"/>
                </a:lnTo>
                <a:close/>
                <a:moveTo>
                  <a:pt x="5126028" y="2170"/>
                </a:moveTo>
                <a:lnTo>
                  <a:pt x="5142843" y="2170"/>
                </a:lnTo>
                <a:cubicBezTo>
                  <a:pt x="5104872" y="380262"/>
                  <a:pt x="5012655" y="753473"/>
                  <a:pt x="4865649" y="1121800"/>
                </a:cubicBezTo>
                <a:cubicBezTo>
                  <a:pt x="4798383" y="1280198"/>
                  <a:pt x="4727323" y="1438052"/>
                  <a:pt x="4655718" y="1593737"/>
                </a:cubicBezTo>
                <a:cubicBezTo>
                  <a:pt x="4521190" y="1875815"/>
                  <a:pt x="4382863" y="2168741"/>
                  <a:pt x="4311259" y="2464379"/>
                </a:cubicBezTo>
                <a:cubicBezTo>
                  <a:pt x="4197884" y="2923297"/>
                  <a:pt x="4239655" y="3384927"/>
                  <a:pt x="4290102" y="3778751"/>
                </a:cubicBezTo>
                <a:cubicBezTo>
                  <a:pt x="4370386" y="4356466"/>
                  <a:pt x="4525528" y="5105599"/>
                  <a:pt x="5033811" y="5774448"/>
                </a:cubicBezTo>
                <a:cubicBezTo>
                  <a:pt x="5134164" y="5912231"/>
                  <a:pt x="5256216" y="6046760"/>
                  <a:pt x="5386407" y="6176406"/>
                </a:cubicBezTo>
                <a:cubicBezTo>
                  <a:pt x="5602575" y="6387694"/>
                  <a:pt x="5852376" y="6587996"/>
                  <a:pt x="6134792" y="6775957"/>
                </a:cubicBezTo>
                <a:lnTo>
                  <a:pt x="6263750" y="6858000"/>
                </a:lnTo>
                <a:lnTo>
                  <a:pt x="6240757" y="6858000"/>
                </a:lnTo>
                <a:lnTo>
                  <a:pt x="6121638" y="6782466"/>
                </a:lnTo>
                <a:cubicBezTo>
                  <a:pt x="5838137" y="6594234"/>
                  <a:pt x="5588200" y="6393389"/>
                  <a:pt x="5373930" y="6180746"/>
                </a:cubicBezTo>
                <a:cubicBezTo>
                  <a:pt x="5239400" y="6051099"/>
                  <a:pt x="5122231" y="5916027"/>
                  <a:pt x="5016994" y="5778787"/>
                </a:cubicBezTo>
                <a:cubicBezTo>
                  <a:pt x="4508712" y="5107226"/>
                  <a:pt x="4353027" y="4358094"/>
                  <a:pt x="4273287" y="3777665"/>
                </a:cubicBezTo>
                <a:cubicBezTo>
                  <a:pt x="4219039" y="3386011"/>
                  <a:pt x="4181069" y="2922213"/>
                  <a:pt x="4294441" y="2463294"/>
                </a:cubicBezTo>
                <a:cubicBezTo>
                  <a:pt x="4365504" y="2165487"/>
                  <a:pt x="4504372" y="1872559"/>
                  <a:pt x="4634562" y="1589939"/>
                </a:cubicBezTo>
                <a:cubicBezTo>
                  <a:pt x="4709963" y="1434254"/>
                  <a:pt x="4781568" y="1275859"/>
                  <a:pt x="4844493" y="1118004"/>
                </a:cubicBezTo>
                <a:cubicBezTo>
                  <a:pt x="4991498" y="750219"/>
                  <a:pt x="5088056" y="377008"/>
                  <a:pt x="5126028" y="2170"/>
                </a:cubicBezTo>
                <a:close/>
                <a:moveTo>
                  <a:pt x="5302868" y="1628"/>
                </a:moveTo>
                <a:lnTo>
                  <a:pt x="5319685" y="1628"/>
                </a:lnTo>
                <a:cubicBezTo>
                  <a:pt x="5277915" y="361818"/>
                  <a:pt x="5185156" y="719297"/>
                  <a:pt x="5042488" y="1071894"/>
                </a:cubicBezTo>
                <a:cubicBezTo>
                  <a:pt x="4975223" y="1229749"/>
                  <a:pt x="4899824" y="1390316"/>
                  <a:pt x="4828219" y="1546001"/>
                </a:cubicBezTo>
                <a:cubicBezTo>
                  <a:pt x="4693688" y="1825909"/>
                  <a:pt x="4554822" y="2116123"/>
                  <a:pt x="4479419" y="2411762"/>
                </a:cubicBezTo>
                <a:cubicBezTo>
                  <a:pt x="4361707" y="2865254"/>
                  <a:pt x="4399678" y="3329055"/>
                  <a:pt x="4450126" y="3720708"/>
                </a:cubicBezTo>
                <a:cubicBezTo>
                  <a:pt x="4526070" y="4298424"/>
                  <a:pt x="4676873" y="5047556"/>
                  <a:pt x="5172679" y="5716404"/>
                </a:cubicBezTo>
                <a:cubicBezTo>
                  <a:pt x="5277373" y="5854188"/>
                  <a:pt x="5395086" y="5988718"/>
                  <a:pt x="5525274" y="6118364"/>
                </a:cubicBezTo>
                <a:cubicBezTo>
                  <a:pt x="5739545" y="6331007"/>
                  <a:pt x="5988396" y="6531987"/>
                  <a:pt x="6269795" y="6720287"/>
                </a:cubicBezTo>
                <a:lnTo>
                  <a:pt x="6485166" y="6858000"/>
                </a:lnTo>
                <a:lnTo>
                  <a:pt x="6459959" y="6858000"/>
                </a:lnTo>
                <a:lnTo>
                  <a:pt x="6254606" y="6726797"/>
                </a:lnTo>
                <a:cubicBezTo>
                  <a:pt x="5972123" y="6537955"/>
                  <a:pt x="5722186" y="6336432"/>
                  <a:pt x="5507917" y="6123789"/>
                </a:cubicBezTo>
                <a:cubicBezTo>
                  <a:pt x="5377726" y="5994143"/>
                  <a:pt x="5260557" y="5859071"/>
                  <a:pt x="5155319" y="5721828"/>
                </a:cubicBezTo>
                <a:cubicBezTo>
                  <a:pt x="4655176" y="5050268"/>
                  <a:pt x="4508170" y="4301679"/>
                  <a:pt x="4432767" y="3723420"/>
                </a:cubicBezTo>
                <a:cubicBezTo>
                  <a:pt x="4382319" y="3329055"/>
                  <a:pt x="4344347" y="2865254"/>
                  <a:pt x="4462062" y="2409049"/>
                </a:cubicBezTo>
                <a:cubicBezTo>
                  <a:pt x="4537462" y="2113410"/>
                  <a:pt x="4676331" y="1823196"/>
                  <a:pt x="4806521" y="1543289"/>
                </a:cubicBezTo>
                <a:cubicBezTo>
                  <a:pt x="4882464" y="1388146"/>
                  <a:pt x="4957866" y="1227037"/>
                  <a:pt x="5025132" y="1069182"/>
                </a:cubicBezTo>
                <a:cubicBezTo>
                  <a:pt x="5168338" y="719297"/>
                  <a:pt x="5260557" y="361276"/>
                  <a:pt x="5302868" y="1628"/>
                </a:cubicBezTo>
                <a:close/>
                <a:moveTo>
                  <a:pt x="4949188" y="1628"/>
                </a:moveTo>
                <a:lnTo>
                  <a:pt x="4966003" y="1628"/>
                </a:lnTo>
                <a:cubicBezTo>
                  <a:pt x="4928032" y="395452"/>
                  <a:pt x="4835812" y="784392"/>
                  <a:pt x="4684468" y="1167910"/>
                </a:cubicBezTo>
                <a:cubicBezTo>
                  <a:pt x="4625882" y="1326306"/>
                  <a:pt x="4550481" y="1484161"/>
                  <a:pt x="4478877" y="1639846"/>
                </a:cubicBezTo>
                <a:cubicBezTo>
                  <a:pt x="4348688" y="1925179"/>
                  <a:pt x="4214701" y="2220274"/>
                  <a:pt x="4143096" y="2518625"/>
                </a:cubicBezTo>
                <a:cubicBezTo>
                  <a:pt x="4034062" y="2979712"/>
                  <a:pt x="4076375" y="3441343"/>
                  <a:pt x="4134959" y="3835167"/>
                </a:cubicBezTo>
                <a:cubicBezTo>
                  <a:pt x="4219039" y="4412883"/>
                  <a:pt x="4378523" y="5162014"/>
                  <a:pt x="4891144" y="5830862"/>
                </a:cubicBezTo>
                <a:cubicBezTo>
                  <a:pt x="4996382" y="5968646"/>
                  <a:pt x="5117890" y="6103176"/>
                  <a:pt x="5252419" y="6232823"/>
                </a:cubicBezTo>
                <a:cubicBezTo>
                  <a:pt x="5466689" y="6442753"/>
                  <a:pt x="5717711" y="6642377"/>
                  <a:pt x="6002296" y="6830338"/>
                </a:cubicBezTo>
                <a:lnTo>
                  <a:pt x="6046090" y="6858000"/>
                </a:lnTo>
                <a:lnTo>
                  <a:pt x="6022791" y="6858000"/>
                </a:lnTo>
                <a:lnTo>
                  <a:pt x="5990091" y="6837390"/>
                </a:lnTo>
                <a:cubicBezTo>
                  <a:pt x="5704556" y="6649158"/>
                  <a:pt x="5452586" y="6448992"/>
                  <a:pt x="5236146" y="6237705"/>
                </a:cubicBezTo>
                <a:cubicBezTo>
                  <a:pt x="5101617" y="6108057"/>
                  <a:pt x="4980107" y="5972985"/>
                  <a:pt x="4874871" y="5835744"/>
                </a:cubicBezTo>
                <a:cubicBezTo>
                  <a:pt x="4362249" y="5164183"/>
                  <a:pt x="4198428" y="4412883"/>
                  <a:pt x="4114346" y="3834624"/>
                </a:cubicBezTo>
                <a:cubicBezTo>
                  <a:pt x="4059558" y="3440800"/>
                  <a:pt x="4017789" y="2976999"/>
                  <a:pt x="4126822" y="2515371"/>
                </a:cubicBezTo>
                <a:cubicBezTo>
                  <a:pt x="4197884" y="2217020"/>
                  <a:pt x="4332415" y="1921924"/>
                  <a:pt x="4462604" y="1636591"/>
                </a:cubicBezTo>
                <a:cubicBezTo>
                  <a:pt x="4533665" y="1480906"/>
                  <a:pt x="4605270" y="1322509"/>
                  <a:pt x="4668195" y="1164654"/>
                </a:cubicBezTo>
                <a:cubicBezTo>
                  <a:pt x="4819539" y="783850"/>
                  <a:pt x="4911759" y="392740"/>
                  <a:pt x="4949188" y="1628"/>
                </a:cubicBezTo>
                <a:close/>
                <a:moveTo>
                  <a:pt x="4768549" y="1628"/>
                </a:moveTo>
                <a:lnTo>
                  <a:pt x="4785365" y="1628"/>
                </a:lnTo>
                <a:cubicBezTo>
                  <a:pt x="4756073" y="411184"/>
                  <a:pt x="4663312" y="818026"/>
                  <a:pt x="4508170" y="1217273"/>
                </a:cubicBezTo>
                <a:cubicBezTo>
                  <a:pt x="4449042" y="1375670"/>
                  <a:pt x="4377980" y="1533524"/>
                  <a:pt x="4306375" y="1686497"/>
                </a:cubicBezTo>
                <a:cubicBezTo>
                  <a:pt x="4179983" y="1973999"/>
                  <a:pt x="4045997" y="2272351"/>
                  <a:pt x="3974392" y="2572871"/>
                </a:cubicBezTo>
                <a:cubicBezTo>
                  <a:pt x="3869156" y="3033959"/>
                  <a:pt x="3915807" y="3497758"/>
                  <a:pt x="3974392" y="3889412"/>
                </a:cubicBezTo>
                <a:cubicBezTo>
                  <a:pt x="4062270" y="4467670"/>
                  <a:pt x="4230432" y="5216259"/>
                  <a:pt x="4751189" y="5887821"/>
                </a:cubicBezTo>
                <a:cubicBezTo>
                  <a:pt x="4856425" y="6025604"/>
                  <a:pt x="4977938" y="6160133"/>
                  <a:pt x="5112467" y="6289780"/>
                </a:cubicBezTo>
                <a:cubicBezTo>
                  <a:pt x="5274593" y="6446211"/>
                  <a:pt x="5457468" y="6597225"/>
                  <a:pt x="5659720" y="6742109"/>
                </a:cubicBezTo>
                <a:lnTo>
                  <a:pt x="5829044" y="6858000"/>
                </a:lnTo>
                <a:lnTo>
                  <a:pt x="5805955" y="6858000"/>
                </a:lnTo>
                <a:lnTo>
                  <a:pt x="5646726" y="6749042"/>
                </a:lnTo>
                <a:cubicBezTo>
                  <a:pt x="5443839" y="6603761"/>
                  <a:pt x="5259946" y="6452111"/>
                  <a:pt x="5096192" y="6294663"/>
                </a:cubicBezTo>
                <a:cubicBezTo>
                  <a:pt x="4961663" y="6165016"/>
                  <a:pt x="4840154" y="6029944"/>
                  <a:pt x="4734917" y="5892702"/>
                </a:cubicBezTo>
                <a:cubicBezTo>
                  <a:pt x="4214159" y="5218429"/>
                  <a:pt x="4046539" y="4469839"/>
                  <a:pt x="3958119" y="3891582"/>
                </a:cubicBezTo>
                <a:cubicBezTo>
                  <a:pt x="3899533" y="3497758"/>
                  <a:pt x="3852883" y="3033416"/>
                  <a:pt x="3958119" y="2569615"/>
                </a:cubicBezTo>
                <a:cubicBezTo>
                  <a:pt x="4029723" y="2269095"/>
                  <a:pt x="4164253" y="1970744"/>
                  <a:pt x="4290102" y="1683243"/>
                </a:cubicBezTo>
                <a:cubicBezTo>
                  <a:pt x="4361707" y="1530269"/>
                  <a:pt x="4433312" y="1371873"/>
                  <a:pt x="4491897" y="1214017"/>
                </a:cubicBezTo>
                <a:cubicBezTo>
                  <a:pt x="4647039" y="814770"/>
                  <a:pt x="4739799" y="410640"/>
                  <a:pt x="4768549" y="1628"/>
                </a:cubicBezTo>
                <a:close/>
                <a:moveTo>
                  <a:pt x="4591166" y="1628"/>
                </a:moveTo>
                <a:lnTo>
                  <a:pt x="4607983" y="1628"/>
                </a:lnTo>
                <a:cubicBezTo>
                  <a:pt x="4578691" y="426914"/>
                  <a:pt x="4485930" y="849488"/>
                  <a:pt x="4330786" y="1266636"/>
                </a:cubicBezTo>
                <a:cubicBezTo>
                  <a:pt x="4272201" y="1421778"/>
                  <a:pt x="4200599" y="1580176"/>
                  <a:pt x="4133333" y="1730437"/>
                </a:cubicBezTo>
                <a:cubicBezTo>
                  <a:pt x="4007482" y="2023362"/>
                  <a:pt x="3877293" y="2323884"/>
                  <a:pt x="3810028" y="2627116"/>
                </a:cubicBezTo>
                <a:cubicBezTo>
                  <a:pt x="3705334" y="3090916"/>
                  <a:pt x="3755783" y="3554716"/>
                  <a:pt x="3814368" y="3946370"/>
                </a:cubicBezTo>
                <a:cubicBezTo>
                  <a:pt x="3906585" y="4524628"/>
                  <a:pt x="4078544" y="5273217"/>
                  <a:pt x="4607983" y="5944777"/>
                </a:cubicBezTo>
                <a:cubicBezTo>
                  <a:pt x="4717559" y="6082563"/>
                  <a:pt x="4839067" y="6217092"/>
                  <a:pt x="4973597" y="6346738"/>
                </a:cubicBezTo>
                <a:cubicBezTo>
                  <a:pt x="5137351" y="6502152"/>
                  <a:pt x="5321167" y="6652150"/>
                  <a:pt x="5524416" y="6796302"/>
                </a:cubicBezTo>
                <a:lnTo>
                  <a:pt x="5615411" y="6858000"/>
                </a:lnTo>
                <a:lnTo>
                  <a:pt x="5592917" y="6858000"/>
                </a:lnTo>
                <a:lnTo>
                  <a:pt x="5512626" y="6803376"/>
                </a:lnTo>
                <a:cubicBezTo>
                  <a:pt x="5309309" y="6658683"/>
                  <a:pt x="5125417" y="6508050"/>
                  <a:pt x="4961663" y="6351619"/>
                </a:cubicBezTo>
                <a:cubicBezTo>
                  <a:pt x="4823336" y="6221973"/>
                  <a:pt x="4701284" y="6086902"/>
                  <a:pt x="4592250" y="5949660"/>
                </a:cubicBezTo>
                <a:cubicBezTo>
                  <a:pt x="4063356" y="5275386"/>
                  <a:pt x="3890855" y="4526797"/>
                  <a:pt x="3798637" y="3948538"/>
                </a:cubicBezTo>
                <a:cubicBezTo>
                  <a:pt x="3735712" y="3554174"/>
                  <a:pt x="3689604" y="3090374"/>
                  <a:pt x="3790500" y="2623862"/>
                </a:cubicBezTo>
                <a:cubicBezTo>
                  <a:pt x="3857764" y="2320629"/>
                  <a:pt x="3992294" y="2020108"/>
                  <a:pt x="4118143" y="1727181"/>
                </a:cubicBezTo>
                <a:cubicBezTo>
                  <a:pt x="4185408" y="1576921"/>
                  <a:pt x="4257012" y="1419067"/>
                  <a:pt x="4315597" y="1263380"/>
                </a:cubicBezTo>
                <a:cubicBezTo>
                  <a:pt x="4470741" y="848402"/>
                  <a:pt x="4563500" y="426371"/>
                  <a:pt x="4591166" y="1628"/>
                </a:cubicBezTo>
                <a:close/>
                <a:moveTo>
                  <a:pt x="4411613" y="1628"/>
                </a:moveTo>
                <a:lnTo>
                  <a:pt x="4428428" y="1628"/>
                </a:lnTo>
                <a:cubicBezTo>
                  <a:pt x="4407816" y="442646"/>
                  <a:pt x="4315055" y="883119"/>
                  <a:pt x="4155574" y="1316000"/>
                </a:cubicBezTo>
                <a:cubicBezTo>
                  <a:pt x="4096988" y="1471685"/>
                  <a:pt x="4029723" y="1627370"/>
                  <a:pt x="3962458" y="1777631"/>
                </a:cubicBezTo>
                <a:cubicBezTo>
                  <a:pt x="3836608" y="2070556"/>
                  <a:pt x="3706420" y="2373789"/>
                  <a:pt x="3643494" y="2679735"/>
                </a:cubicBezTo>
                <a:cubicBezTo>
                  <a:pt x="3542598" y="3151671"/>
                  <a:pt x="3597386" y="3633914"/>
                  <a:pt x="3660310" y="4004412"/>
                </a:cubicBezTo>
                <a:cubicBezTo>
                  <a:pt x="3756869" y="4582670"/>
                  <a:pt x="3933709" y="5331260"/>
                  <a:pt x="4466944" y="6002821"/>
                </a:cubicBezTo>
                <a:cubicBezTo>
                  <a:pt x="4575976" y="6140606"/>
                  <a:pt x="4701826" y="6275134"/>
                  <a:pt x="4840696" y="6404781"/>
                </a:cubicBezTo>
                <a:cubicBezTo>
                  <a:pt x="5004450" y="6559381"/>
                  <a:pt x="5188877" y="6708794"/>
                  <a:pt x="5392889" y="6852676"/>
                </a:cubicBezTo>
                <a:lnTo>
                  <a:pt x="5400780" y="6858000"/>
                </a:lnTo>
                <a:lnTo>
                  <a:pt x="5377398" y="6858000"/>
                </a:lnTo>
                <a:lnTo>
                  <a:pt x="5181205" y="6713413"/>
                </a:lnTo>
                <a:cubicBezTo>
                  <a:pt x="5053304" y="6614678"/>
                  <a:pt x="4934133" y="6513408"/>
                  <a:pt x="4823879" y="6409663"/>
                </a:cubicBezTo>
                <a:cubicBezTo>
                  <a:pt x="4685552" y="6280015"/>
                  <a:pt x="4563500" y="6144944"/>
                  <a:pt x="4454468" y="6007703"/>
                </a:cubicBezTo>
                <a:cubicBezTo>
                  <a:pt x="3916892" y="5333430"/>
                  <a:pt x="3736254" y="4582128"/>
                  <a:pt x="3644036" y="4003870"/>
                </a:cubicBezTo>
                <a:cubicBezTo>
                  <a:pt x="3581112" y="3635542"/>
                  <a:pt x="3521983" y="3151128"/>
                  <a:pt x="3627220" y="2679193"/>
                </a:cubicBezTo>
                <a:cubicBezTo>
                  <a:pt x="3690146" y="2373247"/>
                  <a:pt x="3820334" y="2067301"/>
                  <a:pt x="3946184" y="1774375"/>
                </a:cubicBezTo>
                <a:cubicBezTo>
                  <a:pt x="4012907" y="1623573"/>
                  <a:pt x="4080171" y="1468430"/>
                  <a:pt x="4134959" y="1312746"/>
                </a:cubicBezTo>
                <a:cubicBezTo>
                  <a:pt x="4298782" y="879865"/>
                  <a:pt x="4390999" y="441560"/>
                  <a:pt x="4411613" y="1628"/>
                </a:cubicBezTo>
                <a:close/>
                <a:moveTo>
                  <a:pt x="3875123" y="1628"/>
                </a:moveTo>
                <a:lnTo>
                  <a:pt x="3891940" y="1628"/>
                </a:lnTo>
                <a:cubicBezTo>
                  <a:pt x="3878920" y="491467"/>
                  <a:pt x="3791042" y="978592"/>
                  <a:pt x="3622881" y="1460836"/>
                </a:cubicBezTo>
                <a:cubicBezTo>
                  <a:pt x="3568635" y="1613808"/>
                  <a:pt x="3505168" y="1766780"/>
                  <a:pt x="3446582" y="1914329"/>
                </a:cubicBezTo>
                <a:cubicBezTo>
                  <a:pt x="3325072" y="2215392"/>
                  <a:pt x="3198680" y="2528932"/>
                  <a:pt x="3140095" y="2842471"/>
                </a:cubicBezTo>
                <a:cubicBezTo>
                  <a:pt x="3051677" y="3319290"/>
                  <a:pt x="3114600" y="3803704"/>
                  <a:pt x="3186204" y="4172031"/>
                </a:cubicBezTo>
                <a:cubicBezTo>
                  <a:pt x="3290899" y="4750289"/>
                  <a:pt x="3488351" y="5499422"/>
                  <a:pt x="4047082" y="6173153"/>
                </a:cubicBezTo>
                <a:cubicBezTo>
                  <a:pt x="4160455" y="6310393"/>
                  <a:pt x="4286847" y="6445465"/>
                  <a:pt x="4429513" y="6572400"/>
                </a:cubicBezTo>
                <a:cubicBezTo>
                  <a:pt x="4484641" y="6623256"/>
                  <a:pt x="4542192" y="6673628"/>
                  <a:pt x="4602120" y="6723496"/>
                </a:cubicBezTo>
                <a:lnTo>
                  <a:pt x="4771866" y="6858000"/>
                </a:lnTo>
                <a:lnTo>
                  <a:pt x="4748471" y="6858000"/>
                </a:lnTo>
                <a:lnTo>
                  <a:pt x="4586735" y="6730859"/>
                </a:lnTo>
                <a:cubicBezTo>
                  <a:pt x="4526392" y="6681171"/>
                  <a:pt x="4468366" y="6631053"/>
                  <a:pt x="4412697" y="6580537"/>
                </a:cubicBezTo>
                <a:cubicBezTo>
                  <a:pt x="4269490" y="6450890"/>
                  <a:pt x="4143639" y="6315818"/>
                  <a:pt x="4030265" y="6178577"/>
                </a:cubicBezTo>
                <a:cubicBezTo>
                  <a:pt x="3472078" y="5501592"/>
                  <a:pt x="3274625" y="4750289"/>
                  <a:pt x="3169387" y="4174744"/>
                </a:cubicBezTo>
                <a:cubicBezTo>
                  <a:pt x="3098327" y="3804247"/>
                  <a:pt x="3031061" y="3319290"/>
                  <a:pt x="3123279" y="2839759"/>
                </a:cubicBezTo>
                <a:cubicBezTo>
                  <a:pt x="3181863" y="2525677"/>
                  <a:pt x="3307714" y="2214850"/>
                  <a:pt x="3429766" y="1911616"/>
                </a:cubicBezTo>
                <a:cubicBezTo>
                  <a:pt x="3488351" y="1764068"/>
                  <a:pt x="3551277" y="1611096"/>
                  <a:pt x="3606065" y="1458123"/>
                </a:cubicBezTo>
                <a:cubicBezTo>
                  <a:pt x="3774227" y="978592"/>
                  <a:pt x="3862647" y="491467"/>
                  <a:pt x="3875123" y="1628"/>
                </a:cubicBezTo>
                <a:close/>
                <a:moveTo>
                  <a:pt x="2967596" y="1628"/>
                </a:moveTo>
                <a:lnTo>
                  <a:pt x="2984412" y="1628"/>
                </a:lnTo>
                <a:cubicBezTo>
                  <a:pt x="2996886" y="569037"/>
                  <a:pt x="2912807" y="1139159"/>
                  <a:pt x="2736509" y="1704398"/>
                </a:cubicBezTo>
                <a:cubicBezTo>
                  <a:pt x="2690400" y="1849777"/>
                  <a:pt x="2635610" y="1997325"/>
                  <a:pt x="2585163" y="2139990"/>
                </a:cubicBezTo>
                <a:cubicBezTo>
                  <a:pt x="2471790" y="2456243"/>
                  <a:pt x="2354078" y="2782801"/>
                  <a:pt x="2303629" y="3112071"/>
                </a:cubicBezTo>
                <a:cubicBezTo>
                  <a:pt x="2248841" y="3492877"/>
                  <a:pt x="2273794" y="3918163"/>
                  <a:pt x="2395845" y="4454651"/>
                </a:cubicBezTo>
                <a:cubicBezTo>
                  <a:pt x="2584622" y="5309562"/>
                  <a:pt x="2874835" y="5929048"/>
                  <a:pt x="3340804" y="6460655"/>
                </a:cubicBezTo>
                <a:cubicBezTo>
                  <a:pt x="3458517" y="6595183"/>
                  <a:pt x="3593046" y="6730254"/>
                  <a:pt x="3740052" y="6857190"/>
                </a:cubicBezTo>
                <a:lnTo>
                  <a:pt x="3741038" y="6858000"/>
                </a:lnTo>
                <a:lnTo>
                  <a:pt x="3722011" y="6858000"/>
                </a:lnTo>
                <a:lnTo>
                  <a:pt x="3516695" y="6667737"/>
                </a:lnTo>
                <a:cubicBezTo>
                  <a:pt x="3449566" y="6601286"/>
                  <a:pt x="3385556" y="6533885"/>
                  <a:pt x="3324530" y="6466620"/>
                </a:cubicBezTo>
                <a:cubicBezTo>
                  <a:pt x="2858019" y="5932843"/>
                  <a:pt x="2568346" y="5313359"/>
                  <a:pt x="2375233" y="4455193"/>
                </a:cubicBezTo>
                <a:cubicBezTo>
                  <a:pt x="2303629" y="4118328"/>
                  <a:pt x="2211411" y="3612759"/>
                  <a:pt x="2286813" y="3109903"/>
                </a:cubicBezTo>
                <a:cubicBezTo>
                  <a:pt x="2337259" y="2780631"/>
                  <a:pt x="2454974" y="2454072"/>
                  <a:pt x="2568346" y="2137821"/>
                </a:cubicBezTo>
                <a:cubicBezTo>
                  <a:pt x="2618794" y="1995155"/>
                  <a:pt x="2669244" y="1847607"/>
                  <a:pt x="2715351" y="1702229"/>
                </a:cubicBezTo>
                <a:cubicBezTo>
                  <a:pt x="2895991" y="1139701"/>
                  <a:pt x="2980072" y="569037"/>
                  <a:pt x="2967596" y="1628"/>
                </a:cubicBezTo>
                <a:close/>
                <a:moveTo>
                  <a:pt x="2781533" y="1628"/>
                </a:moveTo>
                <a:lnTo>
                  <a:pt x="2802687" y="1628"/>
                </a:lnTo>
                <a:cubicBezTo>
                  <a:pt x="2815165" y="584768"/>
                  <a:pt x="2735423" y="1170621"/>
                  <a:pt x="2554787" y="1751050"/>
                </a:cubicBezTo>
                <a:cubicBezTo>
                  <a:pt x="2513016" y="1896428"/>
                  <a:pt x="2462569" y="2043975"/>
                  <a:pt x="2412119" y="2183930"/>
                </a:cubicBezTo>
                <a:cubicBezTo>
                  <a:pt x="2298746" y="2502894"/>
                  <a:pt x="2185374" y="2834335"/>
                  <a:pt x="2139264" y="3163606"/>
                </a:cubicBezTo>
                <a:cubicBezTo>
                  <a:pt x="2084476" y="3547122"/>
                  <a:pt x="2113768" y="3975120"/>
                  <a:pt x="2235821" y="4508896"/>
                </a:cubicBezTo>
                <a:cubicBezTo>
                  <a:pt x="2357331" y="5039961"/>
                  <a:pt x="2588418" y="5828150"/>
                  <a:pt x="3197595" y="6517612"/>
                </a:cubicBezTo>
                <a:cubicBezTo>
                  <a:pt x="3258350" y="6584877"/>
                  <a:pt x="3322360" y="6652277"/>
                  <a:pt x="3390100" y="6718728"/>
                </a:cubicBezTo>
                <a:lnTo>
                  <a:pt x="3543243" y="6858000"/>
                </a:lnTo>
                <a:lnTo>
                  <a:pt x="3521208" y="6858000"/>
                </a:lnTo>
                <a:lnTo>
                  <a:pt x="3375656" y="6724152"/>
                </a:lnTo>
                <a:cubicBezTo>
                  <a:pt x="3307985" y="6657701"/>
                  <a:pt x="3243975" y="6590301"/>
                  <a:pt x="3185119" y="6523037"/>
                </a:cubicBezTo>
                <a:cubicBezTo>
                  <a:pt x="2571602" y="5830862"/>
                  <a:pt x="2341058" y="5043217"/>
                  <a:pt x="2219005" y="4511610"/>
                </a:cubicBezTo>
                <a:cubicBezTo>
                  <a:pt x="2096953" y="3977288"/>
                  <a:pt x="2063319" y="3547122"/>
                  <a:pt x="2118109" y="3163606"/>
                </a:cubicBezTo>
                <a:cubicBezTo>
                  <a:pt x="2168558" y="2831622"/>
                  <a:pt x="2281931" y="2502894"/>
                  <a:pt x="2395304" y="2181217"/>
                </a:cubicBezTo>
                <a:cubicBezTo>
                  <a:pt x="2441413" y="2041264"/>
                  <a:pt x="2496201" y="1896428"/>
                  <a:pt x="2537968" y="1751050"/>
                </a:cubicBezTo>
                <a:cubicBezTo>
                  <a:pt x="2718608" y="1170621"/>
                  <a:pt x="2798349" y="584768"/>
                  <a:pt x="2781533" y="1628"/>
                </a:cubicBezTo>
                <a:close/>
                <a:moveTo>
                  <a:pt x="2601437" y="1628"/>
                </a:moveTo>
                <a:lnTo>
                  <a:pt x="2618253" y="1628"/>
                </a:lnTo>
                <a:cubicBezTo>
                  <a:pt x="2639409" y="600500"/>
                  <a:pt x="2559668" y="1204254"/>
                  <a:pt x="2379030" y="1800413"/>
                </a:cubicBezTo>
                <a:cubicBezTo>
                  <a:pt x="2336718" y="1945249"/>
                  <a:pt x="2286271" y="2087915"/>
                  <a:pt x="2240161" y="2227868"/>
                </a:cubicBezTo>
                <a:cubicBezTo>
                  <a:pt x="2130585" y="2551716"/>
                  <a:pt x="2017211" y="2883698"/>
                  <a:pt x="1971101" y="3217851"/>
                </a:cubicBezTo>
                <a:cubicBezTo>
                  <a:pt x="1916858" y="3604080"/>
                  <a:pt x="1954286" y="4032077"/>
                  <a:pt x="2076338" y="4565854"/>
                </a:cubicBezTo>
                <a:cubicBezTo>
                  <a:pt x="2278133" y="5411000"/>
                  <a:pt x="2588958" y="6048387"/>
                  <a:pt x="3059271" y="6574569"/>
                </a:cubicBezTo>
                <a:cubicBezTo>
                  <a:pt x="3120025" y="6641834"/>
                  <a:pt x="3184034" y="6709234"/>
                  <a:pt x="3251774" y="6775685"/>
                </a:cubicBezTo>
                <a:lnTo>
                  <a:pt x="3342286" y="6858000"/>
                </a:lnTo>
                <a:lnTo>
                  <a:pt x="3323253" y="6858000"/>
                </a:lnTo>
                <a:lnTo>
                  <a:pt x="3237330" y="6780568"/>
                </a:lnTo>
                <a:cubicBezTo>
                  <a:pt x="3168574" y="6714117"/>
                  <a:pt x="3103480" y="6646716"/>
                  <a:pt x="3042453" y="6579451"/>
                </a:cubicBezTo>
                <a:cubicBezTo>
                  <a:pt x="2572143" y="6053269"/>
                  <a:pt x="2256977" y="5413172"/>
                  <a:pt x="2059523" y="4568025"/>
                </a:cubicBezTo>
                <a:cubicBezTo>
                  <a:pt x="1933131" y="4034247"/>
                  <a:pt x="1899498" y="3604080"/>
                  <a:pt x="1954286" y="3217851"/>
                </a:cubicBezTo>
                <a:cubicBezTo>
                  <a:pt x="1996598" y="2883698"/>
                  <a:pt x="2109971" y="2549544"/>
                  <a:pt x="2223343" y="2227868"/>
                </a:cubicBezTo>
                <a:cubicBezTo>
                  <a:pt x="2269997" y="2087915"/>
                  <a:pt x="2320443" y="1943079"/>
                  <a:pt x="2362214" y="1797702"/>
                </a:cubicBezTo>
                <a:cubicBezTo>
                  <a:pt x="2542852" y="1201541"/>
                  <a:pt x="2622594" y="597787"/>
                  <a:pt x="2601437" y="1628"/>
                </a:cubicBezTo>
                <a:close/>
                <a:moveTo>
                  <a:pt x="2417001" y="1628"/>
                </a:moveTo>
                <a:lnTo>
                  <a:pt x="2438158" y="1628"/>
                </a:lnTo>
                <a:cubicBezTo>
                  <a:pt x="2463111" y="616231"/>
                  <a:pt x="2383370" y="1235717"/>
                  <a:pt x="2202731" y="1849777"/>
                </a:cubicBezTo>
                <a:cubicBezTo>
                  <a:pt x="2160420" y="1992442"/>
                  <a:pt x="2114310" y="2135108"/>
                  <a:pt x="2068202" y="2275062"/>
                </a:cubicBezTo>
                <a:cubicBezTo>
                  <a:pt x="1958626" y="2599451"/>
                  <a:pt x="1845253" y="2936316"/>
                  <a:pt x="1803485" y="3273182"/>
                </a:cubicBezTo>
                <a:cubicBezTo>
                  <a:pt x="1753036" y="3661580"/>
                  <a:pt x="1791007" y="4089578"/>
                  <a:pt x="1921196" y="4623354"/>
                </a:cubicBezTo>
                <a:cubicBezTo>
                  <a:pt x="2122990" y="5468502"/>
                  <a:pt x="2441954" y="6105888"/>
                  <a:pt x="2916605" y="6632070"/>
                </a:cubicBezTo>
                <a:cubicBezTo>
                  <a:pt x="2977631" y="6699334"/>
                  <a:pt x="3042726" y="6766734"/>
                  <a:pt x="3111482" y="6833185"/>
                </a:cubicBezTo>
                <a:lnTo>
                  <a:pt x="3139018" y="6858000"/>
                </a:lnTo>
                <a:lnTo>
                  <a:pt x="3120520" y="6858000"/>
                </a:lnTo>
                <a:lnTo>
                  <a:pt x="3099004" y="6838611"/>
                </a:lnTo>
                <a:cubicBezTo>
                  <a:pt x="3030248" y="6772160"/>
                  <a:pt x="2965153" y="6704760"/>
                  <a:pt x="2904126" y="6637495"/>
                </a:cubicBezTo>
                <a:cubicBezTo>
                  <a:pt x="2425138" y="6111313"/>
                  <a:pt x="2105632" y="5471215"/>
                  <a:pt x="1900040" y="4626066"/>
                </a:cubicBezTo>
                <a:cubicBezTo>
                  <a:pt x="1774192" y="4092289"/>
                  <a:pt x="1736220" y="3662123"/>
                  <a:pt x="1786667" y="3270470"/>
                </a:cubicBezTo>
                <a:cubicBezTo>
                  <a:pt x="1828438" y="2933061"/>
                  <a:pt x="1941810" y="2596196"/>
                  <a:pt x="2047046" y="2272351"/>
                </a:cubicBezTo>
                <a:cubicBezTo>
                  <a:pt x="2093698" y="2132395"/>
                  <a:pt x="2144145" y="1989730"/>
                  <a:pt x="2185916" y="1847065"/>
                </a:cubicBezTo>
                <a:cubicBezTo>
                  <a:pt x="2366554" y="1233004"/>
                  <a:pt x="2441954" y="613518"/>
                  <a:pt x="2417001" y="1628"/>
                </a:cubicBezTo>
                <a:close/>
                <a:moveTo>
                  <a:pt x="2235821" y="1628"/>
                </a:moveTo>
                <a:lnTo>
                  <a:pt x="2252636" y="1628"/>
                </a:lnTo>
                <a:cubicBezTo>
                  <a:pt x="2281931" y="629250"/>
                  <a:pt x="2206528" y="1266636"/>
                  <a:pt x="2025891" y="1899140"/>
                </a:cubicBezTo>
                <a:cubicBezTo>
                  <a:pt x="1983581" y="2039094"/>
                  <a:pt x="1937470" y="2181760"/>
                  <a:pt x="1891360" y="2316289"/>
                </a:cubicBezTo>
                <a:cubicBezTo>
                  <a:pt x="1786667" y="2645559"/>
                  <a:pt x="1677092" y="2985137"/>
                  <a:pt x="1635322" y="3327426"/>
                </a:cubicBezTo>
                <a:cubicBezTo>
                  <a:pt x="1589213" y="3715825"/>
                  <a:pt x="1630983" y="4146536"/>
                  <a:pt x="1761172" y="4680313"/>
                </a:cubicBezTo>
                <a:cubicBezTo>
                  <a:pt x="1971101" y="5522747"/>
                  <a:pt x="2294949" y="6162846"/>
                  <a:pt x="2777736" y="6689028"/>
                </a:cubicBezTo>
                <a:lnTo>
                  <a:pt x="2943569" y="6858000"/>
                </a:lnTo>
                <a:lnTo>
                  <a:pt x="2921504" y="6858000"/>
                </a:lnTo>
                <a:lnTo>
                  <a:pt x="2760920" y="6694452"/>
                </a:lnTo>
                <a:cubicBezTo>
                  <a:pt x="2277590" y="6165558"/>
                  <a:pt x="1954286" y="5527629"/>
                  <a:pt x="1744356" y="4680313"/>
                </a:cubicBezTo>
                <a:cubicBezTo>
                  <a:pt x="1610370" y="4146536"/>
                  <a:pt x="1572397" y="3716368"/>
                  <a:pt x="1618506" y="3324715"/>
                </a:cubicBezTo>
                <a:cubicBezTo>
                  <a:pt x="1660276" y="2985137"/>
                  <a:pt x="1769310" y="2642848"/>
                  <a:pt x="1874544" y="2316289"/>
                </a:cubicBezTo>
                <a:cubicBezTo>
                  <a:pt x="1920654" y="2179047"/>
                  <a:pt x="1966762" y="2036380"/>
                  <a:pt x="2004736" y="1896428"/>
                </a:cubicBezTo>
                <a:cubicBezTo>
                  <a:pt x="2189711" y="1263925"/>
                  <a:pt x="2265113" y="628707"/>
                  <a:pt x="2235821" y="1628"/>
                </a:cubicBezTo>
                <a:close/>
                <a:moveTo>
                  <a:pt x="396352" y="1628"/>
                </a:moveTo>
                <a:lnTo>
                  <a:pt x="413168" y="1628"/>
                </a:lnTo>
                <a:cubicBezTo>
                  <a:pt x="413168" y="9223"/>
                  <a:pt x="413168" y="17360"/>
                  <a:pt x="413168" y="24955"/>
                </a:cubicBezTo>
                <a:cubicBezTo>
                  <a:pt x="484773" y="784392"/>
                  <a:pt x="429986" y="1577463"/>
                  <a:pt x="249348" y="2383554"/>
                </a:cubicBezTo>
                <a:cubicBezTo>
                  <a:pt x="223851" y="2505064"/>
                  <a:pt x="194560" y="2627116"/>
                  <a:pt x="165265" y="2743744"/>
                </a:cubicBezTo>
                <a:cubicBezTo>
                  <a:pt x="118886" y="2926552"/>
                  <a:pt x="72642" y="3112479"/>
                  <a:pt x="35890" y="3299695"/>
                </a:cubicBezTo>
                <a:lnTo>
                  <a:pt x="0" y="3515440"/>
                </a:lnTo>
                <a:lnTo>
                  <a:pt x="0" y="3413219"/>
                </a:lnTo>
                <a:lnTo>
                  <a:pt x="19277" y="3297321"/>
                </a:lnTo>
                <a:cubicBezTo>
                  <a:pt x="56097" y="3109767"/>
                  <a:pt x="102341" y="2923840"/>
                  <a:pt x="148449" y="2741032"/>
                </a:cubicBezTo>
                <a:cubicBezTo>
                  <a:pt x="173945" y="2624404"/>
                  <a:pt x="203238" y="2502894"/>
                  <a:pt x="232530" y="2383554"/>
                </a:cubicBezTo>
                <a:cubicBezTo>
                  <a:pt x="413168" y="1577463"/>
                  <a:pt x="467957" y="784392"/>
                  <a:pt x="396352" y="24955"/>
                </a:cubicBezTo>
                <a:cubicBezTo>
                  <a:pt x="396352" y="17360"/>
                  <a:pt x="396352" y="9223"/>
                  <a:pt x="396352" y="1628"/>
                </a:cubicBezTo>
                <a:close/>
                <a:moveTo>
                  <a:pt x="5479167" y="1086"/>
                </a:moveTo>
                <a:lnTo>
                  <a:pt x="5495983" y="1086"/>
                </a:lnTo>
                <a:cubicBezTo>
                  <a:pt x="5449873" y="346088"/>
                  <a:pt x="5357656" y="688377"/>
                  <a:pt x="5218787" y="1022531"/>
                </a:cubicBezTo>
                <a:cubicBezTo>
                  <a:pt x="5151523" y="1183097"/>
                  <a:pt x="5075579" y="1343666"/>
                  <a:pt x="5000176" y="1499350"/>
                </a:cubicBezTo>
                <a:cubicBezTo>
                  <a:pt x="4861310" y="1776544"/>
                  <a:pt x="4722982" y="2064046"/>
                  <a:pt x="4647581" y="2358057"/>
                </a:cubicBezTo>
                <a:cubicBezTo>
                  <a:pt x="4525528" y="2808839"/>
                  <a:pt x="4559161" y="3272640"/>
                  <a:pt x="4609609" y="3664292"/>
                </a:cubicBezTo>
                <a:cubicBezTo>
                  <a:pt x="4676873" y="4242009"/>
                  <a:pt x="4823879" y="4991140"/>
                  <a:pt x="5315344" y="5659989"/>
                </a:cubicBezTo>
                <a:cubicBezTo>
                  <a:pt x="5633020" y="6092258"/>
                  <a:pt x="6108135" y="6499524"/>
                  <a:pt x="6698707" y="6851723"/>
                </a:cubicBezTo>
                <a:lnTo>
                  <a:pt x="6710000" y="6858000"/>
                </a:lnTo>
                <a:lnTo>
                  <a:pt x="6682458" y="6858000"/>
                </a:lnTo>
                <a:lnTo>
                  <a:pt x="6369337" y="6660278"/>
                </a:lnTo>
                <a:cubicBezTo>
                  <a:pt x="5920182" y="6354333"/>
                  <a:pt x="5558908" y="6020179"/>
                  <a:pt x="5298529" y="5664871"/>
                </a:cubicBezTo>
                <a:cubicBezTo>
                  <a:pt x="4807063" y="4996023"/>
                  <a:pt x="4660057" y="4244721"/>
                  <a:pt x="4588453" y="3666464"/>
                </a:cubicBezTo>
                <a:cubicBezTo>
                  <a:pt x="4542345" y="3272640"/>
                  <a:pt x="4508712" y="2808296"/>
                  <a:pt x="4626425" y="2354803"/>
                </a:cubicBezTo>
                <a:cubicBezTo>
                  <a:pt x="4706167" y="2061877"/>
                  <a:pt x="4844493" y="1773833"/>
                  <a:pt x="4983360" y="1496638"/>
                </a:cubicBezTo>
                <a:cubicBezTo>
                  <a:pt x="5059304" y="1341495"/>
                  <a:pt x="5134707" y="1180386"/>
                  <a:pt x="5201971" y="1019818"/>
                </a:cubicBezTo>
                <a:cubicBezTo>
                  <a:pt x="5340297" y="685123"/>
                  <a:pt x="5433058" y="343377"/>
                  <a:pt x="5479167" y="1086"/>
                </a:cubicBezTo>
                <a:close/>
                <a:moveTo>
                  <a:pt x="4236941" y="1086"/>
                </a:moveTo>
                <a:lnTo>
                  <a:pt x="4253757" y="1086"/>
                </a:lnTo>
                <a:cubicBezTo>
                  <a:pt x="4232603" y="460004"/>
                  <a:pt x="4140384" y="913497"/>
                  <a:pt x="3976562" y="1362108"/>
                </a:cubicBezTo>
                <a:cubicBezTo>
                  <a:pt x="3921775" y="1517793"/>
                  <a:pt x="3854510" y="1673478"/>
                  <a:pt x="3791584" y="1823738"/>
                </a:cubicBezTo>
                <a:cubicBezTo>
                  <a:pt x="3669533" y="2119377"/>
                  <a:pt x="3539342" y="2424780"/>
                  <a:pt x="3476418" y="2733437"/>
                </a:cubicBezTo>
                <a:cubicBezTo>
                  <a:pt x="3379319" y="3207544"/>
                  <a:pt x="3438445" y="3689787"/>
                  <a:pt x="3501371" y="4060285"/>
                </a:cubicBezTo>
                <a:cubicBezTo>
                  <a:pt x="3601726" y="4635831"/>
                  <a:pt x="3786703" y="5384964"/>
                  <a:pt x="4328618" y="6058694"/>
                </a:cubicBezTo>
                <a:cubicBezTo>
                  <a:pt x="4437650" y="6195934"/>
                  <a:pt x="4563500" y="6331006"/>
                  <a:pt x="4702370" y="6457941"/>
                </a:cubicBezTo>
                <a:cubicBezTo>
                  <a:pt x="4812624" y="6561008"/>
                  <a:pt x="4931794" y="6661770"/>
                  <a:pt x="5059754" y="6760124"/>
                </a:cubicBezTo>
                <a:lnTo>
                  <a:pt x="5193099" y="6858000"/>
                </a:lnTo>
                <a:lnTo>
                  <a:pt x="5167772" y="6858000"/>
                </a:lnTo>
                <a:lnTo>
                  <a:pt x="5043684" y="6767235"/>
                </a:lnTo>
                <a:cubicBezTo>
                  <a:pt x="4915249" y="6668923"/>
                  <a:pt x="4795807" y="6568467"/>
                  <a:pt x="4685552" y="6466078"/>
                </a:cubicBezTo>
                <a:cubicBezTo>
                  <a:pt x="4547226" y="6336432"/>
                  <a:pt x="4420833" y="6201360"/>
                  <a:pt x="4311801" y="6064118"/>
                </a:cubicBezTo>
                <a:cubicBezTo>
                  <a:pt x="3770429" y="5389845"/>
                  <a:pt x="3585452" y="4638545"/>
                  <a:pt x="3484555" y="4060285"/>
                </a:cubicBezTo>
                <a:cubicBezTo>
                  <a:pt x="3421629" y="3689787"/>
                  <a:pt x="3358705" y="3205375"/>
                  <a:pt x="3459602" y="2733437"/>
                </a:cubicBezTo>
                <a:cubicBezTo>
                  <a:pt x="3522528" y="2422610"/>
                  <a:pt x="3652716" y="2116666"/>
                  <a:pt x="3774769" y="1821026"/>
                </a:cubicBezTo>
                <a:cubicBezTo>
                  <a:pt x="3837694" y="1670225"/>
                  <a:pt x="3904957" y="1515081"/>
                  <a:pt x="3959747" y="1359397"/>
                </a:cubicBezTo>
                <a:cubicBezTo>
                  <a:pt x="4123569" y="913497"/>
                  <a:pt x="4215786" y="457291"/>
                  <a:pt x="4236941" y="1086"/>
                </a:cubicBezTo>
                <a:close/>
                <a:moveTo>
                  <a:pt x="4055219" y="1086"/>
                </a:moveTo>
                <a:lnTo>
                  <a:pt x="4072035" y="1086"/>
                </a:lnTo>
                <a:cubicBezTo>
                  <a:pt x="4055219" y="475193"/>
                  <a:pt x="3967340" y="947129"/>
                  <a:pt x="3799179" y="1410929"/>
                </a:cubicBezTo>
                <a:cubicBezTo>
                  <a:pt x="3744390" y="1563903"/>
                  <a:pt x="3681467" y="1719588"/>
                  <a:pt x="3618541" y="1869848"/>
                </a:cubicBezTo>
                <a:cubicBezTo>
                  <a:pt x="3496489" y="2168199"/>
                  <a:pt x="3370638" y="2476856"/>
                  <a:pt x="3307714" y="2787684"/>
                </a:cubicBezTo>
                <a:cubicBezTo>
                  <a:pt x="3215497" y="3261791"/>
                  <a:pt x="3278420" y="3746204"/>
                  <a:pt x="3341346" y="4114531"/>
                </a:cubicBezTo>
                <a:cubicBezTo>
                  <a:pt x="3446040" y="4692789"/>
                  <a:pt x="3635357" y="5441922"/>
                  <a:pt x="4185408" y="6115652"/>
                </a:cubicBezTo>
                <a:cubicBezTo>
                  <a:pt x="4298782" y="6252893"/>
                  <a:pt x="4424631" y="6387965"/>
                  <a:pt x="4563500" y="6514900"/>
                </a:cubicBezTo>
                <a:cubicBezTo>
                  <a:pt x="4674839" y="6617289"/>
                  <a:pt x="4795095" y="6717575"/>
                  <a:pt x="4924140" y="6815633"/>
                </a:cubicBezTo>
                <a:lnTo>
                  <a:pt x="4982461" y="6858000"/>
                </a:lnTo>
                <a:lnTo>
                  <a:pt x="4957779" y="6858000"/>
                </a:lnTo>
                <a:lnTo>
                  <a:pt x="4909833" y="6823167"/>
                </a:lnTo>
                <a:cubicBezTo>
                  <a:pt x="4780991" y="6725237"/>
                  <a:pt x="4661278" y="6625290"/>
                  <a:pt x="4551024" y="6523579"/>
                </a:cubicBezTo>
                <a:cubicBezTo>
                  <a:pt x="4408358" y="6393932"/>
                  <a:pt x="4281965" y="6258860"/>
                  <a:pt x="4172932" y="6121620"/>
                </a:cubicBezTo>
                <a:cubicBezTo>
                  <a:pt x="3618541" y="5444634"/>
                  <a:pt x="3429766" y="4696045"/>
                  <a:pt x="3324530" y="4117786"/>
                </a:cubicBezTo>
                <a:cubicBezTo>
                  <a:pt x="3257265" y="3747289"/>
                  <a:pt x="3194341" y="3262333"/>
                  <a:pt x="3290899" y="2785514"/>
                </a:cubicBezTo>
                <a:cubicBezTo>
                  <a:pt x="3353822" y="2474144"/>
                  <a:pt x="3479672" y="2165487"/>
                  <a:pt x="3601726" y="1867678"/>
                </a:cubicBezTo>
                <a:cubicBezTo>
                  <a:pt x="3664649" y="1717416"/>
                  <a:pt x="3727575" y="1561731"/>
                  <a:pt x="3782363" y="1408760"/>
                </a:cubicBezTo>
                <a:cubicBezTo>
                  <a:pt x="3946184" y="944417"/>
                  <a:pt x="4038402" y="473023"/>
                  <a:pt x="4055219" y="1086"/>
                </a:cubicBezTo>
                <a:close/>
                <a:moveTo>
                  <a:pt x="3693943" y="1086"/>
                </a:moveTo>
                <a:lnTo>
                  <a:pt x="3710759" y="1086"/>
                </a:lnTo>
                <a:cubicBezTo>
                  <a:pt x="3702080" y="506655"/>
                  <a:pt x="3614202" y="1012224"/>
                  <a:pt x="3446040" y="1509656"/>
                </a:cubicBezTo>
                <a:cubicBezTo>
                  <a:pt x="3391795" y="1659916"/>
                  <a:pt x="3332667" y="1812889"/>
                  <a:pt x="3274081" y="1960436"/>
                </a:cubicBezTo>
                <a:cubicBezTo>
                  <a:pt x="3156369" y="2263670"/>
                  <a:pt x="3030519" y="2577210"/>
                  <a:pt x="2975731" y="2893463"/>
                </a:cubicBezTo>
                <a:cubicBezTo>
                  <a:pt x="2883515" y="3375706"/>
                  <a:pt x="2954576" y="3860120"/>
                  <a:pt x="3026179" y="4228446"/>
                </a:cubicBezTo>
                <a:cubicBezTo>
                  <a:pt x="3193798" y="5083900"/>
                  <a:pt x="3462856" y="5703385"/>
                  <a:pt x="3903873" y="6232279"/>
                </a:cubicBezTo>
                <a:cubicBezTo>
                  <a:pt x="4017247" y="6366809"/>
                  <a:pt x="4147437" y="6501881"/>
                  <a:pt x="4290102" y="6628815"/>
                </a:cubicBezTo>
                <a:cubicBezTo>
                  <a:pt x="4345772" y="6679332"/>
                  <a:pt x="4403806" y="6729365"/>
                  <a:pt x="4464172" y="6778910"/>
                </a:cubicBezTo>
                <a:lnTo>
                  <a:pt x="4565238" y="6858000"/>
                </a:lnTo>
                <a:lnTo>
                  <a:pt x="4541100" y="6858000"/>
                </a:lnTo>
                <a:lnTo>
                  <a:pt x="4448231" y="6785881"/>
                </a:lnTo>
                <a:cubicBezTo>
                  <a:pt x="4387457" y="6736485"/>
                  <a:pt x="4328956" y="6686655"/>
                  <a:pt x="4272745" y="6636410"/>
                </a:cubicBezTo>
                <a:cubicBezTo>
                  <a:pt x="4134417" y="6506762"/>
                  <a:pt x="4004228" y="6371690"/>
                  <a:pt x="3886514" y="6234449"/>
                </a:cubicBezTo>
                <a:cubicBezTo>
                  <a:pt x="3445498" y="5706097"/>
                  <a:pt x="3176982" y="5086613"/>
                  <a:pt x="3008821" y="4228446"/>
                </a:cubicBezTo>
                <a:cubicBezTo>
                  <a:pt x="2937218" y="3860120"/>
                  <a:pt x="2865613" y="3375706"/>
                  <a:pt x="2954034" y="2893463"/>
                </a:cubicBezTo>
                <a:cubicBezTo>
                  <a:pt x="3013161" y="2577210"/>
                  <a:pt x="3134671" y="2260959"/>
                  <a:pt x="3256723" y="1957725"/>
                </a:cubicBezTo>
                <a:cubicBezTo>
                  <a:pt x="3315851" y="1810178"/>
                  <a:pt x="3374436" y="1657204"/>
                  <a:pt x="3424884" y="1506945"/>
                </a:cubicBezTo>
                <a:cubicBezTo>
                  <a:pt x="3597386" y="1009512"/>
                  <a:pt x="3685806" y="506655"/>
                  <a:pt x="3693943" y="1086"/>
                </a:cubicBezTo>
                <a:close/>
                <a:moveTo>
                  <a:pt x="3147690" y="1086"/>
                </a:moveTo>
                <a:lnTo>
                  <a:pt x="3164506" y="1086"/>
                </a:lnTo>
                <a:cubicBezTo>
                  <a:pt x="3172642" y="553306"/>
                  <a:pt x="3088562" y="1108239"/>
                  <a:pt x="2912265" y="1655035"/>
                </a:cubicBezTo>
                <a:cubicBezTo>
                  <a:pt x="2862358" y="1802583"/>
                  <a:pt x="2811910" y="1950131"/>
                  <a:pt x="2757122" y="2095508"/>
                </a:cubicBezTo>
                <a:cubicBezTo>
                  <a:pt x="2643205" y="2409049"/>
                  <a:pt x="2526037" y="2730726"/>
                  <a:pt x="2471247" y="3057284"/>
                </a:cubicBezTo>
                <a:cubicBezTo>
                  <a:pt x="2412119" y="3440800"/>
                  <a:pt x="2437616" y="3855237"/>
                  <a:pt x="2550987" y="4397151"/>
                </a:cubicBezTo>
                <a:cubicBezTo>
                  <a:pt x="2735966" y="5252061"/>
                  <a:pt x="3021297" y="5871547"/>
                  <a:pt x="3483470" y="6403154"/>
                </a:cubicBezTo>
                <a:cubicBezTo>
                  <a:pt x="3601183" y="6537683"/>
                  <a:pt x="3731372" y="6672755"/>
                  <a:pt x="3878377" y="6799690"/>
                </a:cubicBezTo>
                <a:lnTo>
                  <a:pt x="3948295" y="6858000"/>
                </a:lnTo>
                <a:lnTo>
                  <a:pt x="3925054" y="6858000"/>
                </a:lnTo>
                <a:lnTo>
                  <a:pt x="3861563" y="6805113"/>
                </a:lnTo>
                <a:cubicBezTo>
                  <a:pt x="3718896" y="6678178"/>
                  <a:pt x="3584366" y="6543107"/>
                  <a:pt x="3466654" y="6408577"/>
                </a:cubicBezTo>
                <a:cubicBezTo>
                  <a:pt x="3004481" y="5877515"/>
                  <a:pt x="2719151" y="5258028"/>
                  <a:pt x="2534172" y="4399863"/>
                </a:cubicBezTo>
                <a:cubicBezTo>
                  <a:pt x="2416459" y="3855237"/>
                  <a:pt x="2395845" y="3440800"/>
                  <a:pt x="2454430" y="3054571"/>
                </a:cubicBezTo>
                <a:cubicBezTo>
                  <a:pt x="2504879" y="2730184"/>
                  <a:pt x="2626933" y="2406336"/>
                  <a:pt x="2740306" y="2092797"/>
                </a:cubicBezTo>
                <a:cubicBezTo>
                  <a:pt x="2790211" y="1947961"/>
                  <a:pt x="2845001" y="1799871"/>
                  <a:pt x="2895448" y="1652323"/>
                </a:cubicBezTo>
                <a:cubicBezTo>
                  <a:pt x="3072288" y="1105527"/>
                  <a:pt x="3155827" y="553306"/>
                  <a:pt x="3147690" y="1086"/>
                </a:cubicBezTo>
                <a:close/>
                <a:moveTo>
                  <a:pt x="2051388" y="1086"/>
                </a:moveTo>
                <a:lnTo>
                  <a:pt x="2068202" y="1086"/>
                </a:lnTo>
                <a:cubicBezTo>
                  <a:pt x="2106174" y="643897"/>
                  <a:pt x="2030773" y="1297014"/>
                  <a:pt x="1845795" y="1947418"/>
                </a:cubicBezTo>
                <a:cubicBezTo>
                  <a:pt x="1808366" y="2085202"/>
                  <a:pt x="1766053" y="2225157"/>
                  <a:pt x="1719945" y="2359686"/>
                </a:cubicBezTo>
                <a:cubicBezTo>
                  <a:pt x="1614710" y="2691669"/>
                  <a:pt x="1509473" y="3036127"/>
                  <a:pt x="1467702" y="3378418"/>
                </a:cubicBezTo>
                <a:cubicBezTo>
                  <a:pt x="1425934" y="3772241"/>
                  <a:pt x="1467702" y="4202409"/>
                  <a:pt x="1602233" y="4734016"/>
                </a:cubicBezTo>
                <a:cubicBezTo>
                  <a:pt x="1820843" y="5579164"/>
                  <a:pt x="2148487" y="6219261"/>
                  <a:pt x="2635610" y="6745443"/>
                </a:cubicBezTo>
                <a:lnTo>
                  <a:pt x="2747940" y="6858000"/>
                </a:lnTo>
                <a:lnTo>
                  <a:pt x="2724848" y="6858000"/>
                </a:lnTo>
                <a:lnTo>
                  <a:pt x="2618794" y="6751411"/>
                </a:lnTo>
                <a:cubicBezTo>
                  <a:pt x="2131671" y="6222516"/>
                  <a:pt x="1804027" y="5582417"/>
                  <a:pt x="1585418" y="4737271"/>
                </a:cubicBezTo>
                <a:cubicBezTo>
                  <a:pt x="1450887" y="4202951"/>
                  <a:pt x="1409117" y="3772784"/>
                  <a:pt x="1450887" y="3378960"/>
                </a:cubicBezTo>
                <a:cubicBezTo>
                  <a:pt x="1488861" y="3033959"/>
                  <a:pt x="1597894" y="2691669"/>
                  <a:pt x="1703129" y="2357515"/>
                </a:cubicBezTo>
                <a:cubicBezTo>
                  <a:pt x="1744898" y="2222445"/>
                  <a:pt x="1791007" y="2082490"/>
                  <a:pt x="1828979" y="1945249"/>
                </a:cubicBezTo>
                <a:cubicBezTo>
                  <a:pt x="2013414" y="1294301"/>
                  <a:pt x="2085019" y="643897"/>
                  <a:pt x="2051388" y="1086"/>
                </a:cubicBezTo>
                <a:close/>
                <a:moveTo>
                  <a:pt x="1867492" y="1086"/>
                </a:moveTo>
                <a:lnTo>
                  <a:pt x="1888650" y="1086"/>
                </a:lnTo>
                <a:cubicBezTo>
                  <a:pt x="1926078" y="659085"/>
                  <a:pt x="1855017" y="1327934"/>
                  <a:pt x="1670038" y="1994070"/>
                </a:cubicBezTo>
                <a:cubicBezTo>
                  <a:pt x="1632067" y="2131311"/>
                  <a:pt x="1589756" y="2269095"/>
                  <a:pt x="1547986" y="2403625"/>
                </a:cubicBezTo>
                <a:cubicBezTo>
                  <a:pt x="1447090" y="2737777"/>
                  <a:pt x="1338056" y="3085492"/>
                  <a:pt x="1304425" y="3432664"/>
                </a:cubicBezTo>
                <a:cubicBezTo>
                  <a:pt x="1262111" y="3829198"/>
                  <a:pt x="1308220" y="4259366"/>
                  <a:pt x="1447090" y="4790975"/>
                </a:cubicBezTo>
                <a:cubicBezTo>
                  <a:pt x="1665701" y="5636121"/>
                  <a:pt x="2001480" y="6273506"/>
                  <a:pt x="2497284" y="6802402"/>
                </a:cubicBezTo>
                <a:lnTo>
                  <a:pt x="2552770" y="6858000"/>
                </a:lnTo>
                <a:lnTo>
                  <a:pt x="2530391" y="6858000"/>
                </a:lnTo>
                <a:lnTo>
                  <a:pt x="2480468" y="6807825"/>
                </a:lnTo>
                <a:cubicBezTo>
                  <a:pt x="1984664" y="6278931"/>
                  <a:pt x="1648884" y="5638834"/>
                  <a:pt x="1430274" y="4793686"/>
                </a:cubicBezTo>
                <a:cubicBezTo>
                  <a:pt x="1287609" y="4259366"/>
                  <a:pt x="1245296" y="3829198"/>
                  <a:pt x="1283269" y="3432664"/>
                </a:cubicBezTo>
                <a:cubicBezTo>
                  <a:pt x="1321240" y="3084949"/>
                  <a:pt x="1430274" y="2737777"/>
                  <a:pt x="1531170" y="2400912"/>
                </a:cubicBezTo>
                <a:cubicBezTo>
                  <a:pt x="1573482" y="2268553"/>
                  <a:pt x="1615252" y="2128600"/>
                  <a:pt x="1653223" y="1994070"/>
                </a:cubicBezTo>
                <a:cubicBezTo>
                  <a:pt x="1838202" y="1325764"/>
                  <a:pt x="1909262" y="656915"/>
                  <a:pt x="1867492" y="1086"/>
                </a:cubicBezTo>
                <a:close/>
                <a:moveTo>
                  <a:pt x="1685229" y="1086"/>
                </a:moveTo>
                <a:lnTo>
                  <a:pt x="1702045" y="1086"/>
                </a:lnTo>
                <a:cubicBezTo>
                  <a:pt x="1744356" y="672103"/>
                  <a:pt x="1677092" y="1359397"/>
                  <a:pt x="1492113" y="2043433"/>
                </a:cubicBezTo>
                <a:cubicBezTo>
                  <a:pt x="1454143" y="2177963"/>
                  <a:pt x="1412373" y="2315203"/>
                  <a:pt x="1374400" y="2447564"/>
                </a:cubicBezTo>
                <a:cubicBezTo>
                  <a:pt x="1274047" y="2784429"/>
                  <a:pt x="1168811" y="3137026"/>
                  <a:pt x="1135179" y="3486909"/>
                </a:cubicBezTo>
                <a:cubicBezTo>
                  <a:pt x="1097748" y="3883445"/>
                  <a:pt x="1143858" y="4316326"/>
                  <a:pt x="1286523" y="4847931"/>
                </a:cubicBezTo>
                <a:cubicBezTo>
                  <a:pt x="1484928" y="5585063"/>
                  <a:pt x="1770547" y="6167278"/>
                  <a:pt x="2173546" y="6655634"/>
                </a:cubicBezTo>
                <a:lnTo>
                  <a:pt x="2352333" y="6858000"/>
                </a:lnTo>
                <a:lnTo>
                  <a:pt x="2331196" y="6858000"/>
                </a:lnTo>
                <a:lnTo>
                  <a:pt x="2156574" y="6660662"/>
                </a:lnTo>
                <a:cubicBezTo>
                  <a:pt x="1753315" y="6172500"/>
                  <a:pt x="1468109" y="5589334"/>
                  <a:pt x="1269707" y="4847931"/>
                </a:cubicBezTo>
                <a:cubicBezTo>
                  <a:pt x="1126498" y="4316326"/>
                  <a:pt x="1076593" y="3883445"/>
                  <a:pt x="1118360" y="3486909"/>
                </a:cubicBezTo>
                <a:cubicBezTo>
                  <a:pt x="1151995" y="3134313"/>
                  <a:pt x="1256687" y="2784429"/>
                  <a:pt x="1357583" y="2444851"/>
                </a:cubicBezTo>
                <a:cubicBezTo>
                  <a:pt x="1395557" y="2313035"/>
                  <a:pt x="1437327" y="2175250"/>
                  <a:pt x="1475296" y="2040722"/>
                </a:cubicBezTo>
                <a:cubicBezTo>
                  <a:pt x="1655934" y="1356684"/>
                  <a:pt x="1726996" y="672647"/>
                  <a:pt x="1685229" y="1086"/>
                </a:cubicBezTo>
                <a:close/>
                <a:moveTo>
                  <a:pt x="1501334" y="1086"/>
                </a:moveTo>
                <a:lnTo>
                  <a:pt x="1518153" y="1086"/>
                </a:lnTo>
                <a:cubicBezTo>
                  <a:pt x="1568600" y="687835"/>
                  <a:pt x="1496998" y="1390316"/>
                  <a:pt x="1316358" y="2092797"/>
                </a:cubicBezTo>
                <a:cubicBezTo>
                  <a:pt x="1278387" y="2225157"/>
                  <a:pt x="1240957" y="2359686"/>
                  <a:pt x="1202986" y="2489332"/>
                </a:cubicBezTo>
                <a:cubicBezTo>
                  <a:pt x="1102087" y="2831622"/>
                  <a:pt x="1001191" y="3186389"/>
                  <a:pt x="967559" y="3541698"/>
                </a:cubicBezTo>
                <a:cubicBezTo>
                  <a:pt x="933926" y="3940403"/>
                  <a:pt x="984376" y="4373282"/>
                  <a:pt x="1127040" y="4904889"/>
                </a:cubicBezTo>
                <a:cubicBezTo>
                  <a:pt x="1333040" y="5642020"/>
                  <a:pt x="1622516" y="6224237"/>
                  <a:pt x="2029268" y="6712591"/>
                </a:cubicBezTo>
                <a:lnTo>
                  <a:pt x="2158886" y="6858000"/>
                </a:lnTo>
                <a:lnTo>
                  <a:pt x="2141652" y="6858000"/>
                </a:lnTo>
                <a:lnTo>
                  <a:pt x="2015538" y="6717531"/>
                </a:lnTo>
                <a:cubicBezTo>
                  <a:pt x="1606242" y="6228984"/>
                  <a:pt x="1316766" y="5644394"/>
                  <a:pt x="1110768" y="4904889"/>
                </a:cubicBezTo>
                <a:cubicBezTo>
                  <a:pt x="963762" y="4373825"/>
                  <a:pt x="913312" y="3940945"/>
                  <a:pt x="951284" y="3538985"/>
                </a:cubicBezTo>
                <a:cubicBezTo>
                  <a:pt x="981119" y="3184219"/>
                  <a:pt x="1085814" y="2831622"/>
                  <a:pt x="1186709" y="2489332"/>
                </a:cubicBezTo>
                <a:cubicBezTo>
                  <a:pt x="1224140" y="2356973"/>
                  <a:pt x="1262111" y="2222445"/>
                  <a:pt x="1295746" y="2090085"/>
                </a:cubicBezTo>
                <a:cubicBezTo>
                  <a:pt x="1480179" y="1387604"/>
                  <a:pt x="1547444" y="685123"/>
                  <a:pt x="1501334" y="1086"/>
                </a:cubicBezTo>
                <a:close/>
                <a:moveTo>
                  <a:pt x="1316901" y="1086"/>
                </a:moveTo>
                <a:lnTo>
                  <a:pt x="1333717" y="1086"/>
                </a:lnTo>
                <a:cubicBezTo>
                  <a:pt x="1388503" y="700853"/>
                  <a:pt x="1321240" y="1419067"/>
                  <a:pt x="1136262" y="2142160"/>
                </a:cubicBezTo>
                <a:cubicBezTo>
                  <a:pt x="1102630" y="2271808"/>
                  <a:pt x="1064659" y="2404167"/>
                  <a:pt x="1031027" y="2533814"/>
                </a:cubicBezTo>
                <a:cubicBezTo>
                  <a:pt x="930128" y="2878274"/>
                  <a:pt x="829234" y="3236295"/>
                  <a:pt x="799941" y="3593773"/>
                </a:cubicBezTo>
                <a:cubicBezTo>
                  <a:pt x="766308" y="3995190"/>
                  <a:pt x="820555" y="4430782"/>
                  <a:pt x="971898" y="4959678"/>
                </a:cubicBezTo>
                <a:cubicBezTo>
                  <a:pt x="1181694" y="5699181"/>
                  <a:pt x="1474552" y="6281695"/>
                  <a:pt x="1887905" y="6770087"/>
                </a:cubicBezTo>
                <a:lnTo>
                  <a:pt x="1967579" y="6858000"/>
                </a:lnTo>
                <a:lnTo>
                  <a:pt x="1944323" y="6858000"/>
                </a:lnTo>
                <a:lnTo>
                  <a:pt x="1871067" y="6776848"/>
                </a:lnTo>
                <a:cubicBezTo>
                  <a:pt x="1457617" y="6286484"/>
                  <a:pt x="1164403" y="5701894"/>
                  <a:pt x="955083" y="4962390"/>
                </a:cubicBezTo>
                <a:cubicBezTo>
                  <a:pt x="804279" y="4430782"/>
                  <a:pt x="749492" y="3997904"/>
                  <a:pt x="783124" y="3593773"/>
                </a:cubicBezTo>
                <a:cubicBezTo>
                  <a:pt x="812418" y="3236295"/>
                  <a:pt x="913312" y="2878274"/>
                  <a:pt x="1014212" y="2531102"/>
                </a:cubicBezTo>
                <a:cubicBezTo>
                  <a:pt x="1047843" y="2403625"/>
                  <a:pt x="1085814" y="2271808"/>
                  <a:pt x="1119447" y="2139448"/>
                </a:cubicBezTo>
                <a:cubicBezTo>
                  <a:pt x="1304425" y="1419067"/>
                  <a:pt x="1371688" y="700853"/>
                  <a:pt x="1316901" y="1086"/>
                </a:cubicBezTo>
                <a:close/>
                <a:moveTo>
                  <a:pt x="1131381" y="1086"/>
                </a:moveTo>
                <a:lnTo>
                  <a:pt x="1148196" y="1086"/>
                </a:lnTo>
                <a:cubicBezTo>
                  <a:pt x="1207326" y="713874"/>
                  <a:pt x="1144400" y="1449986"/>
                  <a:pt x="959422" y="2188812"/>
                </a:cubicBezTo>
                <a:cubicBezTo>
                  <a:pt x="925791" y="2318458"/>
                  <a:pt x="892157" y="2450817"/>
                  <a:pt x="858526" y="2575041"/>
                </a:cubicBezTo>
                <a:cubicBezTo>
                  <a:pt x="761969" y="2924924"/>
                  <a:pt x="661071" y="3287829"/>
                  <a:pt x="631777" y="3648020"/>
                </a:cubicBezTo>
                <a:cubicBezTo>
                  <a:pt x="602486" y="4052148"/>
                  <a:pt x="661071" y="4487740"/>
                  <a:pt x="812418" y="5016636"/>
                </a:cubicBezTo>
                <a:cubicBezTo>
                  <a:pt x="1025534" y="5756140"/>
                  <a:pt x="1325868" y="6338653"/>
                  <a:pt x="1743582" y="6827044"/>
                </a:cubicBezTo>
                <a:lnTo>
                  <a:pt x="1771889" y="6858000"/>
                </a:lnTo>
                <a:lnTo>
                  <a:pt x="1751982" y="6858000"/>
                </a:lnTo>
                <a:lnTo>
                  <a:pt x="1729154" y="6833027"/>
                </a:lnTo>
                <a:cubicBezTo>
                  <a:pt x="1308637" y="6341365"/>
                  <a:pt x="1008718" y="5758851"/>
                  <a:pt x="795600" y="5019348"/>
                </a:cubicBezTo>
                <a:cubicBezTo>
                  <a:pt x="644256" y="4487740"/>
                  <a:pt x="585670" y="4052148"/>
                  <a:pt x="614961" y="3648020"/>
                </a:cubicBezTo>
                <a:cubicBezTo>
                  <a:pt x="644256" y="3285116"/>
                  <a:pt x="740813" y="2924924"/>
                  <a:pt x="837370" y="2575041"/>
                </a:cubicBezTo>
                <a:cubicBezTo>
                  <a:pt x="875341" y="2448106"/>
                  <a:pt x="908975" y="2318458"/>
                  <a:pt x="942606" y="2188812"/>
                </a:cubicBezTo>
                <a:cubicBezTo>
                  <a:pt x="1127040" y="1449986"/>
                  <a:pt x="1189966" y="713874"/>
                  <a:pt x="1131381" y="1086"/>
                </a:cubicBezTo>
                <a:close/>
                <a:moveTo>
                  <a:pt x="946947" y="1086"/>
                </a:moveTo>
                <a:lnTo>
                  <a:pt x="968102" y="1086"/>
                </a:lnTo>
                <a:cubicBezTo>
                  <a:pt x="1026685" y="729605"/>
                  <a:pt x="968102" y="1481448"/>
                  <a:pt x="783124" y="2238175"/>
                </a:cubicBezTo>
                <a:cubicBezTo>
                  <a:pt x="749492" y="2365110"/>
                  <a:pt x="715861" y="2494757"/>
                  <a:pt x="682227" y="2618979"/>
                </a:cubicBezTo>
                <a:cubicBezTo>
                  <a:pt x="590010" y="2971576"/>
                  <a:pt x="492911" y="3336650"/>
                  <a:pt x="467957" y="3702263"/>
                </a:cubicBezTo>
                <a:cubicBezTo>
                  <a:pt x="438121" y="4109107"/>
                  <a:pt x="497249" y="4544699"/>
                  <a:pt x="656732" y="5073592"/>
                </a:cubicBezTo>
                <a:cubicBezTo>
                  <a:pt x="842660" y="5705012"/>
                  <a:pt x="1092359" y="6223228"/>
                  <a:pt x="1427113" y="6668060"/>
                </a:cubicBezTo>
                <a:lnTo>
                  <a:pt x="1580273" y="6858000"/>
                </a:lnTo>
                <a:lnTo>
                  <a:pt x="1558574" y="6858000"/>
                </a:lnTo>
                <a:lnTo>
                  <a:pt x="1409772" y="6673398"/>
                </a:lnTo>
                <a:cubicBezTo>
                  <a:pt x="1074967" y="6228313"/>
                  <a:pt x="824759" y="5709081"/>
                  <a:pt x="635576" y="5073592"/>
                </a:cubicBezTo>
                <a:cubicBezTo>
                  <a:pt x="480434" y="4544699"/>
                  <a:pt x="421848" y="4109107"/>
                  <a:pt x="446802" y="3702263"/>
                </a:cubicBezTo>
                <a:cubicBezTo>
                  <a:pt x="472296" y="3336650"/>
                  <a:pt x="573194" y="2968863"/>
                  <a:pt x="665412" y="2616267"/>
                </a:cubicBezTo>
                <a:cubicBezTo>
                  <a:pt x="699043" y="2492044"/>
                  <a:pt x="732677" y="2362398"/>
                  <a:pt x="766308" y="2235463"/>
                </a:cubicBezTo>
                <a:cubicBezTo>
                  <a:pt x="946947" y="1478736"/>
                  <a:pt x="1009869" y="726892"/>
                  <a:pt x="946947" y="1086"/>
                </a:cubicBezTo>
                <a:close/>
                <a:moveTo>
                  <a:pt x="761427" y="1086"/>
                </a:moveTo>
                <a:lnTo>
                  <a:pt x="782582" y="1086"/>
                </a:lnTo>
                <a:cubicBezTo>
                  <a:pt x="845505" y="742082"/>
                  <a:pt x="786920" y="1509656"/>
                  <a:pt x="606284" y="2286996"/>
                </a:cubicBezTo>
                <a:cubicBezTo>
                  <a:pt x="576991" y="2411218"/>
                  <a:pt x="543358" y="2538153"/>
                  <a:pt x="509728" y="2660207"/>
                </a:cubicBezTo>
                <a:cubicBezTo>
                  <a:pt x="417510" y="3017686"/>
                  <a:pt x="320950" y="3386011"/>
                  <a:pt x="299795" y="3756510"/>
                </a:cubicBezTo>
                <a:cubicBezTo>
                  <a:pt x="274843" y="4158470"/>
                  <a:pt x="337766" y="4607080"/>
                  <a:pt x="497249" y="5127839"/>
                </a:cubicBezTo>
                <a:cubicBezTo>
                  <a:pt x="689686" y="5761292"/>
                  <a:pt x="943147" y="6280016"/>
                  <a:pt x="1281208" y="6724974"/>
                </a:cubicBezTo>
                <a:lnTo>
                  <a:pt x="1389455" y="6858000"/>
                </a:lnTo>
                <a:lnTo>
                  <a:pt x="1370500" y="6858000"/>
                </a:lnTo>
                <a:lnTo>
                  <a:pt x="1265918" y="6730051"/>
                </a:lnTo>
                <a:cubicBezTo>
                  <a:pt x="926129" y="6284458"/>
                  <a:pt x="672463" y="5764412"/>
                  <a:pt x="480434" y="5130551"/>
                </a:cubicBezTo>
                <a:cubicBezTo>
                  <a:pt x="320950" y="4609794"/>
                  <a:pt x="258027" y="4159012"/>
                  <a:pt x="282979" y="3757052"/>
                </a:cubicBezTo>
                <a:cubicBezTo>
                  <a:pt x="304134" y="3386555"/>
                  <a:pt x="400692" y="3015514"/>
                  <a:pt x="492911" y="2658035"/>
                </a:cubicBezTo>
                <a:cubicBezTo>
                  <a:pt x="526542" y="2535984"/>
                  <a:pt x="555835" y="2409049"/>
                  <a:pt x="585128" y="2284827"/>
                </a:cubicBezTo>
                <a:cubicBezTo>
                  <a:pt x="769561" y="1509656"/>
                  <a:pt x="828691" y="739910"/>
                  <a:pt x="761427" y="1086"/>
                </a:cubicBezTo>
                <a:close/>
                <a:moveTo>
                  <a:pt x="581330" y="1086"/>
                </a:moveTo>
                <a:lnTo>
                  <a:pt x="598146" y="1086"/>
                </a:lnTo>
                <a:cubicBezTo>
                  <a:pt x="669751" y="755100"/>
                  <a:pt x="611166" y="1540576"/>
                  <a:pt x="426187" y="2336360"/>
                </a:cubicBezTo>
                <a:cubicBezTo>
                  <a:pt x="400692" y="2458412"/>
                  <a:pt x="367060" y="2582635"/>
                  <a:pt x="337766" y="2701975"/>
                </a:cubicBezTo>
                <a:cubicBezTo>
                  <a:pt x="245548" y="3062166"/>
                  <a:pt x="153332" y="3438088"/>
                  <a:pt x="132176" y="3808585"/>
                </a:cubicBezTo>
                <a:cubicBezTo>
                  <a:pt x="111020" y="4215427"/>
                  <a:pt x="178284" y="4664039"/>
                  <a:pt x="337766" y="5184796"/>
                </a:cubicBezTo>
                <a:cubicBezTo>
                  <a:pt x="533051" y="5818251"/>
                  <a:pt x="792108" y="6336974"/>
                  <a:pt x="1136221" y="6781932"/>
                </a:cubicBezTo>
                <a:lnTo>
                  <a:pt x="1199192" y="6858000"/>
                </a:lnTo>
                <a:lnTo>
                  <a:pt x="1178104" y="6858000"/>
                </a:lnTo>
                <a:lnTo>
                  <a:pt x="1119405" y="6787010"/>
                </a:lnTo>
                <a:cubicBezTo>
                  <a:pt x="775293" y="6341416"/>
                  <a:pt x="516235" y="5821370"/>
                  <a:pt x="320950" y="5187509"/>
                </a:cubicBezTo>
                <a:cubicBezTo>
                  <a:pt x="161469" y="4666751"/>
                  <a:pt x="94204" y="4215427"/>
                  <a:pt x="115360" y="3808585"/>
                </a:cubicBezTo>
                <a:cubicBezTo>
                  <a:pt x="135974" y="3435376"/>
                  <a:pt x="228733" y="3062166"/>
                  <a:pt x="320950" y="2699264"/>
                </a:cubicBezTo>
                <a:cubicBezTo>
                  <a:pt x="350786" y="2579922"/>
                  <a:pt x="380078" y="2455700"/>
                  <a:pt x="409371" y="2333648"/>
                </a:cubicBezTo>
                <a:cubicBezTo>
                  <a:pt x="593806" y="1538406"/>
                  <a:pt x="648596" y="752930"/>
                  <a:pt x="581330" y="1086"/>
                </a:cubicBezTo>
                <a:close/>
                <a:moveTo>
                  <a:pt x="211917" y="1086"/>
                </a:moveTo>
                <a:lnTo>
                  <a:pt x="228733" y="1086"/>
                </a:lnTo>
                <a:cubicBezTo>
                  <a:pt x="228733" y="21699"/>
                  <a:pt x="233074" y="45025"/>
                  <a:pt x="233074" y="65638"/>
                </a:cubicBezTo>
                <a:cubicBezTo>
                  <a:pt x="304677" y="825076"/>
                  <a:pt x="249888" y="1620859"/>
                  <a:pt x="73591" y="2432375"/>
                </a:cubicBezTo>
                <a:lnTo>
                  <a:pt x="0" y="2740979"/>
                </a:lnTo>
                <a:lnTo>
                  <a:pt x="0" y="2669289"/>
                </a:lnTo>
                <a:lnTo>
                  <a:pt x="14734" y="2608334"/>
                </a:lnTo>
                <a:cubicBezTo>
                  <a:pt x="28431" y="2549681"/>
                  <a:pt x="42128" y="2490688"/>
                  <a:pt x="56774" y="2432375"/>
                </a:cubicBezTo>
                <a:cubicBezTo>
                  <a:pt x="233074" y="1620859"/>
                  <a:pt x="287861" y="825076"/>
                  <a:pt x="216257" y="65638"/>
                </a:cubicBezTo>
                <a:cubicBezTo>
                  <a:pt x="216257" y="45025"/>
                  <a:pt x="211917" y="21699"/>
                  <a:pt x="211917" y="1086"/>
                </a:cubicBezTo>
                <a:close/>
                <a:moveTo>
                  <a:pt x="3332125" y="544"/>
                </a:moveTo>
                <a:lnTo>
                  <a:pt x="3348941" y="544"/>
                </a:lnTo>
                <a:cubicBezTo>
                  <a:pt x="3348941" y="537033"/>
                  <a:pt x="3264860" y="1076233"/>
                  <a:pt x="3088562" y="1605129"/>
                </a:cubicBezTo>
                <a:cubicBezTo>
                  <a:pt x="3038114" y="1755389"/>
                  <a:pt x="2983870" y="1905650"/>
                  <a:pt x="2929079" y="2051028"/>
                </a:cubicBezTo>
                <a:cubicBezTo>
                  <a:pt x="2811367" y="2359686"/>
                  <a:pt x="2694196" y="2680819"/>
                  <a:pt x="2639409" y="3002496"/>
                </a:cubicBezTo>
                <a:cubicBezTo>
                  <a:pt x="2576485" y="3383842"/>
                  <a:pt x="2597639" y="3798279"/>
                  <a:pt x="2711012" y="4340193"/>
                </a:cubicBezTo>
                <a:cubicBezTo>
                  <a:pt x="2887310" y="5197816"/>
                  <a:pt x="3168845" y="5814588"/>
                  <a:pt x="3622339" y="6346196"/>
                </a:cubicBezTo>
                <a:cubicBezTo>
                  <a:pt x="3740052" y="6480725"/>
                  <a:pt x="3870240" y="6615797"/>
                  <a:pt x="4017247" y="6742732"/>
                </a:cubicBezTo>
                <a:lnTo>
                  <a:pt x="4153244" y="6858000"/>
                </a:lnTo>
                <a:lnTo>
                  <a:pt x="4131719" y="6858000"/>
                </a:lnTo>
                <a:lnTo>
                  <a:pt x="4000431" y="6747070"/>
                </a:lnTo>
                <a:cubicBezTo>
                  <a:pt x="3857764" y="6620136"/>
                  <a:pt x="3723235" y="6485064"/>
                  <a:pt x="3605523" y="6350535"/>
                </a:cubicBezTo>
                <a:cubicBezTo>
                  <a:pt x="3152029" y="5819472"/>
                  <a:pt x="2870494" y="5199986"/>
                  <a:pt x="2694196" y="4341820"/>
                </a:cubicBezTo>
                <a:cubicBezTo>
                  <a:pt x="2580823" y="3797737"/>
                  <a:pt x="2559668" y="3382757"/>
                  <a:pt x="2622594" y="3001954"/>
                </a:cubicBezTo>
                <a:cubicBezTo>
                  <a:pt x="2676838" y="2678108"/>
                  <a:pt x="2794551" y="2356973"/>
                  <a:pt x="2912265" y="2048314"/>
                </a:cubicBezTo>
                <a:cubicBezTo>
                  <a:pt x="2966509" y="1902938"/>
                  <a:pt x="3021297" y="1752677"/>
                  <a:pt x="3071746" y="1602417"/>
                </a:cubicBezTo>
                <a:cubicBezTo>
                  <a:pt x="3243705" y="1073522"/>
                  <a:pt x="3332125" y="537033"/>
                  <a:pt x="3332125" y="544"/>
                </a:cubicBezTo>
                <a:close/>
                <a:moveTo>
                  <a:pt x="26939" y="544"/>
                </a:moveTo>
                <a:lnTo>
                  <a:pt x="43756" y="544"/>
                </a:lnTo>
                <a:cubicBezTo>
                  <a:pt x="47552" y="36888"/>
                  <a:pt x="51892" y="70520"/>
                  <a:pt x="51892" y="106864"/>
                </a:cubicBezTo>
                <a:cubicBezTo>
                  <a:pt x="105596" y="676444"/>
                  <a:pt x="88203" y="1267992"/>
                  <a:pt x="3605" y="1872585"/>
                </a:cubicBezTo>
                <a:lnTo>
                  <a:pt x="0" y="1893117"/>
                </a:lnTo>
                <a:lnTo>
                  <a:pt x="0" y="1720977"/>
                </a:lnTo>
                <a:lnTo>
                  <a:pt x="46671" y="1272332"/>
                </a:lnTo>
                <a:cubicBezTo>
                  <a:pt x="72912" y="876068"/>
                  <a:pt x="68708" y="486584"/>
                  <a:pt x="35076" y="106864"/>
                </a:cubicBezTo>
                <a:cubicBezTo>
                  <a:pt x="31279" y="70520"/>
                  <a:pt x="31279" y="36888"/>
                  <a:pt x="26939" y="544"/>
                </a:cubicBezTo>
                <a:close/>
                <a:moveTo>
                  <a:pt x="3513847" y="0"/>
                </a:moveTo>
                <a:lnTo>
                  <a:pt x="3530663" y="0"/>
                </a:lnTo>
                <a:cubicBezTo>
                  <a:pt x="3526324" y="520759"/>
                  <a:pt x="3437903" y="1042060"/>
                  <a:pt x="3265944" y="1555224"/>
                </a:cubicBezTo>
                <a:cubicBezTo>
                  <a:pt x="3215497" y="1706025"/>
                  <a:pt x="3156911" y="1858456"/>
                  <a:pt x="3102124" y="2003834"/>
                </a:cubicBezTo>
                <a:cubicBezTo>
                  <a:pt x="2984412" y="2311950"/>
                  <a:pt x="2862900" y="2628201"/>
                  <a:pt x="2808112" y="2947165"/>
                </a:cubicBezTo>
                <a:cubicBezTo>
                  <a:pt x="2740848" y="3328513"/>
                  <a:pt x="2762003" y="3740778"/>
                  <a:pt x="2871036" y="4284862"/>
                </a:cubicBezTo>
                <a:cubicBezTo>
                  <a:pt x="3038657" y="5140315"/>
                  <a:pt x="3315851" y="5759800"/>
                  <a:pt x="3765548" y="6288695"/>
                </a:cubicBezTo>
                <a:cubicBezTo>
                  <a:pt x="3878920" y="6423224"/>
                  <a:pt x="4009110" y="6558296"/>
                  <a:pt x="4151774" y="6685231"/>
                </a:cubicBezTo>
                <a:cubicBezTo>
                  <a:pt x="4207987" y="6735137"/>
                  <a:pt x="4266555" y="6784679"/>
                  <a:pt x="4327448" y="6833830"/>
                </a:cubicBezTo>
                <a:lnTo>
                  <a:pt x="4358784" y="6858000"/>
                </a:lnTo>
                <a:lnTo>
                  <a:pt x="4338751" y="6858000"/>
                </a:lnTo>
                <a:lnTo>
                  <a:pt x="4314974" y="6839584"/>
                </a:lnTo>
                <a:cubicBezTo>
                  <a:pt x="4254081" y="6790187"/>
                  <a:pt x="4195513" y="6740357"/>
                  <a:pt x="4139300" y="6690112"/>
                </a:cubicBezTo>
                <a:cubicBezTo>
                  <a:pt x="3996633" y="6563177"/>
                  <a:pt x="3862105" y="6428107"/>
                  <a:pt x="3748732" y="6293577"/>
                </a:cubicBezTo>
                <a:cubicBezTo>
                  <a:pt x="3299578" y="5762513"/>
                  <a:pt x="3021841" y="5143028"/>
                  <a:pt x="2849882" y="4284862"/>
                </a:cubicBezTo>
                <a:cubicBezTo>
                  <a:pt x="2740848" y="3740236"/>
                  <a:pt x="2724032" y="3327971"/>
                  <a:pt x="2791295" y="2947165"/>
                </a:cubicBezTo>
                <a:cubicBezTo>
                  <a:pt x="2846085" y="2626031"/>
                  <a:pt x="2967596" y="2309779"/>
                  <a:pt x="3085308" y="2001123"/>
                </a:cubicBezTo>
                <a:cubicBezTo>
                  <a:pt x="3140095" y="1855744"/>
                  <a:pt x="3198680" y="1702771"/>
                  <a:pt x="3249128" y="1555224"/>
                </a:cubicBezTo>
                <a:cubicBezTo>
                  <a:pt x="3421629" y="1042060"/>
                  <a:pt x="3509508" y="520759"/>
                  <a:pt x="3513847" y="0"/>
                </a:cubicBezTo>
                <a:close/>
              </a:path>
            </a:pathLst>
          </a:custGeom>
          <a:solidFill>
            <a:schemeClr val="tx2">
              <a:alpha val="1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06B9D0E-8C9B-4109-AFF5-A7240534E9BA}"/>
              </a:ext>
            </a:extLst>
          </p:cNvPr>
          <p:cNvSpPr/>
          <p:nvPr/>
        </p:nvSpPr>
        <p:spPr>
          <a:xfrm>
            <a:off x="4021995" y="0"/>
            <a:ext cx="1162537" cy="6858000"/>
          </a:xfrm>
          <a:custGeom>
            <a:avLst/>
            <a:gdLst>
              <a:gd name="connsiteX0" fmla="*/ 1117940 w 1117940"/>
              <a:gd name="connsiteY0" fmla="*/ 0 h 6858000"/>
              <a:gd name="connsiteX1" fmla="*/ 889340 w 1117940"/>
              <a:gd name="connsiteY1" fmla="*/ 1168400 h 6858000"/>
              <a:gd name="connsiteX2" fmla="*/ 178140 w 1117940"/>
              <a:gd name="connsiteY2" fmla="*/ 3048000 h 6858000"/>
              <a:gd name="connsiteX3" fmla="*/ 340 w 1117940"/>
              <a:gd name="connsiteY3" fmla="*/ 4343400 h 6858000"/>
              <a:gd name="connsiteX4" fmla="*/ 203540 w 1117940"/>
              <a:gd name="connsiteY4" fmla="*/ 5613400 h 6858000"/>
              <a:gd name="connsiteX5" fmla="*/ 1003640 w 111794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7940" h="6858000">
                <a:moveTo>
                  <a:pt x="1117940" y="0"/>
                </a:moveTo>
                <a:cubicBezTo>
                  <a:pt x="1081956" y="330200"/>
                  <a:pt x="1045973" y="660400"/>
                  <a:pt x="889340" y="1168400"/>
                </a:cubicBezTo>
                <a:cubicBezTo>
                  <a:pt x="732707" y="1676400"/>
                  <a:pt x="326307" y="2518833"/>
                  <a:pt x="178140" y="3048000"/>
                </a:cubicBezTo>
                <a:cubicBezTo>
                  <a:pt x="29973" y="3577167"/>
                  <a:pt x="-3893" y="3915833"/>
                  <a:pt x="340" y="4343400"/>
                </a:cubicBezTo>
                <a:cubicBezTo>
                  <a:pt x="4573" y="4770967"/>
                  <a:pt x="36323" y="5194300"/>
                  <a:pt x="203540" y="5613400"/>
                </a:cubicBezTo>
                <a:cubicBezTo>
                  <a:pt x="370757" y="6032500"/>
                  <a:pt x="687198" y="6445250"/>
                  <a:pt x="1003640" y="6858000"/>
                </a:cubicBezTo>
              </a:path>
            </a:pathLst>
          </a:cu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D2E57840-A944-4D4D-95A2-6D75D6106F59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7446" y="404132"/>
            <a:ext cx="1099754" cy="464540"/>
          </a:xfrm>
          <a:prstGeom prst="rect">
            <a:avLst/>
          </a:prstGeom>
        </p:spPr>
      </p:pic>
      <p:sp>
        <p:nvSpPr>
          <p:cNvPr id="2" name="Freeform: Shape 1">
            <a:extLst>
              <a:ext uri="{FF2B5EF4-FFF2-40B4-BE49-F238E27FC236}">
                <a16:creationId xmlns:a16="http://schemas.microsoft.com/office/drawing/2014/main" id="{2D4E0E04-9EB5-23C9-4CF3-CDBCA16EB4C5}"/>
              </a:ext>
            </a:extLst>
          </p:cNvPr>
          <p:cNvSpPr/>
          <p:nvPr userDrawn="1"/>
        </p:nvSpPr>
        <p:spPr>
          <a:xfrm>
            <a:off x="253348" y="1405467"/>
            <a:ext cx="4951525" cy="6860868"/>
          </a:xfrm>
          <a:custGeom>
            <a:avLst/>
            <a:gdLst>
              <a:gd name="connsiteX0" fmla="*/ 4386826 w 4951525"/>
              <a:gd name="connsiteY0" fmla="*/ 0 h 6860868"/>
              <a:gd name="connsiteX1" fmla="*/ 4830606 w 4951525"/>
              <a:gd name="connsiteY1" fmla="*/ 6695429 h 6860868"/>
              <a:gd name="connsiteX2" fmla="*/ 4951525 w 4951525"/>
              <a:gd name="connsiteY2" fmla="*/ 6860868 h 6860868"/>
              <a:gd name="connsiteX3" fmla="*/ 0 w 4951525"/>
              <a:gd name="connsiteY3" fmla="*/ 6860868 h 6860868"/>
              <a:gd name="connsiteX4" fmla="*/ 0 w 4951525"/>
              <a:gd name="connsiteY4" fmla="*/ 2905 h 6860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1525" h="6860868">
                <a:moveTo>
                  <a:pt x="4386826" y="0"/>
                </a:moveTo>
                <a:cubicBezTo>
                  <a:pt x="5165363" y="2561287"/>
                  <a:pt x="3038487" y="4101959"/>
                  <a:pt x="4830606" y="6695429"/>
                </a:cubicBezTo>
                <a:lnTo>
                  <a:pt x="4951525" y="6860868"/>
                </a:lnTo>
                <a:lnTo>
                  <a:pt x="0" y="6860868"/>
                </a:lnTo>
                <a:lnTo>
                  <a:pt x="0" y="2905"/>
                </a:lnTo>
                <a:close/>
              </a:path>
            </a:pathLst>
          </a:custGeom>
          <a:gradFill>
            <a:gsLst>
              <a:gs pos="33000">
                <a:srgbClr val="3EB6AD">
                  <a:lumMod val="100000"/>
                  <a:alpha val="0"/>
                </a:srgbClr>
              </a:gs>
              <a:gs pos="0">
                <a:srgbClr val="3BCCFF">
                  <a:lumMod val="45000"/>
                  <a:alpha val="46000"/>
                </a:srgb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421603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008AEB-F092-4B15-A9B2-344A1F6810C5}"/>
              </a:ext>
            </a:extLst>
          </p:cNvPr>
          <p:cNvSpPr/>
          <p:nvPr/>
        </p:nvSpPr>
        <p:spPr>
          <a:xfrm>
            <a:off x="0" y="0"/>
            <a:ext cx="12192000" cy="563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621920"/>
      </p:ext>
    </p:extLst>
  </p:cSld>
  <p:clrMapOvr>
    <a:masterClrMapping/>
  </p:clrMapOvr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E914221-A0A7-878A-1B18-C37FAEFAA501}"/>
              </a:ext>
            </a:extLst>
          </p:cNvPr>
          <p:cNvGrpSpPr/>
          <p:nvPr userDrawn="1"/>
        </p:nvGrpSpPr>
        <p:grpSpPr>
          <a:xfrm>
            <a:off x="-5247227" y="5100691"/>
            <a:ext cx="11539831" cy="6019315"/>
            <a:chOff x="4868423" y="9747437"/>
            <a:chExt cx="11536826" cy="601931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2E7353C-5CAA-0EBA-015E-8C88C972225E}"/>
                </a:ext>
              </a:extLst>
            </p:cNvPr>
            <p:cNvSpPr/>
            <p:nvPr/>
          </p:nvSpPr>
          <p:spPr>
            <a:xfrm rot="5102068" flipH="1">
              <a:off x="9962425" y="8948970"/>
              <a:ext cx="5088940" cy="7796708"/>
            </a:xfrm>
            <a:prstGeom prst="ellipse">
              <a:avLst/>
            </a:prstGeom>
            <a:gradFill flip="none" rotWithShape="1">
              <a:gsLst>
                <a:gs pos="47000">
                  <a:schemeClr val="accent3">
                    <a:alpha val="50000"/>
                  </a:schemeClr>
                </a:gs>
                <a:gs pos="0">
                  <a:schemeClr val="tx2">
                    <a:alpha val="50000"/>
                  </a:schemeClr>
                </a:gs>
                <a:gs pos="23836">
                  <a:srgbClr val="757FD9"/>
                </a:gs>
                <a:gs pos="15000">
                  <a:srgbClr val="7A7CD4"/>
                </a:gs>
                <a:gs pos="89000">
                  <a:schemeClr val="accent4">
                    <a:alpha val="63000"/>
                  </a:schemeClr>
                </a:gs>
              </a:gsLst>
              <a:lin ang="18900000" scaled="1"/>
              <a:tileRect/>
            </a:gra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latin typeface="InspireTWDC" panose="00000000000000020000" pitchFamily="50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66A0C0EC-3111-72D6-B4F9-55E7736E15D3}"/>
                </a:ext>
              </a:extLst>
            </p:cNvPr>
            <p:cNvSpPr/>
            <p:nvPr/>
          </p:nvSpPr>
          <p:spPr>
            <a:xfrm rot="13500000" flipH="1">
              <a:off x="5628098" y="8987762"/>
              <a:ext cx="6019315" cy="7538666"/>
            </a:xfrm>
            <a:prstGeom prst="ellipse">
              <a:avLst/>
            </a:prstGeom>
            <a:gradFill flip="none" rotWithShape="1">
              <a:gsLst>
                <a:gs pos="62000">
                  <a:schemeClr val="accent3">
                    <a:alpha val="32000"/>
                  </a:schemeClr>
                </a:gs>
                <a:gs pos="0">
                  <a:schemeClr val="tx2">
                    <a:alpha val="29000"/>
                  </a:schemeClr>
                </a:gs>
                <a:gs pos="34000">
                  <a:srgbClr val="7A7CD4">
                    <a:alpha val="72000"/>
                  </a:srgbClr>
                </a:gs>
                <a:gs pos="89000">
                  <a:schemeClr val="accent4">
                    <a:alpha val="50000"/>
                  </a:schemeClr>
                </a:gs>
              </a:gsLst>
              <a:lin ang="18900000" scaled="1"/>
              <a:tileRect/>
            </a:gra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latin typeface="InspireTWDC" panose="00000000000000020000" pitchFamily="50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EF73BAD-B836-CEC5-B439-31D498C658B5}"/>
                </a:ext>
              </a:extLst>
            </p:cNvPr>
            <p:cNvSpPr/>
            <p:nvPr/>
          </p:nvSpPr>
          <p:spPr>
            <a:xfrm rot="19800000" flipH="1">
              <a:off x="7605435" y="9977978"/>
              <a:ext cx="5900438" cy="4901479"/>
            </a:xfrm>
            <a:prstGeom prst="ellipse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latin typeface="InspireTWDC" panose="00000000000000020000" pitchFamily="50" charset="0"/>
              </a:endParaRPr>
            </a:p>
          </p:txBody>
        </p:sp>
      </p:grp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D5C24FF9-06CA-AEFF-2EF7-2072ED7D8E5C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288" y="4720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0988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235D"/>
              </a:gs>
              <a:gs pos="86000">
                <a:schemeClr val="accent3"/>
              </a:gs>
              <a:gs pos="5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9624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EA9CA8-4796-209C-5BCA-E0DF9973CFE0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pPr algn="r"/>
              <a:t>‹#›</a:t>
            </a:fld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C48E51-5614-F41E-5FFA-45EBB46E59B4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t>©2025 Acquis Consulting Group, L.L.C.</a:t>
            </a:r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C618CC-DE1B-0404-40DF-E8BF747E1918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7E7F0135-6C98-6B87-C11D-73289AD24D90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52" y="6308721"/>
            <a:ext cx="878053" cy="374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758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05D9941-CF8B-266C-2C4A-05C68135654D}"/>
              </a:ext>
            </a:extLst>
          </p:cNvPr>
          <p:cNvSpPr/>
          <p:nvPr userDrawn="1"/>
        </p:nvSpPr>
        <p:spPr>
          <a:xfrm rot="16200000" flipH="1">
            <a:off x="2683714" y="-2682025"/>
            <a:ext cx="6857999" cy="12192000"/>
          </a:xfrm>
          <a:custGeom>
            <a:avLst/>
            <a:gdLst>
              <a:gd name="connsiteX0" fmla="*/ 2608751 w 4703181"/>
              <a:gd name="connsiteY0" fmla="*/ 5105305 h 12188825"/>
              <a:gd name="connsiteX1" fmla="*/ 2639362 w 4703181"/>
              <a:gd name="connsiteY1" fmla="*/ 6171565 h 12188825"/>
              <a:gd name="connsiteX2" fmla="*/ 3151435 w 4703181"/>
              <a:gd name="connsiteY2" fmla="*/ 9535377 h 12188825"/>
              <a:gd name="connsiteX3" fmla="*/ 3923653 w 4703181"/>
              <a:gd name="connsiteY3" fmla="*/ 11210893 h 12188825"/>
              <a:gd name="connsiteX4" fmla="*/ 4428881 w 4703181"/>
              <a:gd name="connsiteY4" fmla="*/ 11906322 h 12188825"/>
              <a:gd name="connsiteX5" fmla="*/ 4680688 w 4703181"/>
              <a:gd name="connsiteY5" fmla="*/ 12188825 h 12188825"/>
              <a:gd name="connsiteX6" fmla="*/ 4703181 w 4703181"/>
              <a:gd name="connsiteY6" fmla="*/ 12188825 h 12188825"/>
              <a:gd name="connsiteX7" fmla="*/ 4426466 w 4703181"/>
              <a:gd name="connsiteY7" fmla="*/ 11877318 h 12188825"/>
              <a:gd name="connsiteX8" fmla="*/ 3163562 w 4703181"/>
              <a:gd name="connsiteY8" fmla="*/ 9527159 h 12188825"/>
              <a:gd name="connsiteX9" fmla="*/ 2654618 w 4703181"/>
              <a:gd name="connsiteY9" fmla="*/ 6167910 h 12188825"/>
              <a:gd name="connsiteX10" fmla="*/ 2682002 w 4703181"/>
              <a:gd name="connsiteY10" fmla="*/ 3969193 h 12188825"/>
              <a:gd name="connsiteX11" fmla="*/ 2936278 w 4703181"/>
              <a:gd name="connsiteY11" fmla="*/ 2523777 h 12188825"/>
              <a:gd name="connsiteX12" fmla="*/ 3093930 w 4703181"/>
              <a:gd name="connsiteY12" fmla="*/ 1721172 h 12188825"/>
              <a:gd name="connsiteX13" fmla="*/ 3293830 w 4703181"/>
              <a:gd name="connsiteY13" fmla="*/ 1828 h 12188825"/>
              <a:gd name="connsiteX14" fmla="*/ 3281703 w 4703181"/>
              <a:gd name="connsiteY14" fmla="*/ 1828 h 12188825"/>
              <a:gd name="connsiteX15" fmla="*/ 3081803 w 4703181"/>
              <a:gd name="connsiteY15" fmla="*/ 1716605 h 12188825"/>
              <a:gd name="connsiteX16" fmla="*/ 2924151 w 4703181"/>
              <a:gd name="connsiteY16" fmla="*/ 2519212 h 12188825"/>
              <a:gd name="connsiteX17" fmla="*/ 2666745 w 4703181"/>
              <a:gd name="connsiteY17" fmla="*/ 3963715 h 12188825"/>
              <a:gd name="connsiteX18" fmla="*/ 2608751 w 4703181"/>
              <a:gd name="connsiteY18" fmla="*/ 5105305 h 12188825"/>
              <a:gd name="connsiteX19" fmla="*/ 2492175 w 4703181"/>
              <a:gd name="connsiteY19" fmla="*/ 5200265 h 12188825"/>
              <a:gd name="connsiteX20" fmla="*/ 2527089 w 4703181"/>
              <a:gd name="connsiteY20" fmla="*/ 6267436 h 12188825"/>
              <a:gd name="connsiteX21" fmla="*/ 3048160 w 4703181"/>
              <a:gd name="connsiteY21" fmla="*/ 9631249 h 12188825"/>
              <a:gd name="connsiteX22" fmla="*/ 3302436 w 4703181"/>
              <a:gd name="connsiteY22" fmla="*/ 10307849 h 12188825"/>
              <a:gd name="connsiteX23" fmla="*/ 4337932 w 4703181"/>
              <a:gd name="connsiteY23" fmla="*/ 12000941 h 12188825"/>
              <a:gd name="connsiteX24" fmla="*/ 4501908 w 4703181"/>
              <a:gd name="connsiteY24" fmla="*/ 12188825 h 12188825"/>
              <a:gd name="connsiteX25" fmla="*/ 4522453 w 4703181"/>
              <a:gd name="connsiteY25" fmla="*/ 12188825 h 12188825"/>
              <a:gd name="connsiteX26" fmla="*/ 4347456 w 4703181"/>
              <a:gd name="connsiteY26" fmla="*/ 11988315 h 12188825"/>
              <a:gd name="connsiteX27" fmla="*/ 3314954 w 4703181"/>
              <a:gd name="connsiteY27" fmla="*/ 10298717 h 12188825"/>
              <a:gd name="connsiteX28" fmla="*/ 3060679 w 4703181"/>
              <a:gd name="connsiteY28" fmla="*/ 9622121 h 12188825"/>
              <a:gd name="connsiteX29" fmla="*/ 2539607 w 4703181"/>
              <a:gd name="connsiteY29" fmla="*/ 6262871 h 12188825"/>
              <a:gd name="connsiteX30" fmla="*/ 2560732 w 4703181"/>
              <a:gd name="connsiteY30" fmla="*/ 4059590 h 12188825"/>
              <a:gd name="connsiteX31" fmla="*/ 2812269 w 4703181"/>
              <a:gd name="connsiteY31" fmla="*/ 2602301 h 12188825"/>
              <a:gd name="connsiteX32" fmla="*/ 2966791 w 4703181"/>
              <a:gd name="connsiteY32" fmla="*/ 1804263 h 12188825"/>
              <a:gd name="connsiteX33" fmla="*/ 3166692 w 4703181"/>
              <a:gd name="connsiteY33" fmla="*/ 2740 h 12188825"/>
              <a:gd name="connsiteX34" fmla="*/ 3154565 w 4703181"/>
              <a:gd name="connsiteY34" fmla="*/ 2740 h 12188825"/>
              <a:gd name="connsiteX35" fmla="*/ 2954274 w 4703181"/>
              <a:gd name="connsiteY35" fmla="*/ 1799697 h 12188825"/>
              <a:gd name="connsiteX36" fmla="*/ 2796622 w 4703181"/>
              <a:gd name="connsiteY36" fmla="*/ 2597736 h 12188825"/>
              <a:gd name="connsiteX37" fmla="*/ 2548215 w 4703181"/>
              <a:gd name="connsiteY37" fmla="*/ 4055025 h 12188825"/>
              <a:gd name="connsiteX38" fmla="*/ 2492175 w 4703181"/>
              <a:gd name="connsiteY38" fmla="*/ 5200265 h 12188825"/>
              <a:gd name="connsiteX39" fmla="*/ 2374376 w 4703181"/>
              <a:gd name="connsiteY39" fmla="*/ 5294998 h 12188825"/>
              <a:gd name="connsiteX40" fmla="*/ 2412078 w 4703181"/>
              <a:gd name="connsiteY40" fmla="*/ 6358744 h 12188825"/>
              <a:gd name="connsiteX41" fmla="*/ 2948406 w 4703181"/>
              <a:gd name="connsiteY41" fmla="*/ 9727125 h 12188825"/>
              <a:gd name="connsiteX42" fmla="*/ 3205812 w 4703181"/>
              <a:gd name="connsiteY42" fmla="*/ 10403723 h 12188825"/>
              <a:gd name="connsiteX43" fmla="*/ 4245239 w 4703181"/>
              <a:gd name="connsiteY43" fmla="*/ 12093056 h 12188825"/>
              <a:gd name="connsiteX44" fmla="*/ 4329667 w 4703181"/>
              <a:gd name="connsiteY44" fmla="*/ 12188825 h 12188825"/>
              <a:gd name="connsiteX45" fmla="*/ 4346385 w 4703181"/>
              <a:gd name="connsiteY45" fmla="*/ 12188825 h 12188825"/>
              <a:gd name="connsiteX46" fmla="*/ 4252139 w 4703181"/>
              <a:gd name="connsiteY46" fmla="*/ 12081456 h 12188825"/>
              <a:gd name="connsiteX47" fmla="*/ 3214810 w 4703181"/>
              <a:gd name="connsiteY47" fmla="*/ 10396417 h 12188825"/>
              <a:gd name="connsiteX48" fmla="*/ 2960533 w 4703181"/>
              <a:gd name="connsiteY48" fmla="*/ 9719821 h 12188825"/>
              <a:gd name="connsiteX49" fmla="*/ 2424205 w 4703181"/>
              <a:gd name="connsiteY49" fmla="*/ 6360572 h 12188825"/>
              <a:gd name="connsiteX50" fmla="*/ 2439462 w 4703181"/>
              <a:gd name="connsiteY50" fmla="*/ 4148159 h 12188825"/>
              <a:gd name="connsiteX51" fmla="*/ 2687870 w 4703181"/>
              <a:gd name="connsiteY51" fmla="*/ 2682653 h 12188825"/>
              <a:gd name="connsiteX52" fmla="*/ 2839262 w 4703181"/>
              <a:gd name="connsiteY52" fmla="*/ 1888267 h 12188825"/>
              <a:gd name="connsiteX53" fmla="*/ 3039162 w 4703181"/>
              <a:gd name="connsiteY53" fmla="*/ 3653 h 12188825"/>
              <a:gd name="connsiteX54" fmla="*/ 3027035 w 4703181"/>
              <a:gd name="connsiteY54" fmla="*/ 3653 h 12188825"/>
              <a:gd name="connsiteX55" fmla="*/ 2824006 w 4703181"/>
              <a:gd name="connsiteY55" fmla="*/ 1881876 h 12188825"/>
              <a:gd name="connsiteX56" fmla="*/ 2672613 w 4703181"/>
              <a:gd name="connsiteY56" fmla="*/ 2676260 h 12188825"/>
              <a:gd name="connsiteX57" fmla="*/ 2427334 w 4703181"/>
              <a:gd name="connsiteY57" fmla="*/ 4146333 h 12188825"/>
              <a:gd name="connsiteX58" fmla="*/ 2374376 w 4703181"/>
              <a:gd name="connsiteY58" fmla="*/ 5294998 h 12188825"/>
              <a:gd name="connsiteX59" fmla="*/ 2257654 w 4703181"/>
              <a:gd name="connsiteY59" fmla="*/ 5387105 h 12188825"/>
              <a:gd name="connsiteX60" fmla="*/ 2297458 w 4703181"/>
              <a:gd name="connsiteY60" fmla="*/ 6454621 h 12188825"/>
              <a:gd name="connsiteX61" fmla="*/ 2845912 w 4703181"/>
              <a:gd name="connsiteY61" fmla="*/ 9822999 h 12188825"/>
              <a:gd name="connsiteX62" fmla="*/ 3106448 w 4703181"/>
              <a:gd name="connsiteY62" fmla="*/ 10499599 h 12188825"/>
              <a:gd name="connsiteX63" fmla="*/ 4153715 w 4703181"/>
              <a:gd name="connsiteY63" fmla="*/ 12187433 h 12188825"/>
              <a:gd name="connsiteX64" fmla="*/ 4154941 w 4703181"/>
              <a:gd name="connsiteY64" fmla="*/ 12188825 h 12188825"/>
              <a:gd name="connsiteX65" fmla="*/ 4172800 w 4703181"/>
              <a:gd name="connsiteY65" fmla="*/ 12188825 h 12188825"/>
              <a:gd name="connsiteX66" fmla="*/ 4160605 w 4703181"/>
              <a:gd name="connsiteY66" fmla="*/ 12174920 h 12188825"/>
              <a:gd name="connsiteX67" fmla="*/ 3118184 w 4703181"/>
              <a:gd name="connsiteY67" fmla="*/ 10491381 h 12188825"/>
              <a:gd name="connsiteX68" fmla="*/ 2857649 w 4703181"/>
              <a:gd name="connsiteY68" fmla="*/ 9814781 h 12188825"/>
              <a:gd name="connsiteX69" fmla="*/ 2312323 w 4703181"/>
              <a:gd name="connsiteY69" fmla="*/ 6455534 h 12188825"/>
              <a:gd name="connsiteX70" fmla="*/ 2318191 w 4703181"/>
              <a:gd name="connsiteY70" fmla="*/ 4239467 h 12188825"/>
              <a:gd name="connsiteX71" fmla="*/ 2560341 w 4703181"/>
              <a:gd name="connsiteY71" fmla="*/ 2760265 h 12188825"/>
              <a:gd name="connsiteX72" fmla="*/ 2708603 w 4703181"/>
              <a:gd name="connsiteY72" fmla="*/ 1965881 h 12188825"/>
              <a:gd name="connsiteX73" fmla="*/ 2911633 w 4703181"/>
              <a:gd name="connsiteY73" fmla="*/ 2740 h 12188825"/>
              <a:gd name="connsiteX74" fmla="*/ 2899506 w 4703181"/>
              <a:gd name="connsiteY74" fmla="*/ 2740 h 12188825"/>
              <a:gd name="connsiteX75" fmla="*/ 2696868 w 4703181"/>
              <a:gd name="connsiteY75" fmla="*/ 1960401 h 12188825"/>
              <a:gd name="connsiteX76" fmla="*/ 2548606 w 4703181"/>
              <a:gd name="connsiteY76" fmla="*/ 2754787 h 12188825"/>
              <a:gd name="connsiteX77" fmla="*/ 2306455 w 4703181"/>
              <a:gd name="connsiteY77" fmla="*/ 4233992 h 12188825"/>
              <a:gd name="connsiteX78" fmla="*/ 2257654 w 4703181"/>
              <a:gd name="connsiteY78" fmla="*/ 5387105 h 12188825"/>
              <a:gd name="connsiteX79" fmla="*/ 2140304 w 4703181"/>
              <a:gd name="connsiteY79" fmla="*/ 5197653 h 12188825"/>
              <a:gd name="connsiteX80" fmla="*/ 2184795 w 4703181"/>
              <a:gd name="connsiteY80" fmla="*/ 6550494 h 12188825"/>
              <a:gd name="connsiteX81" fmla="*/ 2744985 w 4703181"/>
              <a:gd name="connsiteY81" fmla="*/ 9918873 h 12188825"/>
              <a:gd name="connsiteX82" fmla="*/ 3005520 w 4703181"/>
              <a:gd name="connsiteY82" fmla="*/ 10595473 h 12188825"/>
              <a:gd name="connsiteX83" fmla="*/ 3881746 w 4703181"/>
              <a:gd name="connsiteY83" fmla="*/ 12060806 h 12188825"/>
              <a:gd name="connsiteX84" fmla="*/ 3985674 w 4703181"/>
              <a:gd name="connsiteY84" fmla="*/ 12188825 h 12188825"/>
              <a:gd name="connsiteX85" fmla="*/ 4004655 w 4703181"/>
              <a:gd name="connsiteY85" fmla="*/ 12188825 h 12188825"/>
              <a:gd name="connsiteX86" fmla="*/ 3890402 w 4703181"/>
              <a:gd name="connsiteY86" fmla="*/ 12048093 h 12188825"/>
              <a:gd name="connsiteX87" fmla="*/ 3017256 w 4703181"/>
              <a:gd name="connsiteY87" fmla="*/ 10587253 h 12188825"/>
              <a:gd name="connsiteX88" fmla="*/ 2756720 w 4703181"/>
              <a:gd name="connsiteY88" fmla="*/ 9910657 h 12188825"/>
              <a:gd name="connsiteX89" fmla="*/ 2196530 w 4703181"/>
              <a:gd name="connsiteY89" fmla="*/ 6546842 h 12188825"/>
              <a:gd name="connsiteX90" fmla="*/ 2196530 w 4703181"/>
              <a:gd name="connsiteY90" fmla="*/ 4330779 h 12188825"/>
              <a:gd name="connsiteX91" fmla="*/ 2435940 w 4703181"/>
              <a:gd name="connsiteY91" fmla="*/ 2838792 h 12188825"/>
              <a:gd name="connsiteX92" fmla="*/ 2581465 w 4703181"/>
              <a:gd name="connsiteY92" fmla="*/ 2048971 h 12188825"/>
              <a:gd name="connsiteX93" fmla="*/ 2781366 w 4703181"/>
              <a:gd name="connsiteY93" fmla="*/ 2740 h 12188825"/>
              <a:gd name="connsiteX94" fmla="*/ 2769238 w 4703181"/>
              <a:gd name="connsiteY94" fmla="*/ 2740 h 12188825"/>
              <a:gd name="connsiteX95" fmla="*/ 2569730 w 4703181"/>
              <a:gd name="connsiteY95" fmla="*/ 2043491 h 12188825"/>
              <a:gd name="connsiteX96" fmla="*/ 2424205 w 4703181"/>
              <a:gd name="connsiteY96" fmla="*/ 2833314 h 12188825"/>
              <a:gd name="connsiteX97" fmla="*/ 2184795 w 4703181"/>
              <a:gd name="connsiteY97" fmla="*/ 4325297 h 12188825"/>
              <a:gd name="connsiteX98" fmla="*/ 2140304 w 4703181"/>
              <a:gd name="connsiteY98" fmla="*/ 5197653 h 12188825"/>
              <a:gd name="connsiteX99" fmla="*/ 2021831 w 4703181"/>
              <a:gd name="connsiteY99" fmla="*/ 5292172 h 12188825"/>
              <a:gd name="connsiteX100" fmla="*/ 2069783 w 4703181"/>
              <a:gd name="connsiteY100" fmla="*/ 6646365 h 12188825"/>
              <a:gd name="connsiteX101" fmla="*/ 2642100 w 4703181"/>
              <a:gd name="connsiteY101" fmla="*/ 10014747 h 12188825"/>
              <a:gd name="connsiteX102" fmla="*/ 2908504 w 4703181"/>
              <a:gd name="connsiteY102" fmla="*/ 10691345 h 12188825"/>
              <a:gd name="connsiteX103" fmla="*/ 3787206 w 4703181"/>
              <a:gd name="connsiteY103" fmla="*/ 12152185 h 12188825"/>
              <a:gd name="connsiteX104" fmla="*/ 3816965 w 4703181"/>
              <a:gd name="connsiteY104" fmla="*/ 12188825 h 12188825"/>
              <a:gd name="connsiteX105" fmla="*/ 3837535 w 4703181"/>
              <a:gd name="connsiteY105" fmla="*/ 12188825 h 12188825"/>
              <a:gd name="connsiteX106" fmla="*/ 3795646 w 4703181"/>
              <a:gd name="connsiteY106" fmla="*/ 12137547 h 12188825"/>
              <a:gd name="connsiteX107" fmla="*/ 2917110 w 4703181"/>
              <a:gd name="connsiteY107" fmla="*/ 10683127 h 12188825"/>
              <a:gd name="connsiteX108" fmla="*/ 2653445 w 4703181"/>
              <a:gd name="connsiteY108" fmla="*/ 10006529 h 12188825"/>
              <a:gd name="connsiteX109" fmla="*/ 2081128 w 4703181"/>
              <a:gd name="connsiteY109" fmla="*/ 6642714 h 12188825"/>
              <a:gd name="connsiteX110" fmla="*/ 2077998 w 4703181"/>
              <a:gd name="connsiteY110" fmla="*/ 4422087 h 12188825"/>
              <a:gd name="connsiteX111" fmla="*/ 2311150 w 4703181"/>
              <a:gd name="connsiteY111" fmla="*/ 2912753 h 12188825"/>
              <a:gd name="connsiteX112" fmla="*/ 2453544 w 4703181"/>
              <a:gd name="connsiteY112" fmla="*/ 2132061 h 12188825"/>
              <a:gd name="connsiteX113" fmla="*/ 2653445 w 4703181"/>
              <a:gd name="connsiteY113" fmla="*/ 2740 h 12188825"/>
              <a:gd name="connsiteX114" fmla="*/ 2641318 w 4703181"/>
              <a:gd name="connsiteY114" fmla="*/ 2740 h 12188825"/>
              <a:gd name="connsiteX115" fmla="*/ 2442591 w 4703181"/>
              <a:gd name="connsiteY115" fmla="*/ 2126581 h 12188825"/>
              <a:gd name="connsiteX116" fmla="*/ 2300196 w 4703181"/>
              <a:gd name="connsiteY116" fmla="*/ 2907272 h 12188825"/>
              <a:gd name="connsiteX117" fmla="*/ 2063915 w 4703181"/>
              <a:gd name="connsiteY117" fmla="*/ 4416608 h 12188825"/>
              <a:gd name="connsiteX118" fmla="*/ 2021831 w 4703181"/>
              <a:gd name="connsiteY118" fmla="*/ 5292172 h 12188825"/>
              <a:gd name="connsiteX119" fmla="*/ 1904686 w 4703181"/>
              <a:gd name="connsiteY119" fmla="*/ 5400875 h 12188825"/>
              <a:gd name="connsiteX120" fmla="*/ 1958292 w 4703181"/>
              <a:gd name="connsiteY120" fmla="*/ 6739501 h 12188825"/>
              <a:gd name="connsiteX121" fmla="*/ 2542738 w 4703181"/>
              <a:gd name="connsiteY121" fmla="*/ 10112449 h 12188825"/>
              <a:gd name="connsiteX122" fmla="*/ 2809140 w 4703181"/>
              <a:gd name="connsiteY122" fmla="*/ 10789045 h 12188825"/>
              <a:gd name="connsiteX123" fmla="*/ 3523933 w 4703181"/>
              <a:gd name="connsiteY123" fmla="*/ 12019084 h 12188825"/>
              <a:gd name="connsiteX124" fmla="*/ 3651957 w 4703181"/>
              <a:gd name="connsiteY124" fmla="*/ 12188825 h 12188825"/>
              <a:gd name="connsiteX125" fmla="*/ 3669378 w 4703181"/>
              <a:gd name="connsiteY125" fmla="*/ 12188825 h 12188825"/>
              <a:gd name="connsiteX126" fmla="*/ 3532332 w 4703181"/>
              <a:gd name="connsiteY126" fmla="*/ 12006541 h 12188825"/>
              <a:gd name="connsiteX127" fmla="*/ 2821267 w 4703181"/>
              <a:gd name="connsiteY127" fmla="*/ 10780829 h 12188825"/>
              <a:gd name="connsiteX128" fmla="*/ 2551735 w 4703181"/>
              <a:gd name="connsiteY128" fmla="*/ 10104229 h 12188825"/>
              <a:gd name="connsiteX129" fmla="*/ 1970028 w 4703181"/>
              <a:gd name="connsiteY129" fmla="*/ 6740414 h 12188825"/>
              <a:gd name="connsiteX130" fmla="*/ 1957901 w 4703181"/>
              <a:gd name="connsiteY130" fmla="*/ 4510657 h 12188825"/>
              <a:gd name="connsiteX131" fmla="*/ 2187923 w 4703181"/>
              <a:gd name="connsiteY131" fmla="*/ 2992193 h 12188825"/>
              <a:gd name="connsiteX132" fmla="*/ 2327189 w 4703181"/>
              <a:gd name="connsiteY132" fmla="*/ 2215153 h 12188825"/>
              <a:gd name="connsiteX133" fmla="*/ 2523959 w 4703181"/>
              <a:gd name="connsiteY133" fmla="*/ 2740 h 12188825"/>
              <a:gd name="connsiteX134" fmla="*/ 2511832 w 4703181"/>
              <a:gd name="connsiteY134" fmla="*/ 2740 h 12188825"/>
              <a:gd name="connsiteX135" fmla="*/ 2312323 w 4703181"/>
              <a:gd name="connsiteY135" fmla="*/ 2209675 h 12188825"/>
              <a:gd name="connsiteX136" fmla="*/ 2176187 w 4703181"/>
              <a:gd name="connsiteY136" fmla="*/ 2986712 h 12188825"/>
              <a:gd name="connsiteX137" fmla="*/ 1946165 w 4703181"/>
              <a:gd name="connsiteY137" fmla="*/ 4509744 h 12188825"/>
              <a:gd name="connsiteX138" fmla="*/ 1904686 w 4703181"/>
              <a:gd name="connsiteY138" fmla="*/ 5400875 h 12188825"/>
              <a:gd name="connsiteX139" fmla="*/ 1787040 w 4703181"/>
              <a:gd name="connsiteY139" fmla="*/ 5492377 h 12188825"/>
              <a:gd name="connsiteX140" fmla="*/ 1843281 w 4703181"/>
              <a:gd name="connsiteY140" fmla="*/ 6834463 h 12188825"/>
              <a:gd name="connsiteX141" fmla="*/ 2439853 w 4703181"/>
              <a:gd name="connsiteY141" fmla="*/ 10207409 h 12188825"/>
              <a:gd name="connsiteX142" fmla="*/ 2709386 w 4703181"/>
              <a:gd name="connsiteY142" fmla="*/ 10884007 h 12188825"/>
              <a:gd name="connsiteX143" fmla="*/ 3427751 w 4703181"/>
              <a:gd name="connsiteY143" fmla="*/ 12110033 h 12188825"/>
              <a:gd name="connsiteX144" fmla="*/ 3487403 w 4703181"/>
              <a:gd name="connsiteY144" fmla="*/ 12188825 h 12188825"/>
              <a:gd name="connsiteX145" fmla="*/ 3507219 w 4703181"/>
              <a:gd name="connsiteY145" fmla="*/ 12188825 h 12188825"/>
              <a:gd name="connsiteX146" fmla="*/ 3436975 w 4703181"/>
              <a:gd name="connsiteY146" fmla="*/ 12096025 h 12188825"/>
              <a:gd name="connsiteX147" fmla="*/ 2721513 w 4703181"/>
              <a:gd name="connsiteY147" fmla="*/ 10870309 h 12188825"/>
              <a:gd name="connsiteX148" fmla="*/ 2451980 w 4703181"/>
              <a:gd name="connsiteY148" fmla="*/ 10198279 h 12188825"/>
              <a:gd name="connsiteX149" fmla="*/ 1855408 w 4703181"/>
              <a:gd name="connsiteY149" fmla="*/ 6834463 h 12188825"/>
              <a:gd name="connsiteX150" fmla="*/ 1837413 w 4703181"/>
              <a:gd name="connsiteY150" fmla="*/ 4601050 h 12188825"/>
              <a:gd name="connsiteX151" fmla="*/ 2064697 w 4703181"/>
              <a:gd name="connsiteY151" fmla="*/ 3069802 h 12188825"/>
              <a:gd name="connsiteX152" fmla="*/ 2198094 w 4703181"/>
              <a:gd name="connsiteY152" fmla="*/ 2292765 h 12188825"/>
              <a:gd name="connsiteX153" fmla="*/ 2397994 w 4703181"/>
              <a:gd name="connsiteY153" fmla="*/ 1828 h 12188825"/>
              <a:gd name="connsiteX154" fmla="*/ 2385867 w 4703181"/>
              <a:gd name="connsiteY154" fmla="*/ 1828 h 12188825"/>
              <a:gd name="connsiteX155" fmla="*/ 2185968 w 4703181"/>
              <a:gd name="connsiteY155" fmla="*/ 2288202 h 12188825"/>
              <a:gd name="connsiteX156" fmla="*/ 2052571 w 4703181"/>
              <a:gd name="connsiteY156" fmla="*/ 3065236 h 12188825"/>
              <a:gd name="connsiteX157" fmla="*/ 1825286 w 4703181"/>
              <a:gd name="connsiteY157" fmla="*/ 4601050 h 12188825"/>
              <a:gd name="connsiteX158" fmla="*/ 1787040 w 4703181"/>
              <a:gd name="connsiteY158" fmla="*/ 5492377 h 12188825"/>
              <a:gd name="connsiteX159" fmla="*/ 1667909 w 4703181"/>
              <a:gd name="connsiteY159" fmla="*/ 5586534 h 12188825"/>
              <a:gd name="connsiteX160" fmla="*/ 1727879 w 4703181"/>
              <a:gd name="connsiteY160" fmla="*/ 6931252 h 12188825"/>
              <a:gd name="connsiteX161" fmla="*/ 2339707 w 4703181"/>
              <a:gd name="connsiteY161" fmla="*/ 10304197 h 12188825"/>
              <a:gd name="connsiteX162" fmla="*/ 2612370 w 4703181"/>
              <a:gd name="connsiteY162" fmla="*/ 10980795 h 12188825"/>
              <a:gd name="connsiteX163" fmla="*/ 3169382 w 4703181"/>
              <a:gd name="connsiteY163" fmla="*/ 11968983 h 12188825"/>
              <a:gd name="connsiteX164" fmla="*/ 3323303 w 4703181"/>
              <a:gd name="connsiteY164" fmla="*/ 12188825 h 12188825"/>
              <a:gd name="connsiteX165" fmla="*/ 3342512 w 4703181"/>
              <a:gd name="connsiteY165" fmla="*/ 12188825 h 12188825"/>
              <a:gd name="connsiteX166" fmla="*/ 3179553 w 4703181"/>
              <a:gd name="connsiteY166" fmla="*/ 11956086 h 12188825"/>
              <a:gd name="connsiteX167" fmla="*/ 2621367 w 4703181"/>
              <a:gd name="connsiteY167" fmla="*/ 10966185 h 12188825"/>
              <a:gd name="connsiteX168" fmla="*/ 2348705 w 4703181"/>
              <a:gd name="connsiteY168" fmla="*/ 10294153 h 12188825"/>
              <a:gd name="connsiteX169" fmla="*/ 1740006 w 4703181"/>
              <a:gd name="connsiteY169" fmla="*/ 6925774 h 12188825"/>
              <a:gd name="connsiteX170" fmla="*/ 1715752 w 4703181"/>
              <a:gd name="connsiteY170" fmla="*/ 4692361 h 12188825"/>
              <a:gd name="connsiteX171" fmla="*/ 1939906 w 4703181"/>
              <a:gd name="connsiteY171" fmla="*/ 3147416 h 12188825"/>
              <a:gd name="connsiteX172" fmla="*/ 2070174 w 4703181"/>
              <a:gd name="connsiteY172" fmla="*/ 2374942 h 12188825"/>
              <a:gd name="connsiteX173" fmla="*/ 2266945 w 4703181"/>
              <a:gd name="connsiteY173" fmla="*/ 1828 h 12188825"/>
              <a:gd name="connsiteX174" fmla="*/ 2254818 w 4703181"/>
              <a:gd name="connsiteY174" fmla="*/ 1828 h 12188825"/>
              <a:gd name="connsiteX175" fmla="*/ 2058047 w 4703181"/>
              <a:gd name="connsiteY175" fmla="*/ 2371292 h 12188825"/>
              <a:gd name="connsiteX176" fmla="*/ 1927780 w 4703181"/>
              <a:gd name="connsiteY176" fmla="*/ 3143763 h 12188825"/>
              <a:gd name="connsiteX177" fmla="*/ 1703625 w 4703181"/>
              <a:gd name="connsiteY177" fmla="*/ 4688707 h 12188825"/>
              <a:gd name="connsiteX178" fmla="*/ 1667909 w 4703181"/>
              <a:gd name="connsiteY178" fmla="*/ 5586534 h 12188825"/>
              <a:gd name="connsiteX179" fmla="*/ 1550530 w 4703181"/>
              <a:gd name="connsiteY179" fmla="*/ 5681294 h 12188825"/>
              <a:gd name="connsiteX180" fmla="*/ 1615997 w 4703181"/>
              <a:gd name="connsiteY180" fmla="*/ 7027126 h 12188825"/>
              <a:gd name="connsiteX181" fmla="*/ 2236823 w 4703181"/>
              <a:gd name="connsiteY181" fmla="*/ 10400071 h 12188825"/>
              <a:gd name="connsiteX182" fmla="*/ 2512615 w 4703181"/>
              <a:gd name="connsiteY182" fmla="*/ 11076669 h 12188825"/>
              <a:gd name="connsiteX183" fmla="*/ 3074126 w 4703181"/>
              <a:gd name="connsiteY183" fmla="*/ 12061434 h 12188825"/>
              <a:gd name="connsiteX184" fmla="*/ 3163837 w 4703181"/>
              <a:gd name="connsiteY184" fmla="*/ 12188825 h 12188825"/>
              <a:gd name="connsiteX185" fmla="*/ 3182377 w 4703181"/>
              <a:gd name="connsiteY185" fmla="*/ 12188825 h 12188825"/>
              <a:gd name="connsiteX186" fmla="*/ 3083514 w 4703181"/>
              <a:gd name="connsiteY186" fmla="*/ 12048879 h 12188825"/>
              <a:gd name="connsiteX187" fmla="*/ 2524742 w 4703181"/>
              <a:gd name="connsiteY187" fmla="*/ 11062973 h 12188825"/>
              <a:gd name="connsiteX188" fmla="*/ 2248950 w 4703181"/>
              <a:gd name="connsiteY188" fmla="*/ 10390941 h 12188825"/>
              <a:gd name="connsiteX189" fmla="*/ 1628124 w 4703181"/>
              <a:gd name="connsiteY189" fmla="*/ 7022561 h 12188825"/>
              <a:gd name="connsiteX190" fmla="*/ 1594873 w 4703181"/>
              <a:gd name="connsiteY190" fmla="*/ 4784582 h 12188825"/>
              <a:gd name="connsiteX191" fmla="*/ 1815897 w 4703181"/>
              <a:gd name="connsiteY191" fmla="*/ 3222290 h 12188825"/>
              <a:gd name="connsiteX192" fmla="*/ 1943036 w 4703181"/>
              <a:gd name="connsiteY192" fmla="*/ 2458948 h 12188825"/>
              <a:gd name="connsiteX193" fmla="*/ 2137069 w 4703181"/>
              <a:gd name="connsiteY193" fmla="*/ 2740 h 12188825"/>
              <a:gd name="connsiteX194" fmla="*/ 2124941 w 4703181"/>
              <a:gd name="connsiteY194" fmla="*/ 2740 h 12188825"/>
              <a:gd name="connsiteX195" fmla="*/ 1930909 w 4703181"/>
              <a:gd name="connsiteY195" fmla="*/ 2454383 h 12188825"/>
              <a:gd name="connsiteX196" fmla="*/ 1803770 w 4703181"/>
              <a:gd name="connsiteY196" fmla="*/ 3217722 h 12188825"/>
              <a:gd name="connsiteX197" fmla="*/ 1582746 w 4703181"/>
              <a:gd name="connsiteY197" fmla="*/ 4780017 h 12188825"/>
              <a:gd name="connsiteX198" fmla="*/ 1550530 w 4703181"/>
              <a:gd name="connsiteY198" fmla="*/ 5681294 h 12188825"/>
              <a:gd name="connsiteX199" fmla="*/ 1431558 w 4703181"/>
              <a:gd name="connsiteY199" fmla="*/ 5774658 h 12188825"/>
              <a:gd name="connsiteX200" fmla="*/ 1500204 w 4703181"/>
              <a:gd name="connsiteY200" fmla="*/ 7117519 h 12188825"/>
              <a:gd name="connsiteX201" fmla="*/ 2133156 w 4703181"/>
              <a:gd name="connsiteY201" fmla="*/ 10494119 h 12188825"/>
              <a:gd name="connsiteX202" fmla="*/ 2411687 w 4703181"/>
              <a:gd name="connsiteY202" fmla="*/ 11170717 h 12188825"/>
              <a:gd name="connsiteX203" fmla="*/ 2976670 w 4703181"/>
              <a:gd name="connsiteY203" fmla="*/ 12150117 h 12188825"/>
              <a:gd name="connsiteX204" fmla="*/ 3004167 w 4703181"/>
              <a:gd name="connsiteY204" fmla="*/ 12188825 h 12188825"/>
              <a:gd name="connsiteX205" fmla="*/ 3021808 w 4703181"/>
              <a:gd name="connsiteY205" fmla="*/ 12188825 h 12188825"/>
              <a:gd name="connsiteX206" fmla="*/ 2986254 w 4703181"/>
              <a:gd name="connsiteY206" fmla="*/ 12138704 h 12188825"/>
              <a:gd name="connsiteX207" fmla="*/ 2424205 w 4703181"/>
              <a:gd name="connsiteY207" fmla="*/ 11157933 h 12188825"/>
              <a:gd name="connsiteX208" fmla="*/ 2145674 w 4703181"/>
              <a:gd name="connsiteY208" fmla="*/ 10490465 h 12188825"/>
              <a:gd name="connsiteX209" fmla="*/ 1512722 w 4703181"/>
              <a:gd name="connsiteY209" fmla="*/ 7117519 h 12188825"/>
              <a:gd name="connsiteX210" fmla="*/ 1476341 w 4703181"/>
              <a:gd name="connsiteY210" fmla="*/ 4870413 h 12188825"/>
              <a:gd name="connsiteX211" fmla="*/ 1691498 w 4703181"/>
              <a:gd name="connsiteY211" fmla="*/ 3299899 h 12188825"/>
              <a:gd name="connsiteX212" fmla="*/ 1815506 w 4703181"/>
              <a:gd name="connsiteY212" fmla="*/ 2541124 h 12188825"/>
              <a:gd name="connsiteX213" fmla="*/ 2006409 w 4703181"/>
              <a:gd name="connsiteY213" fmla="*/ 1828 h 12188825"/>
              <a:gd name="connsiteX214" fmla="*/ 1994282 w 4703181"/>
              <a:gd name="connsiteY214" fmla="*/ 1828 h 12188825"/>
              <a:gd name="connsiteX215" fmla="*/ 1800249 w 4703181"/>
              <a:gd name="connsiteY215" fmla="*/ 2536561 h 12188825"/>
              <a:gd name="connsiteX216" fmla="*/ 1678979 w 4703181"/>
              <a:gd name="connsiteY216" fmla="*/ 3295335 h 12188825"/>
              <a:gd name="connsiteX217" fmla="*/ 1460694 w 4703181"/>
              <a:gd name="connsiteY217" fmla="*/ 4870413 h 12188825"/>
              <a:gd name="connsiteX218" fmla="*/ 1431558 w 4703181"/>
              <a:gd name="connsiteY218" fmla="*/ 5774658 h 12188825"/>
              <a:gd name="connsiteX219" fmla="*/ 1316783 w 4703181"/>
              <a:gd name="connsiteY219" fmla="*/ 5983239 h 12188825"/>
              <a:gd name="connsiteX220" fmla="*/ 1385585 w 4703181"/>
              <a:gd name="connsiteY220" fmla="*/ 7212481 h 12188825"/>
              <a:gd name="connsiteX221" fmla="*/ 2033793 w 4703181"/>
              <a:gd name="connsiteY221" fmla="*/ 10593645 h 12188825"/>
              <a:gd name="connsiteX222" fmla="*/ 2315453 w 4703181"/>
              <a:gd name="connsiteY222" fmla="*/ 11261111 h 12188825"/>
              <a:gd name="connsiteX223" fmla="*/ 2725552 w 4703181"/>
              <a:gd name="connsiteY223" fmla="*/ 12002591 h 12188825"/>
              <a:gd name="connsiteX224" fmla="*/ 2848013 w 4703181"/>
              <a:gd name="connsiteY224" fmla="*/ 12188825 h 12188825"/>
              <a:gd name="connsiteX225" fmla="*/ 2864698 w 4703181"/>
              <a:gd name="connsiteY225" fmla="*/ 12188825 h 12188825"/>
              <a:gd name="connsiteX226" fmla="*/ 2734549 w 4703181"/>
              <a:gd name="connsiteY226" fmla="*/ 11991212 h 12188825"/>
              <a:gd name="connsiteX227" fmla="*/ 2324449 w 4703181"/>
              <a:gd name="connsiteY227" fmla="*/ 11252895 h 12188825"/>
              <a:gd name="connsiteX228" fmla="*/ 2045921 w 4703181"/>
              <a:gd name="connsiteY228" fmla="*/ 10585427 h 12188825"/>
              <a:gd name="connsiteX229" fmla="*/ 1400840 w 4703181"/>
              <a:gd name="connsiteY229" fmla="*/ 7212481 h 12188825"/>
              <a:gd name="connsiteX230" fmla="*/ 1355462 w 4703181"/>
              <a:gd name="connsiteY230" fmla="*/ 4960808 h 12188825"/>
              <a:gd name="connsiteX231" fmla="*/ 1567490 w 4703181"/>
              <a:gd name="connsiteY231" fmla="*/ 3372947 h 12188825"/>
              <a:gd name="connsiteX232" fmla="*/ 1685629 w 4703181"/>
              <a:gd name="connsiteY232" fmla="*/ 2617826 h 12188825"/>
              <a:gd name="connsiteX233" fmla="*/ 1876533 w 4703181"/>
              <a:gd name="connsiteY233" fmla="*/ 0 h 12188825"/>
              <a:gd name="connsiteX234" fmla="*/ 1864406 w 4703181"/>
              <a:gd name="connsiteY234" fmla="*/ 0 h 12188825"/>
              <a:gd name="connsiteX235" fmla="*/ 1673502 w 4703181"/>
              <a:gd name="connsiteY235" fmla="*/ 2617826 h 12188825"/>
              <a:gd name="connsiteX236" fmla="*/ 1555363 w 4703181"/>
              <a:gd name="connsiteY236" fmla="*/ 3368384 h 12188825"/>
              <a:gd name="connsiteX237" fmla="*/ 1343334 w 4703181"/>
              <a:gd name="connsiteY237" fmla="*/ 4960808 h 12188825"/>
              <a:gd name="connsiteX238" fmla="*/ 1316783 w 4703181"/>
              <a:gd name="connsiteY238" fmla="*/ 5983239 h 12188825"/>
              <a:gd name="connsiteX239" fmla="*/ 1197424 w 4703181"/>
              <a:gd name="connsiteY239" fmla="*/ 5940738 h 12188825"/>
              <a:gd name="connsiteX240" fmla="*/ 1273311 w 4703181"/>
              <a:gd name="connsiteY240" fmla="*/ 7308355 h 12188825"/>
              <a:gd name="connsiteX241" fmla="*/ 1930518 w 4703181"/>
              <a:gd name="connsiteY241" fmla="*/ 10689519 h 12188825"/>
              <a:gd name="connsiteX242" fmla="*/ 2215308 w 4703181"/>
              <a:gd name="connsiteY242" fmla="*/ 11356985 h 12188825"/>
              <a:gd name="connsiteX243" fmla="*/ 2626706 w 4703181"/>
              <a:gd name="connsiteY243" fmla="*/ 12095496 h 12188825"/>
              <a:gd name="connsiteX244" fmla="*/ 2688496 w 4703181"/>
              <a:gd name="connsiteY244" fmla="*/ 12188825 h 12188825"/>
              <a:gd name="connsiteX245" fmla="*/ 2705295 w 4703181"/>
              <a:gd name="connsiteY245" fmla="*/ 12188825 h 12188825"/>
              <a:gd name="connsiteX246" fmla="*/ 2636193 w 4703181"/>
              <a:gd name="connsiteY246" fmla="*/ 12084548 h 12188825"/>
              <a:gd name="connsiteX247" fmla="*/ 2227435 w 4703181"/>
              <a:gd name="connsiteY247" fmla="*/ 11349683 h 12188825"/>
              <a:gd name="connsiteX248" fmla="*/ 1942645 w 4703181"/>
              <a:gd name="connsiteY248" fmla="*/ 10682215 h 12188825"/>
              <a:gd name="connsiteX249" fmla="*/ 1285438 w 4703181"/>
              <a:gd name="connsiteY249" fmla="*/ 7305617 h 12188825"/>
              <a:gd name="connsiteX250" fmla="*/ 1233801 w 4703181"/>
              <a:gd name="connsiteY250" fmla="*/ 5053943 h 12188825"/>
              <a:gd name="connsiteX251" fmla="*/ 1442698 w 4703181"/>
              <a:gd name="connsiteY251" fmla="*/ 3452387 h 12188825"/>
              <a:gd name="connsiteX252" fmla="*/ 1557710 w 4703181"/>
              <a:gd name="connsiteY252" fmla="*/ 2701828 h 12188825"/>
              <a:gd name="connsiteX253" fmla="*/ 1745483 w 4703181"/>
              <a:gd name="connsiteY253" fmla="*/ 915 h 12188825"/>
              <a:gd name="connsiteX254" fmla="*/ 1733356 w 4703181"/>
              <a:gd name="connsiteY254" fmla="*/ 915 h 12188825"/>
              <a:gd name="connsiteX255" fmla="*/ 1545583 w 4703181"/>
              <a:gd name="connsiteY255" fmla="*/ 2697263 h 12188825"/>
              <a:gd name="connsiteX256" fmla="*/ 1430572 w 4703181"/>
              <a:gd name="connsiteY256" fmla="*/ 3447819 h 12188825"/>
              <a:gd name="connsiteX257" fmla="*/ 1221675 w 4703181"/>
              <a:gd name="connsiteY257" fmla="*/ 5053030 h 12188825"/>
              <a:gd name="connsiteX258" fmla="*/ 1199101 w 4703181"/>
              <a:gd name="connsiteY258" fmla="*/ 5547053 h 12188825"/>
              <a:gd name="connsiteX259" fmla="*/ 1197424 w 4703181"/>
              <a:gd name="connsiteY259" fmla="*/ 5940738 h 12188825"/>
              <a:gd name="connsiteX260" fmla="*/ 1078828 w 4703181"/>
              <a:gd name="connsiteY260" fmla="*/ 6036519 h 12188825"/>
              <a:gd name="connsiteX261" fmla="*/ 1157909 w 4703181"/>
              <a:gd name="connsiteY261" fmla="*/ 7406058 h 12188825"/>
              <a:gd name="connsiteX262" fmla="*/ 1830372 w 4703181"/>
              <a:gd name="connsiteY262" fmla="*/ 10787217 h 12188825"/>
              <a:gd name="connsiteX263" fmla="*/ 2115162 w 4703181"/>
              <a:gd name="connsiteY263" fmla="*/ 11454687 h 12188825"/>
              <a:gd name="connsiteX264" fmla="*/ 2381296 w 4703181"/>
              <a:gd name="connsiteY264" fmla="*/ 11948440 h 12188825"/>
              <a:gd name="connsiteX265" fmla="*/ 2529188 w 4703181"/>
              <a:gd name="connsiteY265" fmla="*/ 12188825 h 12188825"/>
              <a:gd name="connsiteX266" fmla="*/ 2547321 w 4703181"/>
              <a:gd name="connsiteY266" fmla="*/ 12188825 h 12188825"/>
              <a:gd name="connsiteX267" fmla="*/ 2539574 w 4703181"/>
              <a:gd name="connsiteY267" fmla="*/ 12177213 h 12188825"/>
              <a:gd name="connsiteX268" fmla="*/ 2127288 w 4703181"/>
              <a:gd name="connsiteY268" fmla="*/ 11445557 h 12188825"/>
              <a:gd name="connsiteX269" fmla="*/ 1842499 w 4703181"/>
              <a:gd name="connsiteY269" fmla="*/ 10778089 h 12188825"/>
              <a:gd name="connsiteX270" fmla="*/ 1170035 w 4703181"/>
              <a:gd name="connsiteY270" fmla="*/ 7401491 h 12188825"/>
              <a:gd name="connsiteX271" fmla="*/ 1112530 w 4703181"/>
              <a:gd name="connsiteY271" fmla="*/ 5146165 h 12188825"/>
              <a:gd name="connsiteX272" fmla="*/ 1318690 w 4703181"/>
              <a:gd name="connsiteY272" fmla="*/ 3527258 h 12188825"/>
              <a:gd name="connsiteX273" fmla="*/ 1430572 w 4703181"/>
              <a:gd name="connsiteY273" fmla="*/ 2785833 h 12188825"/>
              <a:gd name="connsiteX274" fmla="*/ 1612477 w 4703181"/>
              <a:gd name="connsiteY274" fmla="*/ 1828 h 12188825"/>
              <a:gd name="connsiteX275" fmla="*/ 1600350 w 4703181"/>
              <a:gd name="connsiteY275" fmla="*/ 1828 h 12188825"/>
              <a:gd name="connsiteX276" fmla="*/ 1418445 w 4703181"/>
              <a:gd name="connsiteY276" fmla="*/ 2781267 h 12188825"/>
              <a:gd name="connsiteX277" fmla="*/ 1306563 w 4703181"/>
              <a:gd name="connsiteY277" fmla="*/ 3522695 h 12188825"/>
              <a:gd name="connsiteX278" fmla="*/ 1100403 w 4703181"/>
              <a:gd name="connsiteY278" fmla="*/ 5141598 h 12188825"/>
              <a:gd name="connsiteX279" fmla="*/ 1079627 w 4703181"/>
              <a:gd name="connsiteY279" fmla="*/ 5640773 h 12188825"/>
              <a:gd name="connsiteX280" fmla="*/ 1078828 w 4703181"/>
              <a:gd name="connsiteY280" fmla="*/ 6036519 h 12188825"/>
              <a:gd name="connsiteX281" fmla="*/ 959287 w 4703181"/>
              <a:gd name="connsiteY281" fmla="*/ 5865907 h 12188825"/>
              <a:gd name="connsiteX282" fmla="*/ 1043290 w 4703181"/>
              <a:gd name="connsiteY282" fmla="*/ 7499191 h 12188825"/>
              <a:gd name="connsiteX283" fmla="*/ 1727879 w 4703181"/>
              <a:gd name="connsiteY283" fmla="*/ 10884919 h 12188825"/>
              <a:gd name="connsiteX284" fmla="*/ 2018536 w 4703181"/>
              <a:gd name="connsiteY284" fmla="*/ 11552387 h 12188825"/>
              <a:gd name="connsiteX285" fmla="*/ 2284769 w 4703181"/>
              <a:gd name="connsiteY285" fmla="*/ 12042929 h 12188825"/>
              <a:gd name="connsiteX286" fmla="*/ 2375119 w 4703181"/>
              <a:gd name="connsiteY286" fmla="*/ 12188825 h 12188825"/>
              <a:gd name="connsiteX287" fmla="*/ 2392293 w 4703181"/>
              <a:gd name="connsiteY287" fmla="*/ 12188825 h 12188825"/>
              <a:gd name="connsiteX288" fmla="*/ 2293718 w 4703181"/>
              <a:gd name="connsiteY288" fmla="*/ 12030174 h 12188825"/>
              <a:gd name="connsiteX289" fmla="*/ 2027534 w 4703181"/>
              <a:gd name="connsiteY289" fmla="*/ 11542343 h 12188825"/>
              <a:gd name="connsiteX290" fmla="*/ 1739615 w 4703181"/>
              <a:gd name="connsiteY290" fmla="*/ 10874877 h 12188825"/>
              <a:gd name="connsiteX291" fmla="*/ 1058154 w 4703181"/>
              <a:gd name="connsiteY291" fmla="*/ 7498278 h 12188825"/>
              <a:gd name="connsiteX292" fmla="*/ 991652 w 4703181"/>
              <a:gd name="connsiteY292" fmla="*/ 5238385 h 12188825"/>
              <a:gd name="connsiteX293" fmla="*/ 1194681 w 4703181"/>
              <a:gd name="connsiteY293" fmla="*/ 3602132 h 12188825"/>
              <a:gd name="connsiteX294" fmla="*/ 1303825 w 4703181"/>
              <a:gd name="connsiteY294" fmla="*/ 2868924 h 12188825"/>
              <a:gd name="connsiteX295" fmla="*/ 1482601 w 4703181"/>
              <a:gd name="connsiteY295" fmla="*/ 2740 h 12188825"/>
              <a:gd name="connsiteX296" fmla="*/ 1470474 w 4703181"/>
              <a:gd name="connsiteY296" fmla="*/ 2740 h 12188825"/>
              <a:gd name="connsiteX297" fmla="*/ 1288567 w 4703181"/>
              <a:gd name="connsiteY297" fmla="*/ 2865272 h 12188825"/>
              <a:gd name="connsiteX298" fmla="*/ 1182554 w 4703181"/>
              <a:gd name="connsiteY298" fmla="*/ 3598481 h 12188825"/>
              <a:gd name="connsiteX299" fmla="*/ 979525 w 4703181"/>
              <a:gd name="connsiteY299" fmla="*/ 5234734 h 12188825"/>
              <a:gd name="connsiteX300" fmla="*/ 959287 w 4703181"/>
              <a:gd name="connsiteY300" fmla="*/ 5865907 h 12188825"/>
              <a:gd name="connsiteX301" fmla="*/ 840186 w 4703181"/>
              <a:gd name="connsiteY301" fmla="*/ 5825530 h 12188825"/>
              <a:gd name="connsiteX302" fmla="*/ 930625 w 4703181"/>
              <a:gd name="connsiteY302" fmla="*/ 7594154 h 12188825"/>
              <a:gd name="connsiteX303" fmla="*/ 1627342 w 4703181"/>
              <a:gd name="connsiteY303" fmla="*/ 10979883 h 12188825"/>
              <a:gd name="connsiteX304" fmla="*/ 1917999 w 4703181"/>
              <a:gd name="connsiteY304" fmla="*/ 11647349 h 12188825"/>
              <a:gd name="connsiteX305" fmla="*/ 2186524 w 4703181"/>
              <a:gd name="connsiteY305" fmla="*/ 12137948 h 12188825"/>
              <a:gd name="connsiteX306" fmla="*/ 2218239 w 4703181"/>
              <a:gd name="connsiteY306" fmla="*/ 12188825 h 12188825"/>
              <a:gd name="connsiteX307" fmla="*/ 2235959 w 4703181"/>
              <a:gd name="connsiteY307" fmla="*/ 12188825 h 12188825"/>
              <a:gd name="connsiteX308" fmla="*/ 2196903 w 4703181"/>
              <a:gd name="connsiteY308" fmla="*/ 12126177 h 12188825"/>
              <a:gd name="connsiteX309" fmla="*/ 1930127 w 4703181"/>
              <a:gd name="connsiteY309" fmla="*/ 11638217 h 12188825"/>
              <a:gd name="connsiteX310" fmla="*/ 1636339 w 4703181"/>
              <a:gd name="connsiteY310" fmla="*/ 10970751 h 12188825"/>
              <a:gd name="connsiteX311" fmla="*/ 942752 w 4703181"/>
              <a:gd name="connsiteY311" fmla="*/ 7589586 h 12188825"/>
              <a:gd name="connsiteX312" fmla="*/ 873120 w 4703181"/>
              <a:gd name="connsiteY312" fmla="*/ 5325130 h 12188825"/>
              <a:gd name="connsiteX313" fmla="*/ 1069890 w 4703181"/>
              <a:gd name="connsiteY313" fmla="*/ 3676093 h 12188825"/>
              <a:gd name="connsiteX314" fmla="*/ 1172775 w 4703181"/>
              <a:gd name="connsiteY314" fmla="*/ 2947449 h 12188825"/>
              <a:gd name="connsiteX315" fmla="*/ 1351550 w 4703181"/>
              <a:gd name="connsiteY315" fmla="*/ 2740 h 12188825"/>
              <a:gd name="connsiteX316" fmla="*/ 1336294 w 4703181"/>
              <a:gd name="connsiteY316" fmla="*/ 2740 h 12188825"/>
              <a:gd name="connsiteX317" fmla="*/ 1160646 w 4703181"/>
              <a:gd name="connsiteY317" fmla="*/ 2947449 h 12188825"/>
              <a:gd name="connsiteX318" fmla="*/ 1057764 w 4703181"/>
              <a:gd name="connsiteY318" fmla="*/ 3671527 h 12188825"/>
              <a:gd name="connsiteX319" fmla="*/ 857863 w 4703181"/>
              <a:gd name="connsiteY319" fmla="*/ 5325130 h 12188825"/>
              <a:gd name="connsiteX320" fmla="*/ 840186 w 4703181"/>
              <a:gd name="connsiteY320" fmla="*/ 5825530 h 12188825"/>
              <a:gd name="connsiteX321" fmla="*/ 722094 w 4703181"/>
              <a:gd name="connsiteY321" fmla="*/ 5919464 h 12188825"/>
              <a:gd name="connsiteX322" fmla="*/ 815614 w 4703181"/>
              <a:gd name="connsiteY322" fmla="*/ 7689116 h 12188825"/>
              <a:gd name="connsiteX323" fmla="*/ 1524458 w 4703181"/>
              <a:gd name="connsiteY323" fmla="*/ 11074841 h 12188825"/>
              <a:gd name="connsiteX324" fmla="*/ 1821373 w 4703181"/>
              <a:gd name="connsiteY324" fmla="*/ 11742309 h 12188825"/>
              <a:gd name="connsiteX325" fmla="*/ 1950186 w 4703181"/>
              <a:gd name="connsiteY325" fmla="*/ 11988534 h 12188825"/>
              <a:gd name="connsiteX326" fmla="*/ 2065263 w 4703181"/>
              <a:gd name="connsiteY326" fmla="*/ 12188825 h 12188825"/>
              <a:gd name="connsiteX327" fmla="*/ 2081369 w 4703181"/>
              <a:gd name="connsiteY327" fmla="*/ 12188825 h 12188825"/>
              <a:gd name="connsiteX328" fmla="*/ 1959970 w 4703181"/>
              <a:gd name="connsiteY328" fmla="*/ 11978801 h 12188825"/>
              <a:gd name="connsiteX329" fmla="*/ 1830372 w 4703181"/>
              <a:gd name="connsiteY329" fmla="*/ 11734091 h 12188825"/>
              <a:gd name="connsiteX330" fmla="*/ 1536586 w 4703181"/>
              <a:gd name="connsiteY330" fmla="*/ 11066623 h 12188825"/>
              <a:gd name="connsiteX331" fmla="*/ 827740 w 4703181"/>
              <a:gd name="connsiteY331" fmla="*/ 7685460 h 12188825"/>
              <a:gd name="connsiteX332" fmla="*/ 751848 w 4703181"/>
              <a:gd name="connsiteY332" fmla="*/ 5416439 h 12188825"/>
              <a:gd name="connsiteX333" fmla="*/ 945882 w 4703181"/>
              <a:gd name="connsiteY333" fmla="*/ 3750052 h 12188825"/>
              <a:gd name="connsiteX334" fmla="*/ 1046028 w 4703181"/>
              <a:gd name="connsiteY334" fmla="*/ 3030539 h 12188825"/>
              <a:gd name="connsiteX335" fmla="*/ 1218545 w 4703181"/>
              <a:gd name="connsiteY335" fmla="*/ 2740 h 12188825"/>
              <a:gd name="connsiteX336" fmla="*/ 1206418 w 4703181"/>
              <a:gd name="connsiteY336" fmla="*/ 2740 h 12188825"/>
              <a:gd name="connsiteX337" fmla="*/ 1033901 w 4703181"/>
              <a:gd name="connsiteY337" fmla="*/ 3025976 h 12188825"/>
              <a:gd name="connsiteX338" fmla="*/ 933753 w 4703181"/>
              <a:gd name="connsiteY338" fmla="*/ 3750052 h 12188825"/>
              <a:gd name="connsiteX339" fmla="*/ 739722 w 4703181"/>
              <a:gd name="connsiteY339" fmla="*/ 5416439 h 12188825"/>
              <a:gd name="connsiteX340" fmla="*/ 722094 w 4703181"/>
              <a:gd name="connsiteY340" fmla="*/ 5919464 h 12188825"/>
              <a:gd name="connsiteX341" fmla="*/ 603508 w 4703181"/>
              <a:gd name="connsiteY341" fmla="*/ 6013313 h 12188825"/>
              <a:gd name="connsiteX342" fmla="*/ 700603 w 4703181"/>
              <a:gd name="connsiteY342" fmla="*/ 7786812 h 12188825"/>
              <a:gd name="connsiteX343" fmla="*/ 1424703 w 4703181"/>
              <a:gd name="connsiteY343" fmla="*/ 11172543 h 12188825"/>
              <a:gd name="connsiteX344" fmla="*/ 1721620 w 4703181"/>
              <a:gd name="connsiteY344" fmla="*/ 11840011 h 12188825"/>
              <a:gd name="connsiteX345" fmla="*/ 1851477 w 4703181"/>
              <a:gd name="connsiteY345" fmla="*/ 12084841 h 12188825"/>
              <a:gd name="connsiteX346" fmla="*/ 1911933 w 4703181"/>
              <a:gd name="connsiteY346" fmla="*/ 12188825 h 12188825"/>
              <a:gd name="connsiteX347" fmla="*/ 1927592 w 4703181"/>
              <a:gd name="connsiteY347" fmla="*/ 12188825 h 12188825"/>
              <a:gd name="connsiteX348" fmla="*/ 1860469 w 4703181"/>
              <a:gd name="connsiteY348" fmla="*/ 12073940 h 12188825"/>
              <a:gd name="connsiteX349" fmla="*/ 1730618 w 4703181"/>
              <a:gd name="connsiteY349" fmla="*/ 11830879 h 12188825"/>
              <a:gd name="connsiteX350" fmla="*/ 1433702 w 4703181"/>
              <a:gd name="connsiteY350" fmla="*/ 11163411 h 12188825"/>
              <a:gd name="connsiteX351" fmla="*/ 715859 w 4703181"/>
              <a:gd name="connsiteY351" fmla="*/ 7782246 h 12188825"/>
              <a:gd name="connsiteX352" fmla="*/ 630971 w 4703181"/>
              <a:gd name="connsiteY352" fmla="*/ 5509573 h 12188825"/>
              <a:gd name="connsiteX353" fmla="*/ 821873 w 4703181"/>
              <a:gd name="connsiteY353" fmla="*/ 3829491 h 12188825"/>
              <a:gd name="connsiteX354" fmla="*/ 918889 w 4703181"/>
              <a:gd name="connsiteY354" fmla="*/ 3113632 h 12188825"/>
              <a:gd name="connsiteX355" fmla="*/ 1088668 w 4703181"/>
              <a:gd name="connsiteY355" fmla="*/ 2740 h 12188825"/>
              <a:gd name="connsiteX356" fmla="*/ 1073411 w 4703181"/>
              <a:gd name="connsiteY356" fmla="*/ 2740 h 12188825"/>
              <a:gd name="connsiteX357" fmla="*/ 906763 w 4703181"/>
              <a:gd name="connsiteY357" fmla="*/ 3109066 h 12188825"/>
              <a:gd name="connsiteX358" fmla="*/ 806616 w 4703181"/>
              <a:gd name="connsiteY358" fmla="*/ 3824928 h 12188825"/>
              <a:gd name="connsiteX359" fmla="*/ 618843 w 4703181"/>
              <a:gd name="connsiteY359" fmla="*/ 5505008 h 12188825"/>
              <a:gd name="connsiteX360" fmla="*/ 603508 w 4703181"/>
              <a:gd name="connsiteY360" fmla="*/ 6013313 h 12188825"/>
              <a:gd name="connsiteX361" fmla="*/ 484138 w 4703181"/>
              <a:gd name="connsiteY361" fmla="*/ 6104622 h 12188825"/>
              <a:gd name="connsiteX362" fmla="*/ 588330 w 4703181"/>
              <a:gd name="connsiteY362" fmla="*/ 7878123 h 12188825"/>
              <a:gd name="connsiteX363" fmla="*/ 1321429 w 4703181"/>
              <a:gd name="connsiteY363" fmla="*/ 11268417 h 12188825"/>
              <a:gd name="connsiteX364" fmla="*/ 1621474 w 4703181"/>
              <a:gd name="connsiteY364" fmla="*/ 11935885 h 12188825"/>
              <a:gd name="connsiteX365" fmla="*/ 1752247 w 4703181"/>
              <a:gd name="connsiteY365" fmla="*/ 12177898 h 12188825"/>
              <a:gd name="connsiteX366" fmla="*/ 1758681 w 4703181"/>
              <a:gd name="connsiteY366" fmla="*/ 12188825 h 12188825"/>
              <a:gd name="connsiteX367" fmla="*/ 1777889 w 4703181"/>
              <a:gd name="connsiteY367" fmla="*/ 12188825 h 12188825"/>
              <a:gd name="connsiteX368" fmla="*/ 1763464 w 4703181"/>
              <a:gd name="connsiteY368" fmla="*/ 12164202 h 12188825"/>
              <a:gd name="connsiteX369" fmla="*/ 1633601 w 4703181"/>
              <a:gd name="connsiteY369" fmla="*/ 11922189 h 12188825"/>
              <a:gd name="connsiteX370" fmla="*/ 1333556 w 4703181"/>
              <a:gd name="connsiteY370" fmla="*/ 11259285 h 12188825"/>
              <a:gd name="connsiteX371" fmla="*/ 600457 w 4703181"/>
              <a:gd name="connsiteY371" fmla="*/ 7878123 h 12188825"/>
              <a:gd name="connsiteX372" fmla="*/ 509699 w 4703181"/>
              <a:gd name="connsiteY372" fmla="*/ 5600881 h 12188825"/>
              <a:gd name="connsiteX373" fmla="*/ 694343 w 4703181"/>
              <a:gd name="connsiteY373" fmla="*/ 3898887 h 12188825"/>
              <a:gd name="connsiteX374" fmla="*/ 791360 w 4703181"/>
              <a:gd name="connsiteY374" fmla="*/ 3196721 h 12188825"/>
              <a:gd name="connsiteX375" fmla="*/ 954878 w 4703181"/>
              <a:gd name="connsiteY375" fmla="*/ 2740 h 12188825"/>
              <a:gd name="connsiteX376" fmla="*/ 942752 w 4703181"/>
              <a:gd name="connsiteY376" fmla="*/ 2740 h 12188825"/>
              <a:gd name="connsiteX377" fmla="*/ 776104 w 4703181"/>
              <a:gd name="connsiteY377" fmla="*/ 3192156 h 12188825"/>
              <a:gd name="connsiteX378" fmla="*/ 682216 w 4703181"/>
              <a:gd name="connsiteY378" fmla="*/ 3898887 h 12188825"/>
              <a:gd name="connsiteX379" fmla="*/ 497572 w 4703181"/>
              <a:gd name="connsiteY379" fmla="*/ 5596316 h 12188825"/>
              <a:gd name="connsiteX380" fmla="*/ 484138 w 4703181"/>
              <a:gd name="connsiteY380" fmla="*/ 6104622 h 12188825"/>
              <a:gd name="connsiteX381" fmla="*/ 365502 w 4703181"/>
              <a:gd name="connsiteY381" fmla="*/ 6198056 h 12188825"/>
              <a:gd name="connsiteX382" fmla="*/ 473711 w 4703181"/>
              <a:gd name="connsiteY382" fmla="*/ 7973996 h 12188825"/>
              <a:gd name="connsiteX383" fmla="*/ 1218935 w 4703181"/>
              <a:gd name="connsiteY383" fmla="*/ 11364293 h 12188825"/>
              <a:gd name="connsiteX384" fmla="*/ 1524850 w 4703181"/>
              <a:gd name="connsiteY384" fmla="*/ 12031759 h 12188825"/>
              <a:gd name="connsiteX385" fmla="*/ 1609825 w 4703181"/>
              <a:gd name="connsiteY385" fmla="*/ 12188825 h 12188825"/>
              <a:gd name="connsiteX386" fmla="*/ 1626613 w 4703181"/>
              <a:gd name="connsiteY386" fmla="*/ 12188825 h 12188825"/>
              <a:gd name="connsiteX387" fmla="*/ 1533847 w 4703181"/>
              <a:gd name="connsiteY387" fmla="*/ 12017149 h 12188825"/>
              <a:gd name="connsiteX388" fmla="*/ 1231062 w 4703181"/>
              <a:gd name="connsiteY388" fmla="*/ 11354247 h 12188825"/>
              <a:gd name="connsiteX389" fmla="*/ 485837 w 4703181"/>
              <a:gd name="connsiteY389" fmla="*/ 7968518 h 12188825"/>
              <a:gd name="connsiteX390" fmla="*/ 388820 w 4703181"/>
              <a:gd name="connsiteY390" fmla="*/ 5686713 h 12188825"/>
              <a:gd name="connsiteX391" fmla="*/ 570726 w 4703181"/>
              <a:gd name="connsiteY391" fmla="*/ 3971935 h 12188825"/>
              <a:gd name="connsiteX392" fmla="*/ 661483 w 4703181"/>
              <a:gd name="connsiteY392" fmla="*/ 3277986 h 12188825"/>
              <a:gd name="connsiteX393" fmla="*/ 821873 w 4703181"/>
              <a:gd name="connsiteY393" fmla="*/ 1828 h 12188825"/>
              <a:gd name="connsiteX394" fmla="*/ 809747 w 4703181"/>
              <a:gd name="connsiteY394" fmla="*/ 1828 h 12188825"/>
              <a:gd name="connsiteX395" fmla="*/ 649356 w 4703181"/>
              <a:gd name="connsiteY395" fmla="*/ 3274335 h 12188825"/>
              <a:gd name="connsiteX396" fmla="*/ 558599 w 4703181"/>
              <a:gd name="connsiteY396" fmla="*/ 3968280 h 12188825"/>
              <a:gd name="connsiteX397" fmla="*/ 376694 w 4703181"/>
              <a:gd name="connsiteY397" fmla="*/ 5687625 h 12188825"/>
              <a:gd name="connsiteX398" fmla="*/ 365502 w 4703181"/>
              <a:gd name="connsiteY398" fmla="*/ 6198056 h 12188825"/>
              <a:gd name="connsiteX399" fmla="*/ 246359 w 4703181"/>
              <a:gd name="connsiteY399" fmla="*/ 6291090 h 12188825"/>
              <a:gd name="connsiteX400" fmla="*/ 361829 w 4703181"/>
              <a:gd name="connsiteY400" fmla="*/ 8068958 h 12188825"/>
              <a:gd name="connsiteX401" fmla="*/ 1119180 w 4703181"/>
              <a:gd name="connsiteY401" fmla="*/ 11459251 h 12188825"/>
              <a:gd name="connsiteX402" fmla="*/ 1425096 w 4703181"/>
              <a:gd name="connsiteY402" fmla="*/ 12126717 h 12188825"/>
              <a:gd name="connsiteX403" fmla="*/ 1459172 w 4703181"/>
              <a:gd name="connsiteY403" fmla="*/ 12188825 h 12188825"/>
              <a:gd name="connsiteX404" fmla="*/ 1475636 w 4703181"/>
              <a:gd name="connsiteY404" fmla="*/ 12188825 h 12188825"/>
              <a:gd name="connsiteX405" fmla="*/ 1434092 w 4703181"/>
              <a:gd name="connsiteY405" fmla="*/ 12113023 h 12188825"/>
              <a:gd name="connsiteX406" fmla="*/ 1131307 w 4703181"/>
              <a:gd name="connsiteY406" fmla="*/ 11450123 h 12188825"/>
              <a:gd name="connsiteX407" fmla="*/ 373956 w 4703181"/>
              <a:gd name="connsiteY407" fmla="*/ 8064394 h 12188825"/>
              <a:gd name="connsiteX408" fmla="*/ 271072 w 4703181"/>
              <a:gd name="connsiteY408" fmla="*/ 5778021 h 12188825"/>
              <a:gd name="connsiteX409" fmla="*/ 446717 w 4703181"/>
              <a:gd name="connsiteY409" fmla="*/ 4045894 h 12188825"/>
              <a:gd name="connsiteX410" fmla="*/ 534736 w 4703181"/>
              <a:gd name="connsiteY410" fmla="*/ 3356513 h 12188825"/>
              <a:gd name="connsiteX411" fmla="*/ 692388 w 4703181"/>
              <a:gd name="connsiteY411" fmla="*/ 1828 h 12188825"/>
              <a:gd name="connsiteX412" fmla="*/ 677130 w 4703181"/>
              <a:gd name="connsiteY412" fmla="*/ 1828 h 12188825"/>
              <a:gd name="connsiteX413" fmla="*/ 522609 w 4703181"/>
              <a:gd name="connsiteY413" fmla="*/ 3356513 h 12188825"/>
              <a:gd name="connsiteX414" fmla="*/ 434590 w 4703181"/>
              <a:gd name="connsiteY414" fmla="*/ 4041328 h 12188825"/>
              <a:gd name="connsiteX415" fmla="*/ 255815 w 4703181"/>
              <a:gd name="connsiteY415" fmla="*/ 5778021 h 12188825"/>
              <a:gd name="connsiteX416" fmla="*/ 246359 w 4703181"/>
              <a:gd name="connsiteY416" fmla="*/ 6291090 h 12188825"/>
              <a:gd name="connsiteX417" fmla="*/ 126714 w 4703181"/>
              <a:gd name="connsiteY417" fmla="*/ 6383042 h 12188825"/>
              <a:gd name="connsiteX418" fmla="*/ 246035 w 4703181"/>
              <a:gd name="connsiteY418" fmla="*/ 8160267 h 12188825"/>
              <a:gd name="connsiteX419" fmla="*/ 1015514 w 4703181"/>
              <a:gd name="connsiteY419" fmla="*/ 11554213 h 12188825"/>
              <a:gd name="connsiteX420" fmla="*/ 1163142 w 4703181"/>
              <a:gd name="connsiteY420" fmla="*/ 11894453 h 12188825"/>
              <a:gd name="connsiteX421" fmla="*/ 1308351 w 4703181"/>
              <a:gd name="connsiteY421" fmla="*/ 12188825 h 12188825"/>
              <a:gd name="connsiteX422" fmla="*/ 1326652 w 4703181"/>
              <a:gd name="connsiteY422" fmla="*/ 12188825 h 12188825"/>
              <a:gd name="connsiteX423" fmla="*/ 1174242 w 4703181"/>
              <a:gd name="connsiteY423" fmla="*/ 11883952 h 12188825"/>
              <a:gd name="connsiteX424" fmla="*/ 1027641 w 4703181"/>
              <a:gd name="connsiteY424" fmla="*/ 11545997 h 12188825"/>
              <a:gd name="connsiteX425" fmla="*/ 258162 w 4703181"/>
              <a:gd name="connsiteY425" fmla="*/ 8160267 h 12188825"/>
              <a:gd name="connsiteX426" fmla="*/ 149019 w 4703181"/>
              <a:gd name="connsiteY426" fmla="*/ 5869330 h 12188825"/>
              <a:gd name="connsiteX427" fmla="*/ 321534 w 4703181"/>
              <a:gd name="connsiteY427" fmla="*/ 4119855 h 12188825"/>
              <a:gd name="connsiteX428" fmla="*/ 406424 w 4703181"/>
              <a:gd name="connsiteY428" fmla="*/ 3439603 h 12188825"/>
              <a:gd name="connsiteX429" fmla="*/ 557818 w 4703181"/>
              <a:gd name="connsiteY429" fmla="*/ 1828 h 12188825"/>
              <a:gd name="connsiteX430" fmla="*/ 545691 w 4703181"/>
              <a:gd name="connsiteY430" fmla="*/ 1828 h 12188825"/>
              <a:gd name="connsiteX431" fmla="*/ 394297 w 4703181"/>
              <a:gd name="connsiteY431" fmla="*/ 3435039 h 12188825"/>
              <a:gd name="connsiteX432" fmla="*/ 309407 w 4703181"/>
              <a:gd name="connsiteY432" fmla="*/ 4115287 h 12188825"/>
              <a:gd name="connsiteX433" fmla="*/ 136890 w 4703181"/>
              <a:gd name="connsiteY433" fmla="*/ 5869330 h 12188825"/>
              <a:gd name="connsiteX434" fmla="*/ 126714 w 4703181"/>
              <a:gd name="connsiteY434" fmla="*/ 6383042 h 12188825"/>
              <a:gd name="connsiteX435" fmla="*/ 7913 w 4703181"/>
              <a:gd name="connsiteY435" fmla="*/ 6475962 h 12188825"/>
              <a:gd name="connsiteX436" fmla="*/ 131415 w 4703181"/>
              <a:gd name="connsiteY436" fmla="*/ 8256141 h 12188825"/>
              <a:gd name="connsiteX437" fmla="*/ 915760 w 4703181"/>
              <a:gd name="connsiteY437" fmla="*/ 11650087 h 12188825"/>
              <a:gd name="connsiteX438" fmla="*/ 1063778 w 4703181"/>
              <a:gd name="connsiteY438" fmla="*/ 11990327 h 12188825"/>
              <a:gd name="connsiteX439" fmla="*/ 1163355 w 4703181"/>
              <a:gd name="connsiteY439" fmla="*/ 12188825 h 12188825"/>
              <a:gd name="connsiteX440" fmla="*/ 1179133 w 4703181"/>
              <a:gd name="connsiteY440" fmla="*/ 12188825 h 12188825"/>
              <a:gd name="connsiteX441" fmla="*/ 1074096 w 4703181"/>
              <a:gd name="connsiteY441" fmla="*/ 11978115 h 12188825"/>
              <a:gd name="connsiteX442" fmla="*/ 924758 w 4703181"/>
              <a:gd name="connsiteY442" fmla="*/ 11641871 h 12188825"/>
              <a:gd name="connsiteX443" fmla="*/ 143150 w 4703181"/>
              <a:gd name="connsiteY443" fmla="*/ 8256141 h 12188825"/>
              <a:gd name="connsiteX444" fmla="*/ 28140 w 4703181"/>
              <a:gd name="connsiteY444" fmla="*/ 5961553 h 12188825"/>
              <a:gd name="connsiteX445" fmla="*/ 197919 w 4703181"/>
              <a:gd name="connsiteY445" fmla="*/ 4190161 h 12188825"/>
              <a:gd name="connsiteX446" fmla="*/ 279678 w 4703181"/>
              <a:gd name="connsiteY446" fmla="*/ 3522695 h 12188825"/>
              <a:gd name="connsiteX447" fmla="*/ 425203 w 4703181"/>
              <a:gd name="connsiteY447" fmla="*/ 1828 h 12188825"/>
              <a:gd name="connsiteX448" fmla="*/ 413074 w 4703181"/>
              <a:gd name="connsiteY448" fmla="*/ 1828 h 12188825"/>
              <a:gd name="connsiteX449" fmla="*/ 264813 w 4703181"/>
              <a:gd name="connsiteY449" fmla="*/ 3518129 h 12188825"/>
              <a:gd name="connsiteX450" fmla="*/ 186181 w 4703181"/>
              <a:gd name="connsiteY450" fmla="*/ 4190161 h 12188825"/>
              <a:gd name="connsiteX451" fmla="*/ 16403 w 4703181"/>
              <a:gd name="connsiteY451" fmla="*/ 5956988 h 12188825"/>
              <a:gd name="connsiteX452" fmla="*/ 7913 w 4703181"/>
              <a:gd name="connsiteY452" fmla="*/ 6475962 h 12188825"/>
              <a:gd name="connsiteX453" fmla="*/ 0 w 4703181"/>
              <a:gd name="connsiteY453" fmla="*/ 12143747 h 12188825"/>
              <a:gd name="connsiteX454" fmla="*/ 0 w 4703181"/>
              <a:gd name="connsiteY454" fmla="*/ 12180859 h 12188825"/>
              <a:gd name="connsiteX455" fmla="*/ 3313 w 4703181"/>
              <a:gd name="connsiteY455" fmla="*/ 12188825 h 12188825"/>
              <a:gd name="connsiteX456" fmla="*/ 18829 w 4703181"/>
              <a:gd name="connsiteY456" fmla="*/ 12188825 h 12188825"/>
              <a:gd name="connsiteX457" fmla="*/ 0 w 4703181"/>
              <a:gd name="connsiteY457" fmla="*/ 11770999 h 12188825"/>
              <a:gd name="connsiteX458" fmla="*/ 0 w 4703181"/>
              <a:gd name="connsiteY458" fmla="*/ 11814171 h 12188825"/>
              <a:gd name="connsiteX459" fmla="*/ 60618 w 4703181"/>
              <a:gd name="connsiteY459" fmla="*/ 11981565 h 12188825"/>
              <a:gd name="connsiteX460" fmla="*/ 146370 w 4703181"/>
              <a:gd name="connsiteY460" fmla="*/ 12188825 h 12188825"/>
              <a:gd name="connsiteX461" fmla="*/ 162634 w 4703181"/>
              <a:gd name="connsiteY461" fmla="*/ 12188825 h 12188825"/>
              <a:gd name="connsiteX462" fmla="*/ 73136 w 4703181"/>
              <a:gd name="connsiteY462" fmla="*/ 11972637 h 12188825"/>
              <a:gd name="connsiteX463" fmla="*/ 0 w 4703181"/>
              <a:gd name="connsiteY463" fmla="*/ 11369071 h 12188825"/>
              <a:gd name="connsiteX464" fmla="*/ 0 w 4703181"/>
              <a:gd name="connsiteY464" fmla="*/ 11418249 h 12188825"/>
              <a:gd name="connsiteX465" fmla="*/ 32033 w 4703181"/>
              <a:gd name="connsiteY465" fmla="*/ 11521001 h 12188825"/>
              <a:gd name="connsiteX466" fmla="*/ 162467 w 4703181"/>
              <a:gd name="connsiteY466" fmla="*/ 11885886 h 12188825"/>
              <a:gd name="connsiteX467" fmla="*/ 286040 w 4703181"/>
              <a:gd name="connsiteY467" fmla="*/ 12188825 h 12188825"/>
              <a:gd name="connsiteX468" fmla="*/ 302282 w 4703181"/>
              <a:gd name="connsiteY468" fmla="*/ 12188825 h 12188825"/>
              <a:gd name="connsiteX469" fmla="*/ 174974 w 4703181"/>
              <a:gd name="connsiteY469" fmla="*/ 11876763 h 12188825"/>
              <a:gd name="connsiteX470" fmla="*/ 44539 w 4703181"/>
              <a:gd name="connsiteY470" fmla="*/ 11511941 h 12188825"/>
              <a:gd name="connsiteX471" fmla="*/ 0 w 4703181"/>
              <a:gd name="connsiteY471" fmla="*/ 10915801 h 12188825"/>
              <a:gd name="connsiteX472" fmla="*/ 0 w 4703181"/>
              <a:gd name="connsiteY472" fmla="*/ 10968869 h 12188825"/>
              <a:gd name="connsiteX473" fmla="*/ 18605 w 4703181"/>
              <a:gd name="connsiteY473" fmla="*/ 11038443 h 12188825"/>
              <a:gd name="connsiteX474" fmla="*/ 406816 w 4703181"/>
              <a:gd name="connsiteY474" fmla="*/ 12134939 h 12188825"/>
              <a:gd name="connsiteX475" fmla="*/ 431731 w 4703181"/>
              <a:gd name="connsiteY475" fmla="*/ 12188825 h 12188825"/>
              <a:gd name="connsiteX476" fmla="*/ 447977 w 4703181"/>
              <a:gd name="connsiteY476" fmla="*/ 12188825 h 12188825"/>
              <a:gd name="connsiteX477" fmla="*/ 418943 w 4703181"/>
              <a:gd name="connsiteY477" fmla="*/ 12125805 h 12188825"/>
              <a:gd name="connsiteX478" fmla="*/ 30732 w 4703181"/>
              <a:gd name="connsiteY478" fmla="*/ 11030513 h 12188825"/>
              <a:gd name="connsiteX479" fmla="*/ 0 w 4703181"/>
              <a:gd name="connsiteY479" fmla="*/ 10393437 h 12188825"/>
              <a:gd name="connsiteX480" fmla="*/ 0 w 4703181"/>
              <a:gd name="connsiteY480" fmla="*/ 10453311 h 12188825"/>
              <a:gd name="connsiteX481" fmla="*/ 18311 w 4703181"/>
              <a:gd name="connsiteY481" fmla="*/ 10534067 h 12188825"/>
              <a:gd name="connsiteX482" fmla="*/ 509699 w 4703181"/>
              <a:gd name="connsiteY482" fmla="*/ 12039063 h 12188825"/>
              <a:gd name="connsiteX483" fmla="*/ 577788 w 4703181"/>
              <a:gd name="connsiteY483" fmla="*/ 12188825 h 12188825"/>
              <a:gd name="connsiteX484" fmla="*/ 592107 w 4703181"/>
              <a:gd name="connsiteY484" fmla="*/ 12188825 h 12188825"/>
              <a:gd name="connsiteX485" fmla="*/ 519088 w 4703181"/>
              <a:gd name="connsiteY485" fmla="*/ 12029931 h 12188825"/>
              <a:gd name="connsiteX486" fmla="*/ 30241 w 4703181"/>
              <a:gd name="connsiteY486" fmla="*/ 10526875 h 12188825"/>
              <a:gd name="connsiteX487" fmla="*/ 0 w 4703181"/>
              <a:gd name="connsiteY487" fmla="*/ 9782675 h 12188825"/>
              <a:gd name="connsiteX488" fmla="*/ 0 w 4703181"/>
              <a:gd name="connsiteY488" fmla="*/ 9857953 h 12188825"/>
              <a:gd name="connsiteX489" fmla="*/ 28505 w 4703181"/>
              <a:gd name="connsiteY489" fmla="*/ 10006729 h 12188825"/>
              <a:gd name="connsiteX490" fmla="*/ 609455 w 4703181"/>
              <a:gd name="connsiteY490" fmla="*/ 11943189 h 12188825"/>
              <a:gd name="connsiteX491" fmla="*/ 721132 w 4703181"/>
              <a:gd name="connsiteY491" fmla="*/ 12188825 h 12188825"/>
              <a:gd name="connsiteX492" fmla="*/ 736965 w 4703181"/>
              <a:gd name="connsiteY492" fmla="*/ 12188825 h 12188825"/>
              <a:gd name="connsiteX493" fmla="*/ 621973 w 4703181"/>
              <a:gd name="connsiteY493" fmla="*/ 11934059 h 12188825"/>
              <a:gd name="connsiteX494" fmla="*/ 41519 w 4703181"/>
              <a:gd name="connsiteY494" fmla="*/ 9999829 h 12188825"/>
              <a:gd name="connsiteX495" fmla="*/ 0 w 4703181"/>
              <a:gd name="connsiteY495" fmla="*/ 9049167 h 12188825"/>
              <a:gd name="connsiteX496" fmla="*/ 0 w 4703181"/>
              <a:gd name="connsiteY496" fmla="*/ 9129723 h 12188825"/>
              <a:gd name="connsiteX497" fmla="*/ 51764 w 4703181"/>
              <a:gd name="connsiteY497" fmla="*/ 9453627 h 12188825"/>
              <a:gd name="connsiteX498" fmla="*/ 712731 w 4703181"/>
              <a:gd name="connsiteY498" fmla="*/ 11847315 h 12188825"/>
              <a:gd name="connsiteX499" fmla="*/ 862264 w 4703181"/>
              <a:gd name="connsiteY499" fmla="*/ 12183103 h 12188825"/>
              <a:gd name="connsiteX500" fmla="*/ 865190 w 4703181"/>
              <a:gd name="connsiteY500" fmla="*/ 12188825 h 12188825"/>
              <a:gd name="connsiteX501" fmla="*/ 882725 w 4703181"/>
              <a:gd name="connsiteY501" fmla="*/ 12188825 h 12188825"/>
              <a:gd name="connsiteX502" fmla="*/ 874391 w 4703181"/>
              <a:gd name="connsiteY502" fmla="*/ 12172488 h 12188825"/>
              <a:gd name="connsiteX503" fmla="*/ 722119 w 4703181"/>
              <a:gd name="connsiteY503" fmla="*/ 11834531 h 12188825"/>
              <a:gd name="connsiteX504" fmla="*/ 63904 w 4703181"/>
              <a:gd name="connsiteY504" fmla="*/ 9448935 h 12188825"/>
              <a:gd name="connsiteX505" fmla="*/ 0 w 4703181"/>
              <a:gd name="connsiteY505" fmla="*/ 8077111 h 12188825"/>
              <a:gd name="connsiteX506" fmla="*/ 0 w 4703181"/>
              <a:gd name="connsiteY506" fmla="*/ 8185701 h 12188825"/>
              <a:gd name="connsiteX507" fmla="*/ 19143 w 4703181"/>
              <a:gd name="connsiteY507" fmla="*/ 8352928 h 12188825"/>
              <a:gd name="connsiteX508" fmla="*/ 812876 w 4703181"/>
              <a:gd name="connsiteY508" fmla="*/ 11751441 h 12188825"/>
              <a:gd name="connsiteX509" fmla="*/ 962410 w 4703181"/>
              <a:gd name="connsiteY509" fmla="*/ 12087684 h 12188825"/>
              <a:gd name="connsiteX510" fmla="*/ 1013614 w 4703181"/>
              <a:gd name="connsiteY510" fmla="*/ 12188825 h 12188825"/>
              <a:gd name="connsiteX511" fmla="*/ 1031131 w 4703181"/>
              <a:gd name="connsiteY511" fmla="*/ 12188825 h 12188825"/>
              <a:gd name="connsiteX512" fmla="*/ 974341 w 4703181"/>
              <a:gd name="connsiteY512" fmla="*/ 12074901 h 12188825"/>
              <a:gd name="connsiteX513" fmla="*/ 825003 w 4703181"/>
              <a:gd name="connsiteY513" fmla="*/ 11738659 h 12188825"/>
              <a:gd name="connsiteX514" fmla="*/ 31269 w 4703181"/>
              <a:gd name="connsiteY514" fmla="*/ 8348363 h 12188825"/>
              <a:gd name="connsiteX515" fmla="*/ 0 w 4703181"/>
              <a:gd name="connsiteY515" fmla="*/ 4775048 h 12188825"/>
              <a:gd name="connsiteX516" fmla="*/ 0 w 4703181"/>
              <a:gd name="connsiteY516" fmla="*/ 4887079 h 12188825"/>
              <a:gd name="connsiteX517" fmla="*/ 20145 w 4703181"/>
              <a:gd name="connsiteY517" fmla="*/ 4703802 h 12188825"/>
              <a:gd name="connsiteX518" fmla="*/ 73910 w 4703181"/>
              <a:gd name="connsiteY518" fmla="*/ 4265036 h 12188825"/>
              <a:gd name="connsiteX519" fmla="*/ 149800 w 4703181"/>
              <a:gd name="connsiteY519" fmla="*/ 3605785 h 12188825"/>
              <a:gd name="connsiteX520" fmla="*/ 292196 w 4703181"/>
              <a:gd name="connsiteY520" fmla="*/ 1828 h 12188825"/>
              <a:gd name="connsiteX521" fmla="*/ 280069 w 4703181"/>
              <a:gd name="connsiteY521" fmla="*/ 1828 h 12188825"/>
              <a:gd name="connsiteX522" fmla="*/ 137674 w 4703181"/>
              <a:gd name="connsiteY522" fmla="*/ 3601219 h 12188825"/>
              <a:gd name="connsiteX523" fmla="*/ 61784 w 4703181"/>
              <a:gd name="connsiteY523" fmla="*/ 4260470 h 12188825"/>
              <a:gd name="connsiteX524" fmla="*/ 8018 w 4703181"/>
              <a:gd name="connsiteY524" fmla="*/ 4701876 h 12188825"/>
              <a:gd name="connsiteX525" fmla="*/ 0 w 4703181"/>
              <a:gd name="connsiteY525" fmla="*/ 3771216 h 12188825"/>
              <a:gd name="connsiteX526" fmla="*/ 0 w 4703181"/>
              <a:gd name="connsiteY526" fmla="*/ 3885405 h 12188825"/>
              <a:gd name="connsiteX527" fmla="*/ 22272 w 4703181"/>
              <a:gd name="connsiteY527" fmla="*/ 3684311 h 12188825"/>
              <a:gd name="connsiteX528" fmla="*/ 158407 w 4703181"/>
              <a:gd name="connsiteY528" fmla="*/ 1828 h 12188825"/>
              <a:gd name="connsiteX529" fmla="*/ 146280 w 4703181"/>
              <a:gd name="connsiteY529" fmla="*/ 1828 h 12188825"/>
              <a:gd name="connsiteX530" fmla="*/ 10144 w 4703181"/>
              <a:gd name="connsiteY530" fmla="*/ 3684311 h 12188825"/>
              <a:gd name="connsiteX531" fmla="*/ 0 w 4703181"/>
              <a:gd name="connsiteY531" fmla="*/ 2184485 h 12188825"/>
              <a:gd name="connsiteX532" fmla="*/ 0 w 4703181"/>
              <a:gd name="connsiteY532" fmla="*/ 2456148 h 12188825"/>
              <a:gd name="connsiteX533" fmla="*/ 7103 w 4703181"/>
              <a:gd name="connsiteY533" fmla="*/ 2339528 h 12188825"/>
              <a:gd name="connsiteX534" fmla="*/ 28532 w 4703181"/>
              <a:gd name="connsiteY534" fmla="*/ 1828 h 12188825"/>
              <a:gd name="connsiteX535" fmla="*/ 13275 w 4703181"/>
              <a:gd name="connsiteY535" fmla="*/ 1828 h 12188825"/>
              <a:gd name="connsiteX536" fmla="*/ 14008 w 4703181"/>
              <a:gd name="connsiteY536" fmla="*/ 1862814 h 12188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</a:cxnLst>
            <a:rect l="l" t="t" r="r" b="b"/>
            <a:pathLst>
              <a:path w="4703181" h="12188825">
                <a:moveTo>
                  <a:pt x="2608751" y="5105305"/>
                </a:moveTo>
                <a:cubicBezTo>
                  <a:pt x="2608359" y="5478986"/>
                  <a:pt x="2622736" y="5840113"/>
                  <a:pt x="2639362" y="6171565"/>
                </a:cubicBezTo>
                <a:cubicBezTo>
                  <a:pt x="2691000" y="7144914"/>
                  <a:pt x="2797013" y="8409541"/>
                  <a:pt x="3151435" y="9535377"/>
                </a:cubicBezTo>
                <a:cubicBezTo>
                  <a:pt x="3339209" y="10133449"/>
                  <a:pt x="3599744" y="10695911"/>
                  <a:pt x="3923653" y="11210893"/>
                </a:cubicBezTo>
                <a:cubicBezTo>
                  <a:pt x="4079740" y="11457426"/>
                  <a:pt x="4248639" y="11689807"/>
                  <a:pt x="4428881" y="11906322"/>
                </a:cubicBezTo>
                <a:lnTo>
                  <a:pt x="4680688" y="12188825"/>
                </a:lnTo>
                <a:lnTo>
                  <a:pt x="4703181" y="12188825"/>
                </a:lnTo>
                <a:lnTo>
                  <a:pt x="4426466" y="11877318"/>
                </a:lnTo>
                <a:cubicBezTo>
                  <a:pt x="3876881" y="11212833"/>
                  <a:pt x="3438475" y="10400298"/>
                  <a:pt x="3163562" y="9527159"/>
                </a:cubicBezTo>
                <a:cubicBezTo>
                  <a:pt x="2809140" y="8401321"/>
                  <a:pt x="2703127" y="7140349"/>
                  <a:pt x="2654618" y="6167910"/>
                </a:cubicBezTo>
                <a:cubicBezTo>
                  <a:pt x="2618238" y="5508662"/>
                  <a:pt x="2593983" y="4727970"/>
                  <a:pt x="2682002" y="3969193"/>
                </a:cubicBezTo>
                <a:cubicBezTo>
                  <a:pt x="2736378" y="3474299"/>
                  <a:pt x="2836133" y="2990362"/>
                  <a:pt x="2936278" y="2523777"/>
                </a:cubicBezTo>
                <a:cubicBezTo>
                  <a:pt x="2990654" y="2261721"/>
                  <a:pt x="3045422" y="1991445"/>
                  <a:pt x="3093930" y="1721172"/>
                </a:cubicBezTo>
                <a:cubicBezTo>
                  <a:pt x="3194075" y="1158709"/>
                  <a:pt x="3260577" y="582551"/>
                  <a:pt x="3293830" y="1828"/>
                </a:cubicBezTo>
                <a:lnTo>
                  <a:pt x="3281703" y="1828"/>
                </a:lnTo>
                <a:cubicBezTo>
                  <a:pt x="3248451" y="577988"/>
                  <a:pt x="3181557" y="1153231"/>
                  <a:pt x="3081803" y="1716605"/>
                </a:cubicBezTo>
                <a:cubicBezTo>
                  <a:pt x="3033295" y="1986881"/>
                  <a:pt x="2978918" y="2258068"/>
                  <a:pt x="2924151" y="2519212"/>
                </a:cubicBezTo>
                <a:cubicBezTo>
                  <a:pt x="2824006" y="2985799"/>
                  <a:pt x="2724252" y="3470649"/>
                  <a:pt x="2666745" y="3963715"/>
                </a:cubicBezTo>
                <a:cubicBezTo>
                  <a:pt x="2624300" y="4345387"/>
                  <a:pt x="2609142" y="4731622"/>
                  <a:pt x="2608751" y="5105305"/>
                </a:cubicBezTo>
                <a:close/>
                <a:moveTo>
                  <a:pt x="2492175" y="5200265"/>
                </a:moveTo>
                <a:cubicBezTo>
                  <a:pt x="2492957" y="5574402"/>
                  <a:pt x="2508898" y="5935529"/>
                  <a:pt x="2527089" y="6267436"/>
                </a:cubicBezTo>
                <a:cubicBezTo>
                  <a:pt x="2581465" y="7240788"/>
                  <a:pt x="2687479" y="8500849"/>
                  <a:pt x="3048160" y="9631249"/>
                </a:cubicBezTo>
                <a:cubicBezTo>
                  <a:pt x="3124052" y="9862263"/>
                  <a:pt x="3208550" y="10089623"/>
                  <a:pt x="3302436" y="10307849"/>
                </a:cubicBezTo>
                <a:cubicBezTo>
                  <a:pt x="3572849" y="10934228"/>
                  <a:pt x="3922033" y="11503282"/>
                  <a:pt x="4337932" y="12000941"/>
                </a:cubicBezTo>
                <a:lnTo>
                  <a:pt x="4501908" y="12188825"/>
                </a:lnTo>
                <a:lnTo>
                  <a:pt x="4522453" y="12188825"/>
                </a:lnTo>
                <a:lnTo>
                  <a:pt x="4347456" y="11988315"/>
                </a:lnTo>
                <a:cubicBezTo>
                  <a:pt x="3932155" y="11491354"/>
                  <a:pt x="3585368" y="10925095"/>
                  <a:pt x="3314954" y="10298717"/>
                </a:cubicBezTo>
                <a:cubicBezTo>
                  <a:pt x="3221069" y="10080491"/>
                  <a:pt x="3136179" y="9854045"/>
                  <a:pt x="3060679" y="9622121"/>
                </a:cubicBezTo>
                <a:cubicBezTo>
                  <a:pt x="2703127" y="8496283"/>
                  <a:pt x="2594374" y="7235309"/>
                  <a:pt x="2539607" y="6262871"/>
                </a:cubicBezTo>
                <a:cubicBezTo>
                  <a:pt x="2503226" y="5603622"/>
                  <a:pt x="2475842" y="4822930"/>
                  <a:pt x="2560732" y="4059590"/>
                </a:cubicBezTo>
                <a:cubicBezTo>
                  <a:pt x="2615108" y="3561957"/>
                  <a:pt x="2715253" y="3073458"/>
                  <a:pt x="2812269" y="2602301"/>
                </a:cubicBezTo>
                <a:cubicBezTo>
                  <a:pt x="2863908" y="2340246"/>
                  <a:pt x="2918283" y="2069971"/>
                  <a:pt x="2966791" y="1804263"/>
                </a:cubicBezTo>
                <a:cubicBezTo>
                  <a:pt x="3069675" y="1210755"/>
                  <a:pt x="3136570" y="609029"/>
                  <a:pt x="3166692" y="2740"/>
                </a:cubicBezTo>
                <a:lnTo>
                  <a:pt x="3154565" y="2740"/>
                </a:lnTo>
                <a:cubicBezTo>
                  <a:pt x="3124052" y="608117"/>
                  <a:pt x="3057548" y="1210755"/>
                  <a:pt x="2954274" y="1799697"/>
                </a:cubicBezTo>
                <a:cubicBezTo>
                  <a:pt x="2905766" y="2065406"/>
                  <a:pt x="2851389" y="2336593"/>
                  <a:pt x="2796622" y="2597736"/>
                </a:cubicBezTo>
                <a:cubicBezTo>
                  <a:pt x="2702736" y="3068889"/>
                  <a:pt x="2602590" y="3557391"/>
                  <a:pt x="2548215" y="4055025"/>
                </a:cubicBezTo>
                <a:cubicBezTo>
                  <a:pt x="2505769" y="4438978"/>
                  <a:pt x="2491392" y="4826128"/>
                  <a:pt x="2492175" y="5200265"/>
                </a:cubicBezTo>
                <a:close/>
                <a:moveTo>
                  <a:pt x="2374376" y="5294998"/>
                </a:moveTo>
                <a:cubicBezTo>
                  <a:pt x="2375892" y="5669136"/>
                  <a:pt x="2392518" y="6029120"/>
                  <a:pt x="2412078" y="6358744"/>
                </a:cubicBezTo>
                <a:cubicBezTo>
                  <a:pt x="2469583" y="7335748"/>
                  <a:pt x="2581856" y="8596723"/>
                  <a:pt x="2948406" y="9727125"/>
                </a:cubicBezTo>
                <a:cubicBezTo>
                  <a:pt x="3024297" y="9958135"/>
                  <a:pt x="3108795" y="10185495"/>
                  <a:pt x="3205812" y="10403723"/>
                </a:cubicBezTo>
                <a:cubicBezTo>
                  <a:pt x="3476225" y="11030102"/>
                  <a:pt x="3825409" y="11595660"/>
                  <a:pt x="4245239" y="12093056"/>
                </a:cubicBezTo>
                <a:lnTo>
                  <a:pt x="4329667" y="12188825"/>
                </a:lnTo>
                <a:lnTo>
                  <a:pt x="4346385" y="12188825"/>
                </a:lnTo>
                <a:lnTo>
                  <a:pt x="4252139" y="12081456"/>
                </a:lnTo>
                <a:cubicBezTo>
                  <a:pt x="3834706" y="11584558"/>
                  <a:pt x="3487619" y="11018803"/>
                  <a:pt x="3214810" y="10396417"/>
                </a:cubicBezTo>
                <a:cubicBezTo>
                  <a:pt x="3120922" y="10178191"/>
                  <a:pt x="3032904" y="9951745"/>
                  <a:pt x="2960533" y="9719821"/>
                </a:cubicBezTo>
                <a:cubicBezTo>
                  <a:pt x="2593983" y="8593985"/>
                  <a:pt x="2482101" y="7333009"/>
                  <a:pt x="2424205" y="6360572"/>
                </a:cubicBezTo>
                <a:cubicBezTo>
                  <a:pt x="2387825" y="5697668"/>
                  <a:pt x="2357702" y="4920633"/>
                  <a:pt x="2439462" y="4148159"/>
                </a:cubicBezTo>
                <a:cubicBezTo>
                  <a:pt x="2491099" y="3650527"/>
                  <a:pt x="2590855" y="3157459"/>
                  <a:pt x="2687870" y="2682653"/>
                </a:cubicBezTo>
                <a:cubicBezTo>
                  <a:pt x="2739508" y="2420598"/>
                  <a:pt x="2790754" y="2154889"/>
                  <a:pt x="2839262" y="1888267"/>
                </a:cubicBezTo>
                <a:cubicBezTo>
                  <a:pt x="2945276" y="1268282"/>
                  <a:pt x="3011779" y="640075"/>
                  <a:pt x="3039162" y="3653"/>
                </a:cubicBezTo>
                <a:lnTo>
                  <a:pt x="3027035" y="3653"/>
                </a:lnTo>
                <a:cubicBezTo>
                  <a:pt x="2999652" y="634597"/>
                  <a:pt x="2930018" y="1262803"/>
                  <a:pt x="2824006" y="1881876"/>
                </a:cubicBezTo>
                <a:cubicBezTo>
                  <a:pt x="2778627" y="2147586"/>
                  <a:pt x="2726990" y="2414206"/>
                  <a:pt x="2672613" y="2676260"/>
                </a:cubicBezTo>
                <a:cubicBezTo>
                  <a:pt x="2578727" y="3151979"/>
                  <a:pt x="2478581" y="3645049"/>
                  <a:pt x="2427334" y="4146333"/>
                </a:cubicBezTo>
                <a:cubicBezTo>
                  <a:pt x="2386455" y="4532571"/>
                  <a:pt x="2372860" y="4920861"/>
                  <a:pt x="2374376" y="5294998"/>
                </a:cubicBezTo>
                <a:close/>
                <a:moveTo>
                  <a:pt x="2257654" y="5387105"/>
                </a:moveTo>
                <a:cubicBezTo>
                  <a:pt x="2260294" y="5762270"/>
                  <a:pt x="2277703" y="6123169"/>
                  <a:pt x="2297458" y="6454621"/>
                </a:cubicBezTo>
                <a:cubicBezTo>
                  <a:pt x="2358094" y="7427973"/>
                  <a:pt x="2476233" y="8692597"/>
                  <a:pt x="2845912" y="9822999"/>
                </a:cubicBezTo>
                <a:cubicBezTo>
                  <a:pt x="2921805" y="10054009"/>
                  <a:pt x="3009432" y="10281369"/>
                  <a:pt x="3106448" y="10499599"/>
                </a:cubicBezTo>
                <a:cubicBezTo>
                  <a:pt x="3379599" y="11121981"/>
                  <a:pt x="3731221" y="11687040"/>
                  <a:pt x="4153715" y="12187433"/>
                </a:cubicBezTo>
                <a:lnTo>
                  <a:pt x="4154941" y="12188825"/>
                </a:lnTo>
                <a:lnTo>
                  <a:pt x="4172800" y="12188825"/>
                </a:lnTo>
                <a:lnTo>
                  <a:pt x="4160605" y="12174920"/>
                </a:lnTo>
                <a:cubicBezTo>
                  <a:pt x="3740176" y="11675027"/>
                  <a:pt x="3388597" y="11109768"/>
                  <a:pt x="3118184" y="10491381"/>
                </a:cubicBezTo>
                <a:cubicBezTo>
                  <a:pt x="3021168" y="10273151"/>
                  <a:pt x="2933541" y="10046705"/>
                  <a:pt x="2857649" y="9814781"/>
                </a:cubicBezTo>
                <a:cubicBezTo>
                  <a:pt x="2487970" y="8688945"/>
                  <a:pt x="2372958" y="7427973"/>
                  <a:pt x="2312323" y="6455534"/>
                </a:cubicBezTo>
                <a:cubicBezTo>
                  <a:pt x="2270075" y="5792630"/>
                  <a:pt x="2239561" y="5015591"/>
                  <a:pt x="2318191" y="4239467"/>
                </a:cubicBezTo>
                <a:cubicBezTo>
                  <a:pt x="2369830" y="3737270"/>
                  <a:pt x="2466454" y="3240551"/>
                  <a:pt x="2560341" y="2760265"/>
                </a:cubicBezTo>
                <a:cubicBezTo>
                  <a:pt x="2611978" y="2498209"/>
                  <a:pt x="2666353" y="2232501"/>
                  <a:pt x="2708603" y="1965881"/>
                </a:cubicBezTo>
                <a:cubicBezTo>
                  <a:pt x="2817746" y="1320326"/>
                  <a:pt x="2884250" y="665643"/>
                  <a:pt x="2911633" y="2740"/>
                </a:cubicBezTo>
                <a:lnTo>
                  <a:pt x="2899506" y="2740"/>
                </a:lnTo>
                <a:cubicBezTo>
                  <a:pt x="2872514" y="661078"/>
                  <a:pt x="2806010" y="1319413"/>
                  <a:pt x="2696868" y="1960401"/>
                </a:cubicBezTo>
                <a:cubicBezTo>
                  <a:pt x="2651489" y="2226110"/>
                  <a:pt x="2599851" y="2492731"/>
                  <a:pt x="2548606" y="2754787"/>
                </a:cubicBezTo>
                <a:cubicBezTo>
                  <a:pt x="2454718" y="3235073"/>
                  <a:pt x="2357702" y="3731792"/>
                  <a:pt x="2306455" y="4233992"/>
                </a:cubicBezTo>
                <a:cubicBezTo>
                  <a:pt x="2267140" y="4622509"/>
                  <a:pt x="2255013" y="5011940"/>
                  <a:pt x="2257654" y="5387105"/>
                </a:cubicBezTo>
                <a:close/>
                <a:moveTo>
                  <a:pt x="2140304" y="5197653"/>
                </a:moveTo>
                <a:cubicBezTo>
                  <a:pt x="2135345" y="5675498"/>
                  <a:pt x="2158388" y="6136181"/>
                  <a:pt x="2184795" y="6550494"/>
                </a:cubicBezTo>
                <a:cubicBezTo>
                  <a:pt x="2248559" y="7523843"/>
                  <a:pt x="2369438" y="8783905"/>
                  <a:pt x="2744985" y="9918873"/>
                </a:cubicBezTo>
                <a:cubicBezTo>
                  <a:pt x="2820876" y="10149885"/>
                  <a:pt x="2908504" y="10377245"/>
                  <a:pt x="3005520" y="10595473"/>
                </a:cubicBezTo>
                <a:cubicBezTo>
                  <a:pt x="3241703" y="11125519"/>
                  <a:pt x="3535979" y="11616532"/>
                  <a:pt x="3881746" y="12060806"/>
                </a:cubicBezTo>
                <a:lnTo>
                  <a:pt x="3985674" y="12188825"/>
                </a:lnTo>
                <a:lnTo>
                  <a:pt x="4004655" y="12188825"/>
                </a:lnTo>
                <a:lnTo>
                  <a:pt x="3890402" y="12048093"/>
                </a:lnTo>
                <a:cubicBezTo>
                  <a:pt x="3544782" y="11604032"/>
                  <a:pt x="3251092" y="11113876"/>
                  <a:pt x="3017256" y="10587253"/>
                </a:cubicBezTo>
                <a:cubicBezTo>
                  <a:pt x="2920240" y="10369025"/>
                  <a:pt x="2832611" y="10142579"/>
                  <a:pt x="2756720" y="9910657"/>
                </a:cubicBezTo>
                <a:cubicBezTo>
                  <a:pt x="2381174" y="8780251"/>
                  <a:pt x="2259903" y="7520194"/>
                  <a:pt x="2196530" y="6546842"/>
                </a:cubicBezTo>
                <a:cubicBezTo>
                  <a:pt x="2154280" y="5887591"/>
                  <a:pt x="2120638" y="5106902"/>
                  <a:pt x="2196530" y="4330779"/>
                </a:cubicBezTo>
                <a:cubicBezTo>
                  <a:pt x="2248168" y="3824928"/>
                  <a:pt x="2344792" y="3322729"/>
                  <a:pt x="2435940" y="2838792"/>
                </a:cubicBezTo>
                <a:cubicBezTo>
                  <a:pt x="2487578" y="2581299"/>
                  <a:pt x="2538825" y="2315593"/>
                  <a:pt x="2581465" y="2048971"/>
                </a:cubicBezTo>
                <a:cubicBezTo>
                  <a:pt x="2693347" y="1376939"/>
                  <a:pt x="2760240" y="692124"/>
                  <a:pt x="2781366" y="2740"/>
                </a:cubicBezTo>
                <a:lnTo>
                  <a:pt x="2769238" y="2740"/>
                </a:lnTo>
                <a:cubicBezTo>
                  <a:pt x="2748504" y="691209"/>
                  <a:pt x="2681611" y="1371459"/>
                  <a:pt x="2569730" y="2043491"/>
                </a:cubicBezTo>
                <a:cubicBezTo>
                  <a:pt x="2527481" y="2309202"/>
                  <a:pt x="2475842" y="2575821"/>
                  <a:pt x="2424205" y="2833314"/>
                </a:cubicBezTo>
                <a:cubicBezTo>
                  <a:pt x="2333448" y="3317248"/>
                  <a:pt x="2236432" y="3819448"/>
                  <a:pt x="2184795" y="4325297"/>
                </a:cubicBezTo>
                <a:cubicBezTo>
                  <a:pt x="2156335" y="4618056"/>
                  <a:pt x="2143279" y="4910944"/>
                  <a:pt x="2140304" y="5197653"/>
                </a:cubicBezTo>
                <a:close/>
                <a:moveTo>
                  <a:pt x="2021831" y="5292172"/>
                </a:moveTo>
                <a:cubicBezTo>
                  <a:pt x="2017797" y="5770944"/>
                  <a:pt x="2041421" y="6231483"/>
                  <a:pt x="2069783" y="6646365"/>
                </a:cubicBezTo>
                <a:cubicBezTo>
                  <a:pt x="2136286" y="7619717"/>
                  <a:pt x="2260686" y="8879779"/>
                  <a:pt x="2642100" y="10014747"/>
                </a:cubicBezTo>
                <a:cubicBezTo>
                  <a:pt x="2720731" y="10245759"/>
                  <a:pt x="2808749" y="10473119"/>
                  <a:pt x="2908504" y="10691345"/>
                </a:cubicBezTo>
                <a:cubicBezTo>
                  <a:pt x="3144687" y="11217968"/>
                  <a:pt x="3438963" y="11705557"/>
                  <a:pt x="3787206" y="12152185"/>
                </a:cubicBezTo>
                <a:lnTo>
                  <a:pt x="3816965" y="12188825"/>
                </a:lnTo>
                <a:lnTo>
                  <a:pt x="3837535" y="12188825"/>
                </a:lnTo>
                <a:lnTo>
                  <a:pt x="3795646" y="12137547"/>
                </a:lnTo>
                <a:cubicBezTo>
                  <a:pt x="3447349" y="11693059"/>
                  <a:pt x="3153293" y="11206327"/>
                  <a:pt x="2917110" y="10683127"/>
                </a:cubicBezTo>
                <a:cubicBezTo>
                  <a:pt x="2820093" y="10464901"/>
                  <a:pt x="2732467" y="10238455"/>
                  <a:pt x="2653445" y="10006529"/>
                </a:cubicBezTo>
                <a:cubicBezTo>
                  <a:pt x="2271639" y="8876127"/>
                  <a:pt x="2147630" y="7616067"/>
                  <a:pt x="2081128" y="6642714"/>
                </a:cubicBezTo>
                <a:cubicBezTo>
                  <a:pt x="2038879" y="5983464"/>
                  <a:pt x="2002498" y="5202776"/>
                  <a:pt x="2077998" y="4422087"/>
                </a:cubicBezTo>
                <a:cubicBezTo>
                  <a:pt x="2126506" y="3911670"/>
                  <a:pt x="2220393" y="3405819"/>
                  <a:pt x="2311150" y="2912753"/>
                </a:cubicBezTo>
                <a:cubicBezTo>
                  <a:pt x="2359659" y="2659826"/>
                  <a:pt x="2411296" y="2393204"/>
                  <a:pt x="2453544" y="2132061"/>
                </a:cubicBezTo>
                <a:cubicBezTo>
                  <a:pt x="2565427" y="1429898"/>
                  <a:pt x="2632321" y="718602"/>
                  <a:pt x="2653445" y="2740"/>
                </a:cubicBezTo>
                <a:lnTo>
                  <a:pt x="2641318" y="2740"/>
                </a:lnTo>
                <a:cubicBezTo>
                  <a:pt x="2621367" y="717687"/>
                  <a:pt x="2554473" y="1428071"/>
                  <a:pt x="2442591" y="2126581"/>
                </a:cubicBezTo>
                <a:cubicBezTo>
                  <a:pt x="2400342" y="2388641"/>
                  <a:pt x="2348705" y="2654348"/>
                  <a:pt x="2300196" y="2907272"/>
                </a:cubicBezTo>
                <a:cubicBezTo>
                  <a:pt x="2209439" y="3400340"/>
                  <a:pt x="2112423" y="3906192"/>
                  <a:pt x="2063915" y="4416608"/>
                </a:cubicBezTo>
                <a:cubicBezTo>
                  <a:pt x="2036629" y="4711079"/>
                  <a:pt x="2024252" y="5004908"/>
                  <a:pt x="2021831" y="5292172"/>
                </a:cubicBezTo>
                <a:close/>
                <a:moveTo>
                  <a:pt x="1904686" y="5400875"/>
                </a:moveTo>
                <a:cubicBezTo>
                  <a:pt x="1902639" y="5888191"/>
                  <a:pt x="1929931" y="6352011"/>
                  <a:pt x="1958292" y="6739501"/>
                </a:cubicBezTo>
                <a:cubicBezTo>
                  <a:pt x="2024795" y="7712854"/>
                  <a:pt x="2155063" y="8977479"/>
                  <a:pt x="2542738" y="10112449"/>
                </a:cubicBezTo>
                <a:cubicBezTo>
                  <a:pt x="2621367" y="10343459"/>
                  <a:pt x="2709386" y="10570817"/>
                  <a:pt x="2809140" y="10789045"/>
                </a:cubicBezTo>
                <a:cubicBezTo>
                  <a:pt x="3007916" y="11225615"/>
                  <a:pt x="3246880" y="11636148"/>
                  <a:pt x="3523933" y="12019084"/>
                </a:cubicBezTo>
                <a:lnTo>
                  <a:pt x="3651957" y="12188825"/>
                </a:lnTo>
                <a:lnTo>
                  <a:pt x="3669378" y="12188825"/>
                </a:lnTo>
                <a:lnTo>
                  <a:pt x="3532332" y="12006541"/>
                </a:lnTo>
                <a:cubicBezTo>
                  <a:pt x="3256319" y="11624007"/>
                  <a:pt x="3018087" y="11214544"/>
                  <a:pt x="2821267" y="10780829"/>
                </a:cubicBezTo>
                <a:cubicBezTo>
                  <a:pt x="2721122" y="10562601"/>
                  <a:pt x="2630364" y="10336157"/>
                  <a:pt x="2551735" y="10104229"/>
                </a:cubicBezTo>
                <a:cubicBezTo>
                  <a:pt x="2167190" y="8973827"/>
                  <a:pt x="2039661" y="7713766"/>
                  <a:pt x="1970028" y="6740414"/>
                </a:cubicBezTo>
                <a:cubicBezTo>
                  <a:pt x="1924650" y="6116776"/>
                  <a:pt x="1885140" y="5305041"/>
                  <a:pt x="1957901" y="4510657"/>
                </a:cubicBezTo>
                <a:cubicBezTo>
                  <a:pt x="2003280" y="3995673"/>
                  <a:pt x="2097166" y="3485258"/>
                  <a:pt x="2187923" y="2992193"/>
                </a:cubicBezTo>
                <a:cubicBezTo>
                  <a:pt x="2236431" y="2739265"/>
                  <a:pt x="2284940" y="2477209"/>
                  <a:pt x="2327189" y="2215153"/>
                </a:cubicBezTo>
                <a:cubicBezTo>
                  <a:pt x="2442200" y="1486508"/>
                  <a:pt x="2509094" y="745082"/>
                  <a:pt x="2523959" y="2740"/>
                </a:cubicBezTo>
                <a:lnTo>
                  <a:pt x="2511832" y="2740"/>
                </a:lnTo>
                <a:cubicBezTo>
                  <a:pt x="2496967" y="743255"/>
                  <a:pt x="2430465" y="1481029"/>
                  <a:pt x="2312323" y="2209675"/>
                </a:cubicBezTo>
                <a:cubicBezTo>
                  <a:pt x="2272813" y="2471731"/>
                  <a:pt x="2224305" y="2732874"/>
                  <a:pt x="2176187" y="2986712"/>
                </a:cubicBezTo>
                <a:cubicBezTo>
                  <a:pt x="2085430" y="3479778"/>
                  <a:pt x="1991544" y="3994760"/>
                  <a:pt x="1946165" y="4509744"/>
                </a:cubicBezTo>
                <a:cubicBezTo>
                  <a:pt x="1917706" y="4807638"/>
                  <a:pt x="1905915" y="5108485"/>
                  <a:pt x="1904686" y="5400875"/>
                </a:cubicBezTo>
                <a:close/>
                <a:moveTo>
                  <a:pt x="1787040" y="5492377"/>
                </a:moveTo>
                <a:cubicBezTo>
                  <a:pt x="1786558" y="5980014"/>
                  <a:pt x="1814919" y="6444689"/>
                  <a:pt x="1843281" y="6834463"/>
                </a:cubicBezTo>
                <a:cubicBezTo>
                  <a:pt x="1916044" y="7807817"/>
                  <a:pt x="2049441" y="9072441"/>
                  <a:pt x="2439853" y="10207409"/>
                </a:cubicBezTo>
                <a:cubicBezTo>
                  <a:pt x="2518483" y="10438421"/>
                  <a:pt x="2609631" y="10665781"/>
                  <a:pt x="2709386" y="10884007"/>
                </a:cubicBezTo>
                <a:cubicBezTo>
                  <a:pt x="2908162" y="11314870"/>
                  <a:pt x="3148349" y="11725403"/>
                  <a:pt x="3427751" y="12110033"/>
                </a:cubicBezTo>
                <a:lnTo>
                  <a:pt x="3487403" y="12188825"/>
                </a:lnTo>
                <a:lnTo>
                  <a:pt x="3507219" y="12188825"/>
                </a:lnTo>
                <a:lnTo>
                  <a:pt x="3436975" y="12096025"/>
                </a:lnTo>
                <a:cubicBezTo>
                  <a:pt x="3159253" y="11713491"/>
                  <a:pt x="2920289" y="11304028"/>
                  <a:pt x="2721513" y="10870309"/>
                </a:cubicBezTo>
                <a:cubicBezTo>
                  <a:pt x="2621367" y="10656647"/>
                  <a:pt x="2530610" y="10429289"/>
                  <a:pt x="2451980" y="10198279"/>
                </a:cubicBezTo>
                <a:cubicBezTo>
                  <a:pt x="2061177" y="9064225"/>
                  <a:pt x="1927780" y="7803250"/>
                  <a:pt x="1855408" y="6834463"/>
                </a:cubicBezTo>
                <a:cubicBezTo>
                  <a:pt x="1810029" y="6210825"/>
                  <a:pt x="1767390" y="5399088"/>
                  <a:pt x="1837413" y="4601050"/>
                </a:cubicBezTo>
                <a:cubicBezTo>
                  <a:pt x="1882792" y="4081503"/>
                  <a:pt x="1976679" y="3567435"/>
                  <a:pt x="2064697" y="3069802"/>
                </a:cubicBezTo>
                <a:cubicBezTo>
                  <a:pt x="2110076" y="2816877"/>
                  <a:pt x="2158584" y="2554821"/>
                  <a:pt x="2198094" y="2292765"/>
                </a:cubicBezTo>
                <a:cubicBezTo>
                  <a:pt x="2316235" y="1537641"/>
                  <a:pt x="2382738" y="774301"/>
                  <a:pt x="2397994" y="1828"/>
                </a:cubicBezTo>
                <a:lnTo>
                  <a:pt x="2385867" y="1828"/>
                </a:lnTo>
                <a:cubicBezTo>
                  <a:pt x="2370611" y="769733"/>
                  <a:pt x="2304109" y="1537641"/>
                  <a:pt x="2185968" y="2288202"/>
                </a:cubicBezTo>
                <a:cubicBezTo>
                  <a:pt x="2146456" y="2550255"/>
                  <a:pt x="2097949" y="2811401"/>
                  <a:pt x="2052571" y="3065236"/>
                </a:cubicBezTo>
                <a:cubicBezTo>
                  <a:pt x="1964551" y="3562872"/>
                  <a:pt x="1870665" y="4077850"/>
                  <a:pt x="1825286" y="4601050"/>
                </a:cubicBezTo>
                <a:cubicBezTo>
                  <a:pt x="1798001" y="4898946"/>
                  <a:pt x="1787329" y="5199793"/>
                  <a:pt x="1787040" y="5492377"/>
                </a:cubicBezTo>
                <a:close/>
                <a:moveTo>
                  <a:pt x="1667909" y="5586534"/>
                </a:moveTo>
                <a:cubicBezTo>
                  <a:pt x="1668466" y="6076445"/>
                  <a:pt x="1697561" y="6541477"/>
                  <a:pt x="1727879" y="6931252"/>
                </a:cubicBezTo>
                <a:cubicBezTo>
                  <a:pt x="1803770" y="7904604"/>
                  <a:pt x="1939906" y="9164663"/>
                  <a:pt x="2339707" y="10304197"/>
                </a:cubicBezTo>
                <a:cubicBezTo>
                  <a:pt x="2418337" y="10535207"/>
                  <a:pt x="2509485" y="10762567"/>
                  <a:pt x="2612370" y="10980795"/>
                </a:cubicBezTo>
                <a:cubicBezTo>
                  <a:pt x="2771390" y="11323203"/>
                  <a:pt x="2957696" y="11653740"/>
                  <a:pt x="3169382" y="11968983"/>
                </a:cubicBezTo>
                <a:lnTo>
                  <a:pt x="3323303" y="12188825"/>
                </a:lnTo>
                <a:lnTo>
                  <a:pt x="3342512" y="12188825"/>
                </a:lnTo>
                <a:lnTo>
                  <a:pt x="3179553" y="11956086"/>
                </a:lnTo>
                <a:cubicBezTo>
                  <a:pt x="2968259" y="11641413"/>
                  <a:pt x="2781952" y="11310876"/>
                  <a:pt x="2621367" y="10966185"/>
                </a:cubicBezTo>
                <a:cubicBezTo>
                  <a:pt x="2521221" y="10752523"/>
                  <a:pt x="2430465" y="10525165"/>
                  <a:pt x="2348705" y="10294153"/>
                </a:cubicBezTo>
                <a:cubicBezTo>
                  <a:pt x="1952033" y="9160099"/>
                  <a:pt x="1815506" y="7899123"/>
                  <a:pt x="1740006" y="6925774"/>
                </a:cubicBezTo>
                <a:cubicBezTo>
                  <a:pt x="1694627" y="6305788"/>
                  <a:pt x="1649249" y="5490399"/>
                  <a:pt x="1715752" y="4692361"/>
                </a:cubicBezTo>
                <a:cubicBezTo>
                  <a:pt x="1761130" y="4169161"/>
                  <a:pt x="1851887" y="3649615"/>
                  <a:pt x="1939906" y="3147416"/>
                </a:cubicBezTo>
                <a:cubicBezTo>
                  <a:pt x="1985285" y="2894491"/>
                  <a:pt x="2030663" y="2632435"/>
                  <a:pt x="2070174" y="2374942"/>
                </a:cubicBezTo>
                <a:cubicBezTo>
                  <a:pt x="2191444" y="1594253"/>
                  <a:pt x="2254818" y="799867"/>
                  <a:pt x="2266945" y="1828"/>
                </a:cubicBezTo>
                <a:lnTo>
                  <a:pt x="2254818" y="1828"/>
                </a:lnTo>
                <a:cubicBezTo>
                  <a:pt x="2242691" y="796214"/>
                  <a:pt x="2176187" y="1589687"/>
                  <a:pt x="2058047" y="2371292"/>
                </a:cubicBezTo>
                <a:cubicBezTo>
                  <a:pt x="2018536" y="2628780"/>
                  <a:pt x="1973157" y="2890836"/>
                  <a:pt x="1927780" y="3143763"/>
                </a:cubicBezTo>
                <a:cubicBezTo>
                  <a:pt x="1839760" y="3645049"/>
                  <a:pt x="1749003" y="4164595"/>
                  <a:pt x="1703625" y="4688707"/>
                </a:cubicBezTo>
                <a:cubicBezTo>
                  <a:pt x="1677513" y="4989685"/>
                  <a:pt x="1667574" y="5292586"/>
                  <a:pt x="1667909" y="5586534"/>
                </a:cubicBezTo>
                <a:close/>
                <a:moveTo>
                  <a:pt x="1550530" y="5681294"/>
                </a:moveTo>
                <a:cubicBezTo>
                  <a:pt x="1553009" y="6172319"/>
                  <a:pt x="1583969" y="6637352"/>
                  <a:pt x="1615997" y="7027126"/>
                </a:cubicBezTo>
                <a:cubicBezTo>
                  <a:pt x="1691889" y="7995910"/>
                  <a:pt x="1834284" y="9260537"/>
                  <a:pt x="2236823" y="10400071"/>
                </a:cubicBezTo>
                <a:cubicBezTo>
                  <a:pt x="2318582" y="10631081"/>
                  <a:pt x="2409340" y="10858441"/>
                  <a:pt x="2512615" y="11076669"/>
                </a:cubicBezTo>
                <a:cubicBezTo>
                  <a:pt x="2673200" y="11416794"/>
                  <a:pt x="2860974" y="11746190"/>
                  <a:pt x="3074126" y="12061434"/>
                </a:cubicBezTo>
                <a:lnTo>
                  <a:pt x="3163837" y="12188825"/>
                </a:lnTo>
                <a:lnTo>
                  <a:pt x="3182377" y="12188825"/>
                </a:lnTo>
                <a:lnTo>
                  <a:pt x="3083514" y="12048879"/>
                </a:lnTo>
                <a:cubicBezTo>
                  <a:pt x="2870753" y="11734777"/>
                  <a:pt x="2683763" y="11405381"/>
                  <a:pt x="2524742" y="11062973"/>
                </a:cubicBezTo>
                <a:cubicBezTo>
                  <a:pt x="2421857" y="10849309"/>
                  <a:pt x="2330709" y="10621951"/>
                  <a:pt x="2248950" y="10390941"/>
                </a:cubicBezTo>
                <a:cubicBezTo>
                  <a:pt x="1846019" y="9256885"/>
                  <a:pt x="1703625" y="7995910"/>
                  <a:pt x="1628124" y="7022561"/>
                </a:cubicBezTo>
                <a:cubicBezTo>
                  <a:pt x="1576487" y="6402575"/>
                  <a:pt x="1531109" y="5587186"/>
                  <a:pt x="1594873" y="4784582"/>
                </a:cubicBezTo>
                <a:cubicBezTo>
                  <a:pt x="1637121" y="4256817"/>
                  <a:pt x="1728270" y="3729053"/>
                  <a:pt x="1815897" y="3222290"/>
                </a:cubicBezTo>
                <a:cubicBezTo>
                  <a:pt x="1858146" y="2973928"/>
                  <a:pt x="1903916" y="2716437"/>
                  <a:pt x="1943036" y="2458948"/>
                </a:cubicBezTo>
                <a:cubicBezTo>
                  <a:pt x="2064306" y="1647212"/>
                  <a:pt x="2127679" y="827260"/>
                  <a:pt x="2137069" y="2740"/>
                </a:cubicBezTo>
                <a:lnTo>
                  <a:pt x="2124941" y="2740"/>
                </a:lnTo>
                <a:cubicBezTo>
                  <a:pt x="2115944" y="827260"/>
                  <a:pt x="2052180" y="1647212"/>
                  <a:pt x="1930909" y="2454383"/>
                </a:cubicBezTo>
                <a:cubicBezTo>
                  <a:pt x="1891399" y="2711872"/>
                  <a:pt x="1846019" y="2969362"/>
                  <a:pt x="1803770" y="3217722"/>
                </a:cubicBezTo>
                <a:cubicBezTo>
                  <a:pt x="1715752" y="3728139"/>
                  <a:pt x="1624994" y="4251338"/>
                  <a:pt x="1582746" y="4780017"/>
                </a:cubicBezTo>
                <a:cubicBezTo>
                  <a:pt x="1557807" y="5082705"/>
                  <a:pt x="1549042" y="5386677"/>
                  <a:pt x="1550530" y="5681294"/>
                </a:cubicBezTo>
                <a:close/>
                <a:moveTo>
                  <a:pt x="1431558" y="5774658"/>
                </a:moveTo>
                <a:cubicBezTo>
                  <a:pt x="1435657" y="6266210"/>
                  <a:pt x="1467931" y="6730030"/>
                  <a:pt x="1500204" y="7117519"/>
                </a:cubicBezTo>
                <a:cubicBezTo>
                  <a:pt x="1621474" y="8562025"/>
                  <a:pt x="1815115" y="9604771"/>
                  <a:pt x="2133156" y="10494119"/>
                </a:cubicBezTo>
                <a:cubicBezTo>
                  <a:pt x="2218046" y="10725129"/>
                  <a:pt x="2311932" y="10952487"/>
                  <a:pt x="2411687" y="11170717"/>
                </a:cubicBezTo>
                <a:cubicBezTo>
                  <a:pt x="2573837" y="11509016"/>
                  <a:pt x="2762393" y="11836129"/>
                  <a:pt x="2976670" y="12150117"/>
                </a:cubicBezTo>
                <a:lnTo>
                  <a:pt x="3004167" y="12188825"/>
                </a:lnTo>
                <a:lnTo>
                  <a:pt x="3021808" y="12188825"/>
                </a:lnTo>
                <a:lnTo>
                  <a:pt x="2986254" y="12138704"/>
                </a:lnTo>
                <a:cubicBezTo>
                  <a:pt x="2772662" y="11825173"/>
                  <a:pt x="2584791" y="11498059"/>
                  <a:pt x="2424205" y="11157933"/>
                </a:cubicBezTo>
                <a:cubicBezTo>
                  <a:pt x="2321321" y="10944271"/>
                  <a:pt x="2227435" y="10716911"/>
                  <a:pt x="2145674" y="10490465"/>
                </a:cubicBezTo>
                <a:cubicBezTo>
                  <a:pt x="1827633" y="9600205"/>
                  <a:pt x="1633601" y="8557461"/>
                  <a:pt x="1512722" y="7117519"/>
                </a:cubicBezTo>
                <a:cubicBezTo>
                  <a:pt x="1461085" y="6497536"/>
                  <a:pt x="1409839" y="5682148"/>
                  <a:pt x="1476341" y="4870413"/>
                </a:cubicBezTo>
                <a:cubicBezTo>
                  <a:pt x="1515851" y="4338081"/>
                  <a:pt x="1606609" y="3810316"/>
                  <a:pt x="1691498" y="3299899"/>
                </a:cubicBezTo>
                <a:cubicBezTo>
                  <a:pt x="1733747" y="3051541"/>
                  <a:pt x="1776387" y="2794049"/>
                  <a:pt x="1815506" y="2541124"/>
                </a:cubicBezTo>
                <a:cubicBezTo>
                  <a:pt x="1936777" y="1703823"/>
                  <a:pt x="2000150" y="852825"/>
                  <a:pt x="2006409" y="1828"/>
                </a:cubicBezTo>
                <a:lnTo>
                  <a:pt x="1994282" y="1828"/>
                </a:lnTo>
                <a:cubicBezTo>
                  <a:pt x="1988414" y="852825"/>
                  <a:pt x="1924650" y="1699258"/>
                  <a:pt x="1800249" y="2536561"/>
                </a:cubicBezTo>
                <a:cubicBezTo>
                  <a:pt x="1763869" y="2789484"/>
                  <a:pt x="1721620" y="3046976"/>
                  <a:pt x="1678979" y="3295335"/>
                </a:cubicBezTo>
                <a:cubicBezTo>
                  <a:pt x="1590961" y="3805753"/>
                  <a:pt x="1503334" y="4338081"/>
                  <a:pt x="1460694" y="4870413"/>
                </a:cubicBezTo>
                <a:cubicBezTo>
                  <a:pt x="1436782" y="5174814"/>
                  <a:pt x="1429099" y="5479728"/>
                  <a:pt x="1431558" y="5774658"/>
                </a:cubicBezTo>
                <a:close/>
                <a:moveTo>
                  <a:pt x="1316783" y="5983239"/>
                </a:moveTo>
                <a:cubicBezTo>
                  <a:pt x="1323580" y="6351441"/>
                  <a:pt x="1346269" y="6754112"/>
                  <a:pt x="1385585" y="7212481"/>
                </a:cubicBezTo>
                <a:cubicBezTo>
                  <a:pt x="1509593" y="8656987"/>
                  <a:pt x="1709885" y="9699733"/>
                  <a:pt x="2033793" y="10593645"/>
                </a:cubicBezTo>
                <a:cubicBezTo>
                  <a:pt x="2115553" y="10820091"/>
                  <a:pt x="2212569" y="11047449"/>
                  <a:pt x="2315453" y="11261111"/>
                </a:cubicBezTo>
                <a:cubicBezTo>
                  <a:pt x="2437066" y="11514836"/>
                  <a:pt x="2573972" y="11762269"/>
                  <a:pt x="2725552" y="12002591"/>
                </a:cubicBezTo>
                <a:lnTo>
                  <a:pt x="2848013" y="12188825"/>
                </a:lnTo>
                <a:lnTo>
                  <a:pt x="2864698" y="12188825"/>
                </a:lnTo>
                <a:lnTo>
                  <a:pt x="2734549" y="11991212"/>
                </a:lnTo>
                <a:cubicBezTo>
                  <a:pt x="2582968" y="11751398"/>
                  <a:pt x="2446062" y="11504907"/>
                  <a:pt x="2324449" y="11252895"/>
                </a:cubicBezTo>
                <a:cubicBezTo>
                  <a:pt x="2221567" y="11039233"/>
                  <a:pt x="2127679" y="10811873"/>
                  <a:pt x="2045921" y="10585427"/>
                </a:cubicBezTo>
                <a:cubicBezTo>
                  <a:pt x="1721620" y="9695167"/>
                  <a:pt x="1521720" y="8652419"/>
                  <a:pt x="1400840" y="7212481"/>
                </a:cubicBezTo>
                <a:cubicBezTo>
                  <a:pt x="1322210" y="6296655"/>
                  <a:pt x="1306954" y="5602710"/>
                  <a:pt x="1355462" y="4960808"/>
                </a:cubicBezTo>
                <a:cubicBezTo>
                  <a:pt x="1394973" y="4423911"/>
                  <a:pt x="1482601" y="3891583"/>
                  <a:pt x="1567490" y="3372947"/>
                </a:cubicBezTo>
                <a:cubicBezTo>
                  <a:pt x="1607000" y="3128241"/>
                  <a:pt x="1649249" y="2871662"/>
                  <a:pt x="1685629" y="2617826"/>
                </a:cubicBezTo>
                <a:cubicBezTo>
                  <a:pt x="1809638" y="1754044"/>
                  <a:pt x="1873404" y="876566"/>
                  <a:pt x="1876533" y="0"/>
                </a:cubicBezTo>
                <a:lnTo>
                  <a:pt x="1864406" y="0"/>
                </a:lnTo>
                <a:cubicBezTo>
                  <a:pt x="1861276" y="876566"/>
                  <a:pt x="1797902" y="1754044"/>
                  <a:pt x="1673502" y="2617826"/>
                </a:cubicBezTo>
                <a:cubicBezTo>
                  <a:pt x="1637121" y="2866186"/>
                  <a:pt x="1594873" y="3123676"/>
                  <a:pt x="1555363" y="3368384"/>
                </a:cubicBezTo>
                <a:cubicBezTo>
                  <a:pt x="1470474" y="3887928"/>
                  <a:pt x="1382847" y="4420260"/>
                  <a:pt x="1343334" y="4960808"/>
                </a:cubicBezTo>
                <a:cubicBezTo>
                  <a:pt x="1319081" y="5281303"/>
                  <a:pt x="1309986" y="5615037"/>
                  <a:pt x="1316783" y="5983239"/>
                </a:cubicBezTo>
                <a:close/>
                <a:moveTo>
                  <a:pt x="1197424" y="5940738"/>
                </a:moveTo>
                <a:cubicBezTo>
                  <a:pt x="1202374" y="6346811"/>
                  <a:pt x="1227321" y="6793204"/>
                  <a:pt x="1273311" y="7308355"/>
                </a:cubicBezTo>
                <a:cubicBezTo>
                  <a:pt x="1400449" y="8752861"/>
                  <a:pt x="1603479" y="9795609"/>
                  <a:pt x="1930518" y="10689519"/>
                </a:cubicBezTo>
                <a:cubicBezTo>
                  <a:pt x="2015406" y="10915965"/>
                  <a:pt x="2112423" y="11143325"/>
                  <a:pt x="2215308" y="11356985"/>
                </a:cubicBezTo>
                <a:cubicBezTo>
                  <a:pt x="2336920" y="11608998"/>
                  <a:pt x="2474266" y="11855489"/>
                  <a:pt x="2626706" y="12095496"/>
                </a:cubicBezTo>
                <a:lnTo>
                  <a:pt x="2688496" y="12188825"/>
                </a:lnTo>
                <a:lnTo>
                  <a:pt x="2705295" y="12188825"/>
                </a:lnTo>
                <a:lnTo>
                  <a:pt x="2636193" y="12084548"/>
                </a:lnTo>
                <a:cubicBezTo>
                  <a:pt x="2484248" y="11845403"/>
                  <a:pt x="2347728" y="11599983"/>
                  <a:pt x="2227435" y="11349683"/>
                </a:cubicBezTo>
                <a:cubicBezTo>
                  <a:pt x="2121420" y="11136021"/>
                  <a:pt x="2027534" y="10908661"/>
                  <a:pt x="1942645" y="10682215"/>
                </a:cubicBezTo>
                <a:cubicBezTo>
                  <a:pt x="1615606" y="9787387"/>
                  <a:pt x="1412576" y="8749207"/>
                  <a:pt x="1285438" y="7305617"/>
                </a:cubicBezTo>
                <a:cubicBezTo>
                  <a:pt x="1203679" y="6393443"/>
                  <a:pt x="1188423" y="5695841"/>
                  <a:pt x="1233801" y="5053943"/>
                </a:cubicBezTo>
                <a:cubicBezTo>
                  <a:pt x="1273311" y="4512482"/>
                  <a:pt x="1357809" y="3971935"/>
                  <a:pt x="1442698" y="3452387"/>
                </a:cubicBezTo>
                <a:cubicBezTo>
                  <a:pt x="1482210" y="3207680"/>
                  <a:pt x="1521328" y="2954754"/>
                  <a:pt x="1557710" y="2701828"/>
                </a:cubicBezTo>
                <a:cubicBezTo>
                  <a:pt x="1684847" y="1811566"/>
                  <a:pt x="1745483" y="903959"/>
                  <a:pt x="1745483" y="915"/>
                </a:cubicBezTo>
                <a:lnTo>
                  <a:pt x="1733356" y="915"/>
                </a:lnTo>
                <a:cubicBezTo>
                  <a:pt x="1733356" y="903959"/>
                  <a:pt x="1669591" y="1807003"/>
                  <a:pt x="1545583" y="2697263"/>
                </a:cubicBezTo>
                <a:cubicBezTo>
                  <a:pt x="1509201" y="2950189"/>
                  <a:pt x="1469691" y="3203114"/>
                  <a:pt x="1430572" y="3447819"/>
                </a:cubicBezTo>
                <a:cubicBezTo>
                  <a:pt x="1345682" y="3967367"/>
                  <a:pt x="1260793" y="4507919"/>
                  <a:pt x="1221675" y="5053030"/>
                </a:cubicBezTo>
                <a:cubicBezTo>
                  <a:pt x="1210330" y="5213277"/>
                  <a:pt x="1202775" y="5377119"/>
                  <a:pt x="1199101" y="5547053"/>
                </a:cubicBezTo>
                <a:cubicBezTo>
                  <a:pt x="1196346" y="5674503"/>
                  <a:pt x="1195774" y="5805381"/>
                  <a:pt x="1197424" y="5940738"/>
                </a:cubicBezTo>
                <a:close/>
                <a:moveTo>
                  <a:pt x="1078828" y="6036519"/>
                </a:moveTo>
                <a:cubicBezTo>
                  <a:pt x="1084564" y="6444062"/>
                  <a:pt x="1110159" y="6890391"/>
                  <a:pt x="1157909" y="7406058"/>
                </a:cubicBezTo>
                <a:cubicBezTo>
                  <a:pt x="1291307" y="8850559"/>
                  <a:pt x="1497074" y="9893309"/>
                  <a:pt x="1830372" y="10787217"/>
                </a:cubicBezTo>
                <a:cubicBezTo>
                  <a:pt x="1915261" y="11013665"/>
                  <a:pt x="2012277" y="11241023"/>
                  <a:pt x="2115162" y="11454687"/>
                </a:cubicBezTo>
                <a:cubicBezTo>
                  <a:pt x="2196922" y="11621554"/>
                  <a:pt x="2285698" y="11786252"/>
                  <a:pt x="2381296" y="11948440"/>
                </a:cubicBezTo>
                <a:lnTo>
                  <a:pt x="2529188" y="12188825"/>
                </a:lnTo>
                <a:lnTo>
                  <a:pt x="2547321" y="12188825"/>
                </a:lnTo>
                <a:lnTo>
                  <a:pt x="2539574" y="12177213"/>
                </a:lnTo>
                <a:cubicBezTo>
                  <a:pt x="2386632" y="11938496"/>
                  <a:pt x="2248901" y="11694145"/>
                  <a:pt x="2127288" y="11445557"/>
                </a:cubicBezTo>
                <a:cubicBezTo>
                  <a:pt x="2021274" y="11231895"/>
                  <a:pt x="1927388" y="11004535"/>
                  <a:pt x="1842499" y="10778089"/>
                </a:cubicBezTo>
                <a:cubicBezTo>
                  <a:pt x="1509201" y="9883263"/>
                  <a:pt x="1303433" y="8840517"/>
                  <a:pt x="1170035" y="7401491"/>
                </a:cubicBezTo>
                <a:cubicBezTo>
                  <a:pt x="1088277" y="6489317"/>
                  <a:pt x="1069890" y="5791717"/>
                  <a:pt x="1112530" y="5146165"/>
                </a:cubicBezTo>
                <a:cubicBezTo>
                  <a:pt x="1152042" y="4596487"/>
                  <a:pt x="1236539" y="4055025"/>
                  <a:pt x="1318690" y="3527258"/>
                </a:cubicBezTo>
                <a:cubicBezTo>
                  <a:pt x="1358200" y="3282552"/>
                  <a:pt x="1394582" y="3034192"/>
                  <a:pt x="1430572" y="2785833"/>
                </a:cubicBezTo>
                <a:cubicBezTo>
                  <a:pt x="1557710" y="1865440"/>
                  <a:pt x="1618344" y="931350"/>
                  <a:pt x="1612477" y="1828"/>
                </a:cubicBezTo>
                <a:lnTo>
                  <a:pt x="1600350" y="1828"/>
                </a:lnTo>
                <a:cubicBezTo>
                  <a:pt x="1606218" y="931350"/>
                  <a:pt x="1545974" y="1860874"/>
                  <a:pt x="1418445" y="2781267"/>
                </a:cubicBezTo>
                <a:cubicBezTo>
                  <a:pt x="1382064" y="3029627"/>
                  <a:pt x="1342552" y="3278900"/>
                  <a:pt x="1306563" y="3522695"/>
                </a:cubicBezTo>
                <a:cubicBezTo>
                  <a:pt x="1224804" y="4050457"/>
                  <a:pt x="1136784" y="4595574"/>
                  <a:pt x="1100403" y="5141598"/>
                </a:cubicBezTo>
                <a:cubicBezTo>
                  <a:pt x="1089841" y="5304128"/>
                  <a:pt x="1082848" y="5469626"/>
                  <a:pt x="1079627" y="5640773"/>
                </a:cubicBezTo>
                <a:cubicBezTo>
                  <a:pt x="1077211" y="5769133"/>
                  <a:pt x="1076916" y="5900671"/>
                  <a:pt x="1078828" y="6036519"/>
                </a:cubicBezTo>
                <a:close/>
                <a:moveTo>
                  <a:pt x="959287" y="5865907"/>
                </a:moveTo>
                <a:cubicBezTo>
                  <a:pt x="957471" y="6488917"/>
                  <a:pt x="1004562" y="7073921"/>
                  <a:pt x="1043290" y="7499191"/>
                </a:cubicBezTo>
                <a:cubicBezTo>
                  <a:pt x="1182554" y="8943695"/>
                  <a:pt x="1391453" y="9986441"/>
                  <a:pt x="1727879" y="10884919"/>
                </a:cubicBezTo>
                <a:cubicBezTo>
                  <a:pt x="1815897" y="11111365"/>
                  <a:pt x="1912523" y="11338725"/>
                  <a:pt x="2018536" y="11552387"/>
                </a:cubicBezTo>
                <a:cubicBezTo>
                  <a:pt x="2100296" y="11718113"/>
                  <a:pt x="2189073" y="11881669"/>
                  <a:pt x="2284769" y="12042929"/>
                </a:cubicBezTo>
                <a:lnTo>
                  <a:pt x="2375119" y="12188825"/>
                </a:lnTo>
                <a:lnTo>
                  <a:pt x="2392293" y="12188825"/>
                </a:lnTo>
                <a:lnTo>
                  <a:pt x="2293718" y="12030174"/>
                </a:lnTo>
                <a:cubicBezTo>
                  <a:pt x="2198071" y="11869628"/>
                  <a:pt x="2109294" y="11706927"/>
                  <a:pt x="2027534" y="11542343"/>
                </a:cubicBezTo>
                <a:cubicBezTo>
                  <a:pt x="1921520" y="11328679"/>
                  <a:pt x="1824504" y="11101323"/>
                  <a:pt x="1739615" y="10874877"/>
                </a:cubicBezTo>
                <a:cubicBezTo>
                  <a:pt x="1403580" y="9980053"/>
                  <a:pt x="1194291" y="8937305"/>
                  <a:pt x="1058154" y="7498278"/>
                </a:cubicBezTo>
                <a:cubicBezTo>
                  <a:pt x="970136" y="6595236"/>
                  <a:pt x="952141" y="5879376"/>
                  <a:pt x="991652" y="5238385"/>
                </a:cubicBezTo>
                <a:cubicBezTo>
                  <a:pt x="1028033" y="4684142"/>
                  <a:pt x="1112922" y="4134464"/>
                  <a:pt x="1194681" y="3602132"/>
                </a:cubicBezTo>
                <a:cubicBezTo>
                  <a:pt x="1231062" y="3361992"/>
                  <a:pt x="1270574" y="3113632"/>
                  <a:pt x="1303825" y="2868924"/>
                </a:cubicBezTo>
                <a:cubicBezTo>
                  <a:pt x="1430963" y="1917486"/>
                  <a:pt x="1491597" y="957830"/>
                  <a:pt x="1482601" y="2740"/>
                </a:cubicBezTo>
                <a:lnTo>
                  <a:pt x="1470474" y="2740"/>
                </a:lnTo>
                <a:cubicBezTo>
                  <a:pt x="1479471" y="957830"/>
                  <a:pt x="1418836" y="1918399"/>
                  <a:pt x="1288567" y="2865272"/>
                </a:cubicBezTo>
                <a:cubicBezTo>
                  <a:pt x="1255317" y="3109979"/>
                  <a:pt x="1218935" y="3358338"/>
                  <a:pt x="1182554" y="3598481"/>
                </a:cubicBezTo>
                <a:cubicBezTo>
                  <a:pt x="1100795" y="4130810"/>
                  <a:pt x="1015905" y="4680490"/>
                  <a:pt x="979525" y="5234734"/>
                </a:cubicBezTo>
                <a:cubicBezTo>
                  <a:pt x="965931" y="5446343"/>
                  <a:pt x="959892" y="5658236"/>
                  <a:pt x="959287" y="5865907"/>
                </a:cubicBezTo>
                <a:close/>
                <a:moveTo>
                  <a:pt x="840186" y="5825530"/>
                </a:moveTo>
                <a:cubicBezTo>
                  <a:pt x="834464" y="6343678"/>
                  <a:pt x="864611" y="6919607"/>
                  <a:pt x="930625" y="7594154"/>
                </a:cubicBezTo>
                <a:cubicBezTo>
                  <a:pt x="1018644" y="8488979"/>
                  <a:pt x="1184901" y="9814781"/>
                  <a:pt x="1627342" y="10979883"/>
                </a:cubicBezTo>
                <a:cubicBezTo>
                  <a:pt x="1712231" y="11206327"/>
                  <a:pt x="1811985" y="11433687"/>
                  <a:pt x="1917999" y="11647349"/>
                </a:cubicBezTo>
                <a:cubicBezTo>
                  <a:pt x="2001324" y="11814216"/>
                  <a:pt x="2090687" y="11977544"/>
                  <a:pt x="2186524" y="12137948"/>
                </a:cubicBezTo>
                <a:lnTo>
                  <a:pt x="2218239" y="12188825"/>
                </a:lnTo>
                <a:lnTo>
                  <a:pt x="2235959" y="12188825"/>
                </a:lnTo>
                <a:lnTo>
                  <a:pt x="2196903" y="12126177"/>
                </a:lnTo>
                <a:cubicBezTo>
                  <a:pt x="2101470" y="11966415"/>
                  <a:pt x="2012669" y="11803943"/>
                  <a:pt x="1930127" y="11638217"/>
                </a:cubicBezTo>
                <a:cubicBezTo>
                  <a:pt x="1820982" y="11424555"/>
                  <a:pt x="1723967" y="11197195"/>
                  <a:pt x="1636339" y="10970751"/>
                </a:cubicBezTo>
                <a:cubicBezTo>
                  <a:pt x="1197029" y="9810215"/>
                  <a:pt x="1030380" y="8483499"/>
                  <a:pt x="942752" y="7589586"/>
                </a:cubicBezTo>
                <a:cubicBezTo>
                  <a:pt x="854733" y="6691109"/>
                  <a:pt x="833609" y="5970683"/>
                  <a:pt x="873120" y="5325130"/>
                </a:cubicBezTo>
                <a:cubicBezTo>
                  <a:pt x="906372" y="4770887"/>
                  <a:pt x="988130" y="4212990"/>
                  <a:pt x="1069890" y="3676093"/>
                </a:cubicBezTo>
                <a:cubicBezTo>
                  <a:pt x="1106272" y="3440515"/>
                  <a:pt x="1142652" y="3192156"/>
                  <a:pt x="1172775" y="2947449"/>
                </a:cubicBezTo>
                <a:cubicBezTo>
                  <a:pt x="1303042" y="1970445"/>
                  <a:pt x="1360548" y="984309"/>
                  <a:pt x="1351550" y="2740"/>
                </a:cubicBezTo>
                <a:lnTo>
                  <a:pt x="1336294" y="2740"/>
                </a:lnTo>
                <a:cubicBezTo>
                  <a:pt x="1348421" y="984309"/>
                  <a:pt x="1290916" y="1970445"/>
                  <a:pt x="1160646" y="2947449"/>
                </a:cubicBezTo>
                <a:cubicBezTo>
                  <a:pt x="1130526" y="3192156"/>
                  <a:pt x="1091016" y="3435952"/>
                  <a:pt x="1057764" y="3671527"/>
                </a:cubicBezTo>
                <a:cubicBezTo>
                  <a:pt x="976004" y="4212990"/>
                  <a:pt x="894245" y="4766320"/>
                  <a:pt x="857863" y="5325130"/>
                </a:cubicBezTo>
                <a:cubicBezTo>
                  <a:pt x="847985" y="5486519"/>
                  <a:pt x="842093" y="5652814"/>
                  <a:pt x="840186" y="5825530"/>
                </a:cubicBezTo>
                <a:close/>
                <a:moveTo>
                  <a:pt x="722094" y="5919464"/>
                </a:moveTo>
                <a:cubicBezTo>
                  <a:pt x="716520" y="6439497"/>
                  <a:pt x="747253" y="7015256"/>
                  <a:pt x="815614" y="7689116"/>
                </a:cubicBezTo>
                <a:cubicBezTo>
                  <a:pt x="958009" y="9111705"/>
                  <a:pt x="1185292" y="10189147"/>
                  <a:pt x="1524458" y="11074841"/>
                </a:cubicBezTo>
                <a:cubicBezTo>
                  <a:pt x="1612477" y="11301289"/>
                  <a:pt x="1712231" y="11528647"/>
                  <a:pt x="1821373" y="11742309"/>
                </a:cubicBezTo>
                <a:cubicBezTo>
                  <a:pt x="1862644" y="11825172"/>
                  <a:pt x="1905572" y="11907221"/>
                  <a:pt x="1950186" y="11988534"/>
                </a:cubicBezTo>
                <a:lnTo>
                  <a:pt x="2065263" y="12188825"/>
                </a:lnTo>
                <a:lnTo>
                  <a:pt x="2081369" y="12188825"/>
                </a:lnTo>
                <a:lnTo>
                  <a:pt x="1959970" y="11978801"/>
                </a:lnTo>
                <a:cubicBezTo>
                  <a:pt x="1915212" y="11897933"/>
                  <a:pt x="1872034" y="11816383"/>
                  <a:pt x="1830372" y="11734091"/>
                </a:cubicBezTo>
                <a:cubicBezTo>
                  <a:pt x="1721229" y="11520429"/>
                  <a:pt x="1624212" y="11293069"/>
                  <a:pt x="1536586" y="11066623"/>
                </a:cubicBezTo>
                <a:cubicBezTo>
                  <a:pt x="1197419" y="10180929"/>
                  <a:pt x="973265" y="9108051"/>
                  <a:pt x="827740" y="7685460"/>
                </a:cubicBezTo>
                <a:cubicBezTo>
                  <a:pt x="739722" y="6786983"/>
                  <a:pt x="712731" y="6066558"/>
                  <a:pt x="751848" y="5416439"/>
                </a:cubicBezTo>
                <a:cubicBezTo>
                  <a:pt x="785100" y="4853977"/>
                  <a:pt x="866861" y="4295169"/>
                  <a:pt x="945882" y="3750052"/>
                </a:cubicBezTo>
                <a:cubicBezTo>
                  <a:pt x="979134" y="3514476"/>
                  <a:pt x="1015514" y="3274335"/>
                  <a:pt x="1046028" y="3030539"/>
                </a:cubicBezTo>
                <a:cubicBezTo>
                  <a:pt x="1176295" y="2027056"/>
                  <a:pt x="1233801" y="1010789"/>
                  <a:pt x="1218545" y="2740"/>
                </a:cubicBezTo>
                <a:lnTo>
                  <a:pt x="1206418" y="2740"/>
                </a:lnTo>
                <a:cubicBezTo>
                  <a:pt x="1221675" y="1006224"/>
                  <a:pt x="1164168" y="2022491"/>
                  <a:pt x="1033901" y="3025976"/>
                </a:cubicBezTo>
                <a:cubicBezTo>
                  <a:pt x="1003777" y="3270683"/>
                  <a:pt x="967398" y="3514476"/>
                  <a:pt x="933753" y="3750052"/>
                </a:cubicBezTo>
                <a:cubicBezTo>
                  <a:pt x="851995" y="4291514"/>
                  <a:pt x="770235" y="4853977"/>
                  <a:pt x="739722" y="5416439"/>
                </a:cubicBezTo>
                <a:cubicBezTo>
                  <a:pt x="729844" y="5578969"/>
                  <a:pt x="723952" y="5746120"/>
                  <a:pt x="722094" y="5919464"/>
                </a:cubicBezTo>
                <a:close/>
                <a:moveTo>
                  <a:pt x="603508" y="6013313"/>
                </a:moveTo>
                <a:cubicBezTo>
                  <a:pt x="600115" y="6537196"/>
                  <a:pt x="632535" y="7112954"/>
                  <a:pt x="700603" y="7786812"/>
                </a:cubicBezTo>
                <a:cubicBezTo>
                  <a:pt x="848865" y="9209407"/>
                  <a:pt x="1079279" y="10286849"/>
                  <a:pt x="1424703" y="11172543"/>
                </a:cubicBezTo>
                <a:cubicBezTo>
                  <a:pt x="1512722" y="11398989"/>
                  <a:pt x="1612477" y="11626349"/>
                  <a:pt x="1721620" y="11840011"/>
                </a:cubicBezTo>
                <a:cubicBezTo>
                  <a:pt x="1763282" y="11922417"/>
                  <a:pt x="1806552" y="12003995"/>
                  <a:pt x="1851477" y="12084841"/>
                </a:cubicBezTo>
                <a:lnTo>
                  <a:pt x="1911933" y="12188825"/>
                </a:lnTo>
                <a:lnTo>
                  <a:pt x="1927592" y="12188825"/>
                </a:lnTo>
                <a:lnTo>
                  <a:pt x="1860469" y="12073940"/>
                </a:lnTo>
                <a:cubicBezTo>
                  <a:pt x="1815550" y="11993594"/>
                  <a:pt x="1772280" y="11912600"/>
                  <a:pt x="1730618" y="11830879"/>
                </a:cubicBezTo>
                <a:cubicBezTo>
                  <a:pt x="1621474" y="11617215"/>
                  <a:pt x="1521720" y="11389857"/>
                  <a:pt x="1433702" y="11163411"/>
                </a:cubicBezTo>
                <a:cubicBezTo>
                  <a:pt x="1091406" y="10277717"/>
                  <a:pt x="861384" y="9204839"/>
                  <a:pt x="715859" y="7782246"/>
                </a:cubicBezTo>
                <a:cubicBezTo>
                  <a:pt x="621973" y="6883770"/>
                  <a:pt x="594590" y="6163343"/>
                  <a:pt x="630971" y="5509573"/>
                </a:cubicBezTo>
                <a:cubicBezTo>
                  <a:pt x="661092" y="4942545"/>
                  <a:pt x="742852" y="4375518"/>
                  <a:pt x="821873" y="3829491"/>
                </a:cubicBezTo>
                <a:cubicBezTo>
                  <a:pt x="855124" y="3593913"/>
                  <a:pt x="888377" y="3353773"/>
                  <a:pt x="918889" y="3113632"/>
                </a:cubicBezTo>
                <a:cubicBezTo>
                  <a:pt x="1049158" y="2080017"/>
                  <a:pt x="1106663" y="1037269"/>
                  <a:pt x="1088668" y="2740"/>
                </a:cubicBezTo>
                <a:lnTo>
                  <a:pt x="1073411" y="2740"/>
                </a:lnTo>
                <a:cubicBezTo>
                  <a:pt x="1091406" y="1032702"/>
                  <a:pt x="1037031" y="2075449"/>
                  <a:pt x="906763" y="3109066"/>
                </a:cubicBezTo>
                <a:cubicBezTo>
                  <a:pt x="876640" y="3349208"/>
                  <a:pt x="840259" y="3589348"/>
                  <a:pt x="806616" y="3824928"/>
                </a:cubicBezTo>
                <a:cubicBezTo>
                  <a:pt x="730725" y="4370039"/>
                  <a:pt x="648966" y="4937067"/>
                  <a:pt x="618843" y="5505008"/>
                </a:cubicBezTo>
                <a:cubicBezTo>
                  <a:pt x="609748" y="5669820"/>
                  <a:pt x="604638" y="5838685"/>
                  <a:pt x="603508" y="6013313"/>
                </a:cubicBezTo>
                <a:close/>
                <a:moveTo>
                  <a:pt x="484138" y="6104622"/>
                </a:moveTo>
                <a:cubicBezTo>
                  <a:pt x="482341" y="6628504"/>
                  <a:pt x="515862" y="7204265"/>
                  <a:pt x="588330" y="7878123"/>
                </a:cubicBezTo>
                <a:cubicBezTo>
                  <a:pt x="739722" y="9304365"/>
                  <a:pt x="972874" y="10378157"/>
                  <a:pt x="1321429" y="11268417"/>
                </a:cubicBezTo>
                <a:cubicBezTo>
                  <a:pt x="1412186" y="11499429"/>
                  <a:pt x="1512330" y="11722223"/>
                  <a:pt x="1621474" y="11935885"/>
                </a:cubicBezTo>
                <a:cubicBezTo>
                  <a:pt x="1663479" y="12017150"/>
                  <a:pt x="1707048" y="12097801"/>
                  <a:pt x="1752247" y="12177898"/>
                </a:cubicBezTo>
                <a:lnTo>
                  <a:pt x="1758681" y="12188825"/>
                </a:lnTo>
                <a:lnTo>
                  <a:pt x="1777889" y="12188825"/>
                </a:lnTo>
                <a:lnTo>
                  <a:pt x="1763464" y="12164202"/>
                </a:lnTo>
                <a:cubicBezTo>
                  <a:pt x="1718533" y="12084105"/>
                  <a:pt x="1675263" y="12003454"/>
                  <a:pt x="1633601" y="11922189"/>
                </a:cubicBezTo>
                <a:cubicBezTo>
                  <a:pt x="1524458" y="11713091"/>
                  <a:pt x="1421575" y="11485733"/>
                  <a:pt x="1333556" y="11259285"/>
                </a:cubicBezTo>
                <a:cubicBezTo>
                  <a:pt x="985392" y="10373591"/>
                  <a:pt x="751848" y="9296147"/>
                  <a:pt x="600457" y="7878123"/>
                </a:cubicBezTo>
                <a:cubicBezTo>
                  <a:pt x="506570" y="6979644"/>
                  <a:pt x="476448" y="6254652"/>
                  <a:pt x="509699" y="5600881"/>
                </a:cubicBezTo>
                <a:cubicBezTo>
                  <a:pt x="539823" y="5024723"/>
                  <a:pt x="618843" y="4453129"/>
                  <a:pt x="694343" y="3898887"/>
                </a:cubicBezTo>
                <a:cubicBezTo>
                  <a:pt x="727595" y="3672440"/>
                  <a:pt x="760848" y="3432300"/>
                  <a:pt x="791360" y="3196721"/>
                </a:cubicBezTo>
                <a:cubicBezTo>
                  <a:pt x="921627" y="2132061"/>
                  <a:pt x="976004" y="1059182"/>
                  <a:pt x="954878" y="2740"/>
                </a:cubicBezTo>
                <a:lnTo>
                  <a:pt x="942752" y="2740"/>
                </a:lnTo>
                <a:cubicBezTo>
                  <a:pt x="963876" y="1058270"/>
                  <a:pt x="909500" y="2127499"/>
                  <a:pt x="776104" y="3192156"/>
                </a:cubicBezTo>
                <a:cubicBezTo>
                  <a:pt x="748719" y="3427732"/>
                  <a:pt x="715468" y="3667874"/>
                  <a:pt x="682216" y="3898887"/>
                </a:cubicBezTo>
                <a:cubicBezTo>
                  <a:pt x="606326" y="4448566"/>
                  <a:pt x="527695" y="5024723"/>
                  <a:pt x="497572" y="5596316"/>
                </a:cubicBezTo>
                <a:cubicBezTo>
                  <a:pt x="489260" y="5761128"/>
                  <a:pt x="484737" y="5929993"/>
                  <a:pt x="484138" y="6104622"/>
                </a:cubicBezTo>
                <a:close/>
                <a:moveTo>
                  <a:pt x="365502" y="6198056"/>
                </a:moveTo>
                <a:cubicBezTo>
                  <a:pt x="365814" y="6723525"/>
                  <a:pt x="400948" y="7299453"/>
                  <a:pt x="473711" y="7973996"/>
                </a:cubicBezTo>
                <a:cubicBezTo>
                  <a:pt x="631362" y="9396587"/>
                  <a:pt x="867643" y="10474031"/>
                  <a:pt x="1218935" y="11364293"/>
                </a:cubicBezTo>
                <a:cubicBezTo>
                  <a:pt x="1309693" y="11595303"/>
                  <a:pt x="1412967" y="11818095"/>
                  <a:pt x="1524850" y="12031759"/>
                </a:cubicBezTo>
                <a:lnTo>
                  <a:pt x="1609825" y="12188825"/>
                </a:lnTo>
                <a:lnTo>
                  <a:pt x="1626613" y="12188825"/>
                </a:lnTo>
                <a:lnTo>
                  <a:pt x="1533847" y="12017149"/>
                </a:lnTo>
                <a:cubicBezTo>
                  <a:pt x="1424703" y="11808053"/>
                  <a:pt x="1321820" y="11580693"/>
                  <a:pt x="1231062" y="11354247"/>
                </a:cubicBezTo>
                <a:cubicBezTo>
                  <a:pt x="879771" y="10468553"/>
                  <a:pt x="643489" y="9391111"/>
                  <a:pt x="485837" y="7968518"/>
                </a:cubicBezTo>
                <a:cubicBezTo>
                  <a:pt x="388820" y="7073693"/>
                  <a:pt x="358699" y="6349614"/>
                  <a:pt x="388820" y="5686713"/>
                </a:cubicBezTo>
                <a:cubicBezTo>
                  <a:pt x="418943" y="5110553"/>
                  <a:pt x="494835" y="4530744"/>
                  <a:pt x="570726" y="3971935"/>
                </a:cubicBezTo>
                <a:cubicBezTo>
                  <a:pt x="603977" y="3745489"/>
                  <a:pt x="634491" y="3509911"/>
                  <a:pt x="661483" y="3277986"/>
                </a:cubicBezTo>
                <a:cubicBezTo>
                  <a:pt x="794881" y="2183195"/>
                  <a:pt x="849256" y="1083837"/>
                  <a:pt x="821873" y="1828"/>
                </a:cubicBezTo>
                <a:lnTo>
                  <a:pt x="809747" y="1828"/>
                </a:lnTo>
                <a:cubicBezTo>
                  <a:pt x="834000" y="1083837"/>
                  <a:pt x="782362" y="2178629"/>
                  <a:pt x="649356" y="3274335"/>
                </a:cubicBezTo>
                <a:cubicBezTo>
                  <a:pt x="621973" y="3505345"/>
                  <a:pt x="588721" y="3740924"/>
                  <a:pt x="558599" y="3968280"/>
                </a:cubicBezTo>
                <a:cubicBezTo>
                  <a:pt x="482708" y="4530744"/>
                  <a:pt x="404079" y="5106902"/>
                  <a:pt x="376694" y="5687625"/>
                </a:cubicBezTo>
                <a:cubicBezTo>
                  <a:pt x="369163" y="5853352"/>
                  <a:pt x="365398" y="6022901"/>
                  <a:pt x="365502" y="6198056"/>
                </a:cubicBezTo>
                <a:close/>
                <a:moveTo>
                  <a:pt x="246359" y="6291090"/>
                </a:moveTo>
                <a:cubicBezTo>
                  <a:pt x="248211" y="6818483"/>
                  <a:pt x="284666" y="7394413"/>
                  <a:pt x="361829" y="8068958"/>
                </a:cubicBezTo>
                <a:cubicBezTo>
                  <a:pt x="519480" y="9491549"/>
                  <a:pt x="761629" y="10568991"/>
                  <a:pt x="1119180" y="11459251"/>
                </a:cubicBezTo>
                <a:cubicBezTo>
                  <a:pt x="1209939" y="11690263"/>
                  <a:pt x="1313214" y="11913055"/>
                  <a:pt x="1425096" y="12126717"/>
                </a:cubicBezTo>
                <a:lnTo>
                  <a:pt x="1459172" y="12188825"/>
                </a:lnTo>
                <a:lnTo>
                  <a:pt x="1475636" y="12188825"/>
                </a:lnTo>
                <a:lnTo>
                  <a:pt x="1434092" y="12113023"/>
                </a:lnTo>
                <a:cubicBezTo>
                  <a:pt x="1324949" y="11903927"/>
                  <a:pt x="1222066" y="11676567"/>
                  <a:pt x="1131307" y="11450123"/>
                </a:cubicBezTo>
                <a:cubicBezTo>
                  <a:pt x="773756" y="10559861"/>
                  <a:pt x="531607" y="9486985"/>
                  <a:pt x="373956" y="8064394"/>
                </a:cubicBezTo>
                <a:cubicBezTo>
                  <a:pt x="273809" y="7169564"/>
                  <a:pt x="240557" y="6445487"/>
                  <a:pt x="271072" y="5778021"/>
                </a:cubicBezTo>
                <a:cubicBezTo>
                  <a:pt x="295325" y="5193645"/>
                  <a:pt x="373956" y="4608355"/>
                  <a:pt x="446717" y="4045894"/>
                </a:cubicBezTo>
                <a:cubicBezTo>
                  <a:pt x="476839" y="3819448"/>
                  <a:pt x="507352" y="3587524"/>
                  <a:pt x="534736" y="3356513"/>
                </a:cubicBezTo>
                <a:cubicBezTo>
                  <a:pt x="668133" y="2235241"/>
                  <a:pt x="719380" y="1109403"/>
                  <a:pt x="692388" y="1828"/>
                </a:cubicBezTo>
                <a:lnTo>
                  <a:pt x="677130" y="1828"/>
                </a:lnTo>
                <a:cubicBezTo>
                  <a:pt x="707253" y="1105750"/>
                  <a:pt x="656007" y="2231589"/>
                  <a:pt x="522609" y="3356513"/>
                </a:cubicBezTo>
                <a:cubicBezTo>
                  <a:pt x="495226" y="3582959"/>
                  <a:pt x="465103" y="3818535"/>
                  <a:pt x="434590" y="4041328"/>
                </a:cubicBezTo>
                <a:cubicBezTo>
                  <a:pt x="361829" y="4608355"/>
                  <a:pt x="283198" y="5192732"/>
                  <a:pt x="255815" y="5778021"/>
                </a:cubicBezTo>
                <a:cubicBezTo>
                  <a:pt x="248969" y="5944887"/>
                  <a:pt x="245742" y="6115293"/>
                  <a:pt x="246359" y="6291090"/>
                </a:cubicBezTo>
                <a:close/>
                <a:moveTo>
                  <a:pt x="126714" y="6383042"/>
                </a:moveTo>
                <a:cubicBezTo>
                  <a:pt x="128970" y="6911506"/>
                  <a:pt x="168578" y="7489148"/>
                  <a:pt x="246035" y="8160267"/>
                </a:cubicBezTo>
                <a:cubicBezTo>
                  <a:pt x="409553" y="9586509"/>
                  <a:pt x="654833" y="10664867"/>
                  <a:pt x="1015514" y="11554213"/>
                </a:cubicBezTo>
                <a:cubicBezTo>
                  <a:pt x="1062458" y="11669718"/>
                  <a:pt x="1111651" y="11783169"/>
                  <a:pt x="1163142" y="11894453"/>
                </a:cubicBezTo>
                <a:lnTo>
                  <a:pt x="1308351" y="12188825"/>
                </a:lnTo>
                <a:lnTo>
                  <a:pt x="1326652" y="12188825"/>
                </a:lnTo>
                <a:lnTo>
                  <a:pt x="1174242" y="11883952"/>
                </a:lnTo>
                <a:cubicBezTo>
                  <a:pt x="1122311" y="11772670"/>
                  <a:pt x="1073020" y="11659219"/>
                  <a:pt x="1027641" y="11545997"/>
                </a:cubicBezTo>
                <a:cubicBezTo>
                  <a:pt x="667351" y="10655735"/>
                  <a:pt x="421682" y="9578293"/>
                  <a:pt x="258162" y="8160267"/>
                </a:cubicBezTo>
                <a:cubicBezTo>
                  <a:pt x="155278" y="7265443"/>
                  <a:pt x="122026" y="6536798"/>
                  <a:pt x="149019" y="5869330"/>
                </a:cubicBezTo>
                <a:cubicBezTo>
                  <a:pt x="173273" y="5280389"/>
                  <a:pt x="249165" y="4686883"/>
                  <a:pt x="321534" y="4119855"/>
                </a:cubicBezTo>
                <a:cubicBezTo>
                  <a:pt x="348919" y="3897059"/>
                  <a:pt x="379042" y="3666049"/>
                  <a:pt x="406424" y="3439603"/>
                </a:cubicBezTo>
                <a:cubicBezTo>
                  <a:pt x="539823" y="2288202"/>
                  <a:pt x="588330" y="1131316"/>
                  <a:pt x="557818" y="1828"/>
                </a:cubicBezTo>
                <a:lnTo>
                  <a:pt x="545691" y="1828"/>
                </a:lnTo>
                <a:cubicBezTo>
                  <a:pt x="575811" y="1132231"/>
                  <a:pt x="524565" y="2283634"/>
                  <a:pt x="394297" y="3435039"/>
                </a:cubicBezTo>
                <a:cubicBezTo>
                  <a:pt x="366915" y="3661484"/>
                  <a:pt x="336792" y="3893408"/>
                  <a:pt x="309407" y="4115287"/>
                </a:cubicBezTo>
                <a:cubicBezTo>
                  <a:pt x="236646" y="4686883"/>
                  <a:pt x="161146" y="5275824"/>
                  <a:pt x="136890" y="5869330"/>
                </a:cubicBezTo>
                <a:cubicBezTo>
                  <a:pt x="129360" y="6036197"/>
                  <a:pt x="125962" y="6206888"/>
                  <a:pt x="126714" y="6383042"/>
                </a:cubicBezTo>
                <a:close/>
                <a:moveTo>
                  <a:pt x="7913" y="6475962"/>
                </a:moveTo>
                <a:cubicBezTo>
                  <a:pt x="11562" y="7008234"/>
                  <a:pt x="51905" y="7585706"/>
                  <a:pt x="131415" y="8256141"/>
                </a:cubicBezTo>
                <a:cubicBezTo>
                  <a:pt x="301194" y="9678731"/>
                  <a:pt x="549602" y="10760741"/>
                  <a:pt x="915760" y="11650087"/>
                </a:cubicBezTo>
                <a:cubicBezTo>
                  <a:pt x="962703" y="11765593"/>
                  <a:pt x="1011896" y="11879044"/>
                  <a:pt x="1063778" y="11990327"/>
                </a:cubicBezTo>
                <a:lnTo>
                  <a:pt x="1163355" y="12188825"/>
                </a:lnTo>
                <a:lnTo>
                  <a:pt x="1179133" y="12188825"/>
                </a:lnTo>
                <a:lnTo>
                  <a:pt x="1074096" y="11978115"/>
                </a:lnTo>
                <a:cubicBezTo>
                  <a:pt x="1021774" y="11867404"/>
                  <a:pt x="971701" y="11755094"/>
                  <a:pt x="924758" y="11641871"/>
                </a:cubicBezTo>
                <a:cubicBezTo>
                  <a:pt x="561338" y="10751611"/>
                  <a:pt x="312930" y="9674167"/>
                  <a:pt x="143150" y="8256141"/>
                </a:cubicBezTo>
                <a:cubicBezTo>
                  <a:pt x="40267" y="7361314"/>
                  <a:pt x="3886" y="6632672"/>
                  <a:pt x="28140" y="5961553"/>
                </a:cubicBezTo>
                <a:cubicBezTo>
                  <a:pt x="52394" y="5363480"/>
                  <a:pt x="125155" y="4766320"/>
                  <a:pt x="197919" y="4190161"/>
                </a:cubicBezTo>
                <a:cubicBezTo>
                  <a:pt x="225302" y="3971935"/>
                  <a:pt x="252295" y="3745489"/>
                  <a:pt x="279678" y="3522695"/>
                </a:cubicBezTo>
                <a:cubicBezTo>
                  <a:pt x="409947" y="2340246"/>
                  <a:pt x="461583" y="1157796"/>
                  <a:pt x="425203" y="1828"/>
                </a:cubicBezTo>
                <a:lnTo>
                  <a:pt x="413074" y="1828"/>
                </a:lnTo>
                <a:cubicBezTo>
                  <a:pt x="446326" y="1153231"/>
                  <a:pt x="397818" y="2335680"/>
                  <a:pt x="264813" y="3518129"/>
                </a:cubicBezTo>
                <a:cubicBezTo>
                  <a:pt x="240557" y="3740924"/>
                  <a:pt x="213175" y="3967367"/>
                  <a:pt x="186181" y="4190161"/>
                </a:cubicBezTo>
                <a:cubicBezTo>
                  <a:pt x="113420" y="4766320"/>
                  <a:pt x="37919" y="5359827"/>
                  <a:pt x="16403" y="5956988"/>
                </a:cubicBezTo>
                <a:cubicBezTo>
                  <a:pt x="9557" y="6126137"/>
                  <a:pt x="6696" y="6298539"/>
                  <a:pt x="7913" y="6475962"/>
                </a:cubicBezTo>
                <a:close/>
                <a:moveTo>
                  <a:pt x="0" y="12143747"/>
                </a:moveTo>
                <a:lnTo>
                  <a:pt x="0" y="12180859"/>
                </a:lnTo>
                <a:lnTo>
                  <a:pt x="3313" y="12188825"/>
                </a:lnTo>
                <a:lnTo>
                  <a:pt x="18829" y="12188825"/>
                </a:lnTo>
                <a:close/>
                <a:moveTo>
                  <a:pt x="0" y="11770999"/>
                </a:moveTo>
                <a:lnTo>
                  <a:pt x="0" y="11814171"/>
                </a:lnTo>
                <a:lnTo>
                  <a:pt x="60618" y="11981565"/>
                </a:lnTo>
                <a:lnTo>
                  <a:pt x="146370" y="12188825"/>
                </a:lnTo>
                <a:lnTo>
                  <a:pt x="162634" y="12188825"/>
                </a:lnTo>
                <a:lnTo>
                  <a:pt x="73136" y="11972637"/>
                </a:lnTo>
                <a:close/>
                <a:moveTo>
                  <a:pt x="0" y="11369071"/>
                </a:moveTo>
                <a:lnTo>
                  <a:pt x="0" y="11418249"/>
                </a:lnTo>
                <a:lnTo>
                  <a:pt x="32033" y="11521001"/>
                </a:lnTo>
                <a:cubicBezTo>
                  <a:pt x="73790" y="11646008"/>
                  <a:pt x="117242" y="11767535"/>
                  <a:pt x="162467" y="11885886"/>
                </a:cubicBezTo>
                <a:lnTo>
                  <a:pt x="286040" y="12188825"/>
                </a:lnTo>
                <a:lnTo>
                  <a:pt x="302282" y="12188825"/>
                </a:lnTo>
                <a:lnTo>
                  <a:pt x="174974" y="11876763"/>
                </a:lnTo>
                <a:cubicBezTo>
                  <a:pt x="129745" y="11758420"/>
                  <a:pt x="86290" y="11636912"/>
                  <a:pt x="44539" y="11511941"/>
                </a:cubicBezTo>
                <a:close/>
                <a:moveTo>
                  <a:pt x="0" y="10915801"/>
                </a:moveTo>
                <a:lnTo>
                  <a:pt x="0" y="10968869"/>
                </a:lnTo>
                <a:lnTo>
                  <a:pt x="18605" y="11038443"/>
                </a:lnTo>
                <a:cubicBezTo>
                  <a:pt x="132674" y="11435271"/>
                  <a:pt x="261438" y="11798011"/>
                  <a:pt x="406816" y="12134939"/>
                </a:cubicBezTo>
                <a:lnTo>
                  <a:pt x="431731" y="12188825"/>
                </a:lnTo>
                <a:lnTo>
                  <a:pt x="447977" y="12188825"/>
                </a:lnTo>
                <a:lnTo>
                  <a:pt x="418943" y="12125805"/>
                </a:lnTo>
                <a:cubicBezTo>
                  <a:pt x="273565" y="11788877"/>
                  <a:pt x="144801" y="11426651"/>
                  <a:pt x="30732" y="11030513"/>
                </a:cubicBezTo>
                <a:close/>
                <a:moveTo>
                  <a:pt x="0" y="10393437"/>
                </a:moveTo>
                <a:lnTo>
                  <a:pt x="0" y="10453311"/>
                </a:lnTo>
                <a:lnTo>
                  <a:pt x="18311" y="10534067"/>
                </a:lnTo>
                <a:cubicBezTo>
                  <a:pt x="155375" y="11094703"/>
                  <a:pt x="317427" y="11589825"/>
                  <a:pt x="509699" y="12039063"/>
                </a:cubicBezTo>
                <a:lnTo>
                  <a:pt x="577788" y="12188825"/>
                </a:lnTo>
                <a:lnTo>
                  <a:pt x="592107" y="12188825"/>
                </a:lnTo>
                <a:lnTo>
                  <a:pt x="519088" y="12029931"/>
                </a:lnTo>
                <a:cubicBezTo>
                  <a:pt x="328185" y="11580693"/>
                  <a:pt x="166915" y="11086485"/>
                  <a:pt x="30241" y="10526875"/>
                </a:cubicBezTo>
                <a:close/>
                <a:moveTo>
                  <a:pt x="0" y="9782675"/>
                </a:moveTo>
                <a:lnTo>
                  <a:pt x="0" y="9857953"/>
                </a:lnTo>
                <a:lnTo>
                  <a:pt x="28505" y="10006729"/>
                </a:lnTo>
                <a:cubicBezTo>
                  <a:pt x="182411" y="10749827"/>
                  <a:pt x="372782" y="11381641"/>
                  <a:pt x="609455" y="11943189"/>
                </a:cubicBezTo>
                <a:lnTo>
                  <a:pt x="721132" y="12188825"/>
                </a:lnTo>
                <a:lnTo>
                  <a:pt x="736965" y="12188825"/>
                </a:lnTo>
                <a:lnTo>
                  <a:pt x="621973" y="11934059"/>
                </a:lnTo>
                <a:cubicBezTo>
                  <a:pt x="385301" y="11372511"/>
                  <a:pt x="194777" y="10740697"/>
                  <a:pt x="41519" y="9999829"/>
                </a:cubicBezTo>
                <a:close/>
                <a:moveTo>
                  <a:pt x="0" y="9049167"/>
                </a:moveTo>
                <a:lnTo>
                  <a:pt x="0" y="9129723"/>
                </a:lnTo>
                <a:lnTo>
                  <a:pt x="51764" y="9453627"/>
                </a:lnTo>
                <a:cubicBezTo>
                  <a:pt x="215864" y="10398931"/>
                  <a:pt x="431070" y="11173457"/>
                  <a:pt x="712731" y="11847315"/>
                </a:cubicBezTo>
                <a:cubicBezTo>
                  <a:pt x="759674" y="11960537"/>
                  <a:pt x="809649" y="12072847"/>
                  <a:pt x="862264" y="12183103"/>
                </a:cubicBezTo>
                <a:lnTo>
                  <a:pt x="865190" y="12188825"/>
                </a:lnTo>
                <a:lnTo>
                  <a:pt x="882725" y="12188825"/>
                </a:lnTo>
                <a:lnTo>
                  <a:pt x="874391" y="12172488"/>
                </a:lnTo>
                <a:cubicBezTo>
                  <a:pt x="821384" y="12062347"/>
                  <a:pt x="770627" y="11950037"/>
                  <a:pt x="722119" y="11834531"/>
                </a:cubicBezTo>
                <a:cubicBezTo>
                  <a:pt x="442806" y="11166837"/>
                  <a:pt x="227966" y="10393851"/>
                  <a:pt x="63904" y="9448935"/>
                </a:cubicBezTo>
                <a:close/>
                <a:moveTo>
                  <a:pt x="0" y="8077111"/>
                </a:moveTo>
                <a:lnTo>
                  <a:pt x="0" y="8185701"/>
                </a:lnTo>
                <a:lnTo>
                  <a:pt x="19143" y="8352928"/>
                </a:lnTo>
                <a:cubicBezTo>
                  <a:pt x="191659" y="9775519"/>
                  <a:pt x="443196" y="10857529"/>
                  <a:pt x="812876" y="11751441"/>
                </a:cubicBezTo>
                <a:cubicBezTo>
                  <a:pt x="859820" y="11864663"/>
                  <a:pt x="909794" y="11976973"/>
                  <a:pt x="962410" y="12087684"/>
                </a:cubicBezTo>
                <a:lnTo>
                  <a:pt x="1013614" y="12188825"/>
                </a:lnTo>
                <a:lnTo>
                  <a:pt x="1031131" y="12188825"/>
                </a:lnTo>
                <a:lnTo>
                  <a:pt x="974341" y="12074901"/>
                </a:lnTo>
                <a:cubicBezTo>
                  <a:pt x="922019" y="11964189"/>
                  <a:pt x="871946" y="11851880"/>
                  <a:pt x="825003" y="11738659"/>
                </a:cubicBezTo>
                <a:cubicBezTo>
                  <a:pt x="455323" y="10848397"/>
                  <a:pt x="204177" y="9770953"/>
                  <a:pt x="31269" y="8348363"/>
                </a:cubicBezTo>
                <a:close/>
                <a:moveTo>
                  <a:pt x="0" y="4775048"/>
                </a:moveTo>
                <a:lnTo>
                  <a:pt x="0" y="4887079"/>
                </a:lnTo>
                <a:lnTo>
                  <a:pt x="20145" y="4703802"/>
                </a:lnTo>
                <a:cubicBezTo>
                  <a:pt x="37528" y="4556367"/>
                  <a:pt x="55719" y="4409988"/>
                  <a:pt x="73910" y="4265036"/>
                </a:cubicBezTo>
                <a:cubicBezTo>
                  <a:pt x="98164" y="4046807"/>
                  <a:pt x="125547" y="3824016"/>
                  <a:pt x="149800" y="3605785"/>
                </a:cubicBezTo>
                <a:cubicBezTo>
                  <a:pt x="283198" y="2388641"/>
                  <a:pt x="331705" y="1179709"/>
                  <a:pt x="292196" y="1828"/>
                </a:cubicBezTo>
                <a:lnTo>
                  <a:pt x="280069" y="1828"/>
                </a:lnTo>
                <a:cubicBezTo>
                  <a:pt x="319579" y="1179709"/>
                  <a:pt x="271072" y="2388641"/>
                  <a:pt x="137674" y="3601219"/>
                </a:cubicBezTo>
                <a:cubicBezTo>
                  <a:pt x="113420" y="3824016"/>
                  <a:pt x="86037" y="4045894"/>
                  <a:pt x="61784" y="4260470"/>
                </a:cubicBezTo>
                <a:cubicBezTo>
                  <a:pt x="43593" y="4406564"/>
                  <a:pt x="25402" y="4553800"/>
                  <a:pt x="8018" y="4701876"/>
                </a:cubicBezTo>
                <a:close/>
                <a:moveTo>
                  <a:pt x="0" y="3771216"/>
                </a:moveTo>
                <a:lnTo>
                  <a:pt x="0" y="3885405"/>
                </a:lnTo>
                <a:lnTo>
                  <a:pt x="22272" y="3684311"/>
                </a:lnTo>
                <a:cubicBezTo>
                  <a:pt x="155669" y="2440685"/>
                  <a:pt x="201048" y="1201626"/>
                  <a:pt x="158407" y="1828"/>
                </a:cubicBezTo>
                <a:lnTo>
                  <a:pt x="146280" y="1828"/>
                </a:lnTo>
                <a:cubicBezTo>
                  <a:pt x="188530" y="1201626"/>
                  <a:pt x="143150" y="2440685"/>
                  <a:pt x="10144" y="3684311"/>
                </a:cubicBezTo>
                <a:close/>
                <a:moveTo>
                  <a:pt x="0" y="2184485"/>
                </a:moveTo>
                <a:lnTo>
                  <a:pt x="0" y="2456148"/>
                </a:lnTo>
                <a:lnTo>
                  <a:pt x="7103" y="2339528"/>
                </a:lnTo>
                <a:cubicBezTo>
                  <a:pt x="48335" y="1550011"/>
                  <a:pt x="54936" y="768251"/>
                  <a:pt x="28532" y="1828"/>
                </a:cubicBezTo>
                <a:lnTo>
                  <a:pt x="13275" y="1828"/>
                </a:lnTo>
                <a:cubicBezTo>
                  <a:pt x="35964" y="612683"/>
                  <a:pt x="35964" y="1234496"/>
                  <a:pt x="14008" y="1862814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  <a:ln w="12700">
            <a:solidFill>
              <a:schemeClr val="bg1">
                <a:lumMod val="95000"/>
                <a:alpha val="30000"/>
              </a:schemeClr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799"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60BD87-90A1-7149-BE3B-584C7BA621D8}"/>
              </a:ext>
            </a:extLst>
          </p:cNvPr>
          <p:cNvSpPr/>
          <p:nvPr userDrawn="1"/>
        </p:nvSpPr>
        <p:spPr>
          <a:xfrm>
            <a:off x="0" y="-15025"/>
            <a:ext cx="12191999" cy="1033946"/>
          </a:xfrm>
          <a:prstGeom prst="rect">
            <a:avLst/>
          </a:prstGeom>
          <a:gradFill>
            <a:gsLst>
              <a:gs pos="50000">
                <a:srgbClr val="605BCA"/>
              </a:gs>
              <a:gs pos="0">
                <a:schemeClr val="tx2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C211EE-CE6A-0174-A94C-292157083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419" y="248675"/>
            <a:ext cx="10515163" cy="506546"/>
          </a:xfrm>
          <a:prstGeom prst="rect">
            <a:avLst/>
          </a:prstGeom>
        </p:spPr>
        <p:txBody>
          <a:bodyPr/>
          <a:lstStyle>
            <a:lvl1pPr marL="0" marR="126962" indent="-36819" algn="ctr" defTabSz="914126" rtl="0" eaLnBrk="1" latinLnBrk="0" hangingPunct="1">
              <a:lnSpc>
                <a:spcPct val="90000"/>
              </a:lnSpc>
              <a:spcBef>
                <a:spcPct val="0"/>
              </a:spcBef>
              <a:defRPr lang="en-US" sz="2600" b="1" kern="1200" spc="100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BBB362D5-AEC0-4BEA-6095-EB5593C546BF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217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3356640" cy="6858000"/>
          </a:xfrm>
          <a:prstGeom prst="rect">
            <a:avLst/>
          </a:prstGeom>
          <a:gradFill flip="none" rotWithShape="1">
            <a:gsLst>
              <a:gs pos="61000">
                <a:schemeClr val="accent3"/>
              </a:gs>
              <a:gs pos="1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064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3356640" cy="6858000"/>
          </a:xfrm>
          <a:prstGeom prst="rect">
            <a:avLst/>
          </a:prstGeom>
          <a:gradFill flip="none" rotWithShape="1">
            <a:gsLst>
              <a:gs pos="61000">
                <a:schemeClr val="accent3"/>
              </a:gs>
              <a:gs pos="1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673937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F56BB7-CB05-4C93-B90E-4B868380772B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rgbClr val="F79F0A"/>
              </a:gs>
              <a:gs pos="66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879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-1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4">
                  <a:lumMod val="40000"/>
                  <a:lumOff val="60000"/>
                </a:schemeClr>
              </a:gs>
              <a:gs pos="0">
                <a:schemeClr val="accent4">
                  <a:lumMod val="50000"/>
                </a:schemeClr>
              </a:gs>
              <a:gs pos="54000">
                <a:schemeClr val="accent4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7244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-1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75000"/>
                </a:schemeClr>
              </a:gs>
              <a:gs pos="54000">
                <a:schemeClr val="accent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9504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-1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rgbClr val="9591DB"/>
              </a:gs>
              <a:gs pos="0">
                <a:srgbClr val="28246F"/>
              </a:gs>
              <a:gs pos="54000">
                <a:srgbClr val="605BCA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7225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-1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3"/>
              </a:gs>
              <a:gs pos="0">
                <a:schemeClr val="tx2">
                  <a:lumMod val="50000"/>
                </a:schemeClr>
              </a:gs>
              <a:gs pos="54000">
                <a:schemeClr val="tx2">
                  <a:alpha val="90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2816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701"/>
            <a:ext cx="11585448" cy="792843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043C6560-2605-2884-BCD8-000CE73AD072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789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DF39395D-5788-42F2-A649-7A66CAA99D0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088" y="0"/>
            <a:ext cx="11868912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FF3EF0C9-7054-4616-8F06-3EFAC24F1EDC}"/>
              </a:ext>
            </a:extLst>
          </p:cNvPr>
          <p:cNvSpPr/>
          <p:nvPr/>
        </p:nvSpPr>
        <p:spPr>
          <a:xfrm>
            <a:off x="3942557" y="-2381"/>
            <a:ext cx="8242300" cy="6858000"/>
          </a:xfrm>
          <a:prstGeom prst="rect">
            <a:avLst/>
          </a:prstGeom>
          <a:gradFill flip="none" rotWithShape="1">
            <a:gsLst>
              <a:gs pos="64000">
                <a:schemeClr val="bg1">
                  <a:alpha val="92000"/>
                </a:schemeClr>
              </a:gs>
              <a:gs pos="81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5257148" y="2705100"/>
            <a:ext cx="6630052" cy="203804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4400"/>
              </a:lnSpc>
              <a:defRPr sz="5400" b="1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Divid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7148" y="5300380"/>
            <a:ext cx="6630052" cy="2904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spc="300">
                <a:solidFill>
                  <a:schemeClr val="tx2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C97480E-BED0-4B56-8A0A-2AFE498C51D2}"/>
              </a:ext>
            </a:extLst>
          </p:cNvPr>
          <p:cNvSpPr/>
          <p:nvPr/>
        </p:nvSpPr>
        <p:spPr>
          <a:xfrm flipV="1">
            <a:off x="4233489" y="0"/>
            <a:ext cx="1162537" cy="6858000"/>
          </a:xfrm>
          <a:custGeom>
            <a:avLst/>
            <a:gdLst>
              <a:gd name="connsiteX0" fmla="*/ 1117940 w 1117940"/>
              <a:gd name="connsiteY0" fmla="*/ 0 h 6858000"/>
              <a:gd name="connsiteX1" fmla="*/ 889340 w 1117940"/>
              <a:gd name="connsiteY1" fmla="*/ 1168400 h 6858000"/>
              <a:gd name="connsiteX2" fmla="*/ 178140 w 1117940"/>
              <a:gd name="connsiteY2" fmla="*/ 3048000 h 6858000"/>
              <a:gd name="connsiteX3" fmla="*/ 340 w 1117940"/>
              <a:gd name="connsiteY3" fmla="*/ 4343400 h 6858000"/>
              <a:gd name="connsiteX4" fmla="*/ 203540 w 1117940"/>
              <a:gd name="connsiteY4" fmla="*/ 5613400 h 6858000"/>
              <a:gd name="connsiteX5" fmla="*/ 1003640 w 111794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7940" h="6858000">
                <a:moveTo>
                  <a:pt x="1117940" y="0"/>
                </a:moveTo>
                <a:cubicBezTo>
                  <a:pt x="1081956" y="330200"/>
                  <a:pt x="1045973" y="660400"/>
                  <a:pt x="889340" y="1168400"/>
                </a:cubicBezTo>
                <a:cubicBezTo>
                  <a:pt x="732707" y="1676400"/>
                  <a:pt x="326307" y="2518833"/>
                  <a:pt x="178140" y="3048000"/>
                </a:cubicBezTo>
                <a:cubicBezTo>
                  <a:pt x="29973" y="3577167"/>
                  <a:pt x="-3893" y="3915833"/>
                  <a:pt x="340" y="4343400"/>
                </a:cubicBezTo>
                <a:cubicBezTo>
                  <a:pt x="4573" y="4770967"/>
                  <a:pt x="36323" y="5194300"/>
                  <a:pt x="203540" y="5613400"/>
                </a:cubicBezTo>
                <a:cubicBezTo>
                  <a:pt x="370757" y="6032500"/>
                  <a:pt x="687198" y="6445250"/>
                  <a:pt x="1003640" y="6858000"/>
                </a:cubicBezTo>
              </a:path>
            </a:pathLst>
          </a:custGeom>
          <a:noFill/>
          <a:ln w="15875">
            <a:solidFill>
              <a:schemeClr val="bg1">
                <a:alpha val="8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64F9551-FB27-492E-8EA7-EC4DB915F4AA}"/>
              </a:ext>
            </a:extLst>
          </p:cNvPr>
          <p:cNvCxnSpPr>
            <a:cxnSpLocks/>
          </p:cNvCxnSpPr>
          <p:nvPr/>
        </p:nvCxnSpPr>
        <p:spPr>
          <a:xfrm>
            <a:off x="5257148" y="5038693"/>
            <a:ext cx="5435706" cy="0"/>
          </a:xfrm>
          <a:prstGeom prst="line">
            <a:avLst/>
          </a:prstGeom>
          <a:ln>
            <a:gradFill flip="none" rotWithShape="1">
              <a:gsLst>
                <a:gs pos="1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9775A2-078D-4EBE-B50A-32A40BEFD388}"/>
              </a:ext>
            </a:extLst>
          </p:cNvPr>
          <p:cNvSpPr/>
          <p:nvPr/>
        </p:nvSpPr>
        <p:spPr>
          <a:xfrm>
            <a:off x="218539" y="-2869"/>
            <a:ext cx="5877461" cy="6860868"/>
          </a:xfrm>
          <a:custGeom>
            <a:avLst/>
            <a:gdLst>
              <a:gd name="connsiteX0" fmla="*/ 0 w 6710000"/>
              <a:gd name="connsiteY0" fmla="*/ 6767133 h 6858000"/>
              <a:gd name="connsiteX1" fmla="*/ 61409 w 6710000"/>
              <a:gd name="connsiteY1" fmla="*/ 6858000 h 6858000"/>
              <a:gd name="connsiteX2" fmla="*/ 42656 w 6710000"/>
              <a:gd name="connsiteY2" fmla="*/ 6858000 h 6858000"/>
              <a:gd name="connsiteX3" fmla="*/ 0 w 6710000"/>
              <a:gd name="connsiteY3" fmla="*/ 6794901 h 6858000"/>
              <a:gd name="connsiteX4" fmla="*/ 0 w 6710000"/>
              <a:gd name="connsiteY4" fmla="*/ 6468280 h 6858000"/>
              <a:gd name="connsiteX5" fmla="*/ 72167 w 6710000"/>
              <a:gd name="connsiteY5" fmla="*/ 6593013 h 6858000"/>
              <a:gd name="connsiteX6" fmla="*/ 233941 w 6710000"/>
              <a:gd name="connsiteY6" fmla="*/ 6835826 h 6858000"/>
              <a:gd name="connsiteX7" fmla="*/ 250890 w 6710000"/>
              <a:gd name="connsiteY7" fmla="*/ 6858000 h 6858000"/>
              <a:gd name="connsiteX8" fmla="*/ 230297 w 6710000"/>
              <a:gd name="connsiteY8" fmla="*/ 6858000 h 6858000"/>
              <a:gd name="connsiteX9" fmla="*/ 217393 w 6710000"/>
              <a:gd name="connsiteY9" fmla="*/ 6841108 h 6858000"/>
              <a:gd name="connsiteX10" fmla="*/ 55623 w 6710000"/>
              <a:gd name="connsiteY10" fmla="*/ 6598099 h 6858000"/>
              <a:gd name="connsiteX11" fmla="*/ 0 w 6710000"/>
              <a:gd name="connsiteY11" fmla="*/ 6501837 h 6858000"/>
              <a:gd name="connsiteX12" fmla="*/ 0 w 6710000"/>
              <a:gd name="connsiteY12" fmla="*/ 6127856 h 6858000"/>
              <a:gd name="connsiteX13" fmla="*/ 74782 w 6710000"/>
              <a:gd name="connsiteY13" fmla="*/ 6280093 h 6858000"/>
              <a:gd name="connsiteX14" fmla="*/ 259740 w 6710000"/>
              <a:gd name="connsiteY14" fmla="*/ 6599011 h 6858000"/>
              <a:gd name="connsiteX15" fmla="*/ 439100 w 6710000"/>
              <a:gd name="connsiteY15" fmla="*/ 6858000 h 6858000"/>
              <a:gd name="connsiteX16" fmla="*/ 420644 w 6710000"/>
              <a:gd name="connsiteY16" fmla="*/ 6858000 h 6858000"/>
              <a:gd name="connsiteX17" fmla="*/ 243317 w 6710000"/>
              <a:gd name="connsiteY17" fmla="*/ 6602664 h 6858000"/>
              <a:gd name="connsiteX18" fmla="*/ 57373 w 6710000"/>
              <a:gd name="connsiteY18" fmla="*/ 6283122 h 6858000"/>
              <a:gd name="connsiteX19" fmla="*/ 0 w 6710000"/>
              <a:gd name="connsiteY19" fmla="*/ 6166955 h 6858000"/>
              <a:gd name="connsiteX20" fmla="*/ 0 w 6710000"/>
              <a:gd name="connsiteY20" fmla="*/ 5727262 h 6858000"/>
              <a:gd name="connsiteX21" fmla="*/ 93060 w 6710000"/>
              <a:gd name="connsiteY21" fmla="*/ 5950881 h 6858000"/>
              <a:gd name="connsiteX22" fmla="*/ 528035 w 6710000"/>
              <a:gd name="connsiteY22" fmla="*/ 6723817 h 6858000"/>
              <a:gd name="connsiteX23" fmla="*/ 626660 w 6710000"/>
              <a:gd name="connsiteY23" fmla="*/ 6858000 h 6858000"/>
              <a:gd name="connsiteX24" fmla="*/ 607172 w 6710000"/>
              <a:gd name="connsiteY24" fmla="*/ 6858000 h 6858000"/>
              <a:gd name="connsiteX25" fmla="*/ 511220 w 6710000"/>
              <a:gd name="connsiteY25" fmla="*/ 6727192 h 6858000"/>
              <a:gd name="connsiteX26" fmla="*/ 76244 w 6710000"/>
              <a:gd name="connsiteY26" fmla="*/ 5953636 h 6858000"/>
              <a:gd name="connsiteX27" fmla="*/ 0 w 6710000"/>
              <a:gd name="connsiteY27" fmla="*/ 5770403 h 6858000"/>
              <a:gd name="connsiteX28" fmla="*/ 0 w 6710000"/>
              <a:gd name="connsiteY28" fmla="*/ 5218362 h 6858000"/>
              <a:gd name="connsiteX29" fmla="*/ 23141 w 6710000"/>
              <a:gd name="connsiteY29" fmla="*/ 5299255 h 6858000"/>
              <a:gd name="connsiteX30" fmla="*/ 677327 w 6710000"/>
              <a:gd name="connsiteY30" fmla="*/ 6667002 h 6858000"/>
              <a:gd name="connsiteX31" fmla="*/ 818345 w 6710000"/>
              <a:gd name="connsiteY31" fmla="*/ 6858000 h 6858000"/>
              <a:gd name="connsiteX32" fmla="*/ 797399 w 6710000"/>
              <a:gd name="connsiteY32" fmla="*/ 6858000 h 6858000"/>
              <a:gd name="connsiteX33" fmla="*/ 659968 w 6710000"/>
              <a:gd name="connsiteY33" fmla="*/ 6671426 h 6858000"/>
              <a:gd name="connsiteX34" fmla="*/ 5783 w 6710000"/>
              <a:gd name="connsiteY34" fmla="*/ 5299255 h 6858000"/>
              <a:gd name="connsiteX35" fmla="*/ 0 w 6710000"/>
              <a:gd name="connsiteY35" fmla="*/ 5279204 h 6858000"/>
              <a:gd name="connsiteX36" fmla="*/ 0 w 6710000"/>
              <a:gd name="connsiteY36" fmla="*/ 4465450 h 6858000"/>
              <a:gd name="connsiteX37" fmla="*/ 5037 w 6710000"/>
              <a:gd name="connsiteY37" fmla="*/ 4510117 h 6858000"/>
              <a:gd name="connsiteX38" fmla="*/ 182081 w 6710000"/>
              <a:gd name="connsiteY38" fmla="*/ 5242297 h 6858000"/>
              <a:gd name="connsiteX39" fmla="*/ 990300 w 6710000"/>
              <a:gd name="connsiteY39" fmla="*/ 6839127 h 6858000"/>
              <a:gd name="connsiteX40" fmla="*/ 1006050 w 6710000"/>
              <a:gd name="connsiteY40" fmla="*/ 6858000 h 6858000"/>
              <a:gd name="connsiteX41" fmla="*/ 984214 w 6710000"/>
              <a:gd name="connsiteY41" fmla="*/ 6858000 h 6858000"/>
              <a:gd name="connsiteX42" fmla="*/ 972958 w 6710000"/>
              <a:gd name="connsiteY42" fmla="*/ 6844510 h 6858000"/>
              <a:gd name="connsiteX43" fmla="*/ 160926 w 6710000"/>
              <a:gd name="connsiteY43" fmla="*/ 5245010 h 6858000"/>
              <a:gd name="connsiteX44" fmla="*/ 55970 w 6710000"/>
              <a:gd name="connsiteY44" fmla="*/ 4866800 h 6858000"/>
              <a:gd name="connsiteX45" fmla="*/ 0 w 6710000"/>
              <a:gd name="connsiteY45" fmla="*/ 4583010 h 6858000"/>
              <a:gd name="connsiteX46" fmla="*/ 5126028 w 6710000"/>
              <a:gd name="connsiteY46" fmla="*/ 2170 h 6858000"/>
              <a:gd name="connsiteX47" fmla="*/ 5142843 w 6710000"/>
              <a:gd name="connsiteY47" fmla="*/ 2170 h 6858000"/>
              <a:gd name="connsiteX48" fmla="*/ 4865649 w 6710000"/>
              <a:gd name="connsiteY48" fmla="*/ 1121800 h 6858000"/>
              <a:gd name="connsiteX49" fmla="*/ 4655718 w 6710000"/>
              <a:gd name="connsiteY49" fmla="*/ 1593737 h 6858000"/>
              <a:gd name="connsiteX50" fmla="*/ 4311259 w 6710000"/>
              <a:gd name="connsiteY50" fmla="*/ 2464379 h 6858000"/>
              <a:gd name="connsiteX51" fmla="*/ 4290102 w 6710000"/>
              <a:gd name="connsiteY51" fmla="*/ 3778751 h 6858000"/>
              <a:gd name="connsiteX52" fmla="*/ 5033811 w 6710000"/>
              <a:gd name="connsiteY52" fmla="*/ 5774448 h 6858000"/>
              <a:gd name="connsiteX53" fmla="*/ 5386407 w 6710000"/>
              <a:gd name="connsiteY53" fmla="*/ 6176406 h 6858000"/>
              <a:gd name="connsiteX54" fmla="*/ 6134792 w 6710000"/>
              <a:gd name="connsiteY54" fmla="*/ 6775957 h 6858000"/>
              <a:gd name="connsiteX55" fmla="*/ 6263750 w 6710000"/>
              <a:gd name="connsiteY55" fmla="*/ 6858000 h 6858000"/>
              <a:gd name="connsiteX56" fmla="*/ 6240757 w 6710000"/>
              <a:gd name="connsiteY56" fmla="*/ 6858000 h 6858000"/>
              <a:gd name="connsiteX57" fmla="*/ 6121638 w 6710000"/>
              <a:gd name="connsiteY57" fmla="*/ 6782466 h 6858000"/>
              <a:gd name="connsiteX58" fmla="*/ 5373930 w 6710000"/>
              <a:gd name="connsiteY58" fmla="*/ 6180746 h 6858000"/>
              <a:gd name="connsiteX59" fmla="*/ 5016994 w 6710000"/>
              <a:gd name="connsiteY59" fmla="*/ 5778787 h 6858000"/>
              <a:gd name="connsiteX60" fmla="*/ 4273287 w 6710000"/>
              <a:gd name="connsiteY60" fmla="*/ 3777665 h 6858000"/>
              <a:gd name="connsiteX61" fmla="*/ 4294441 w 6710000"/>
              <a:gd name="connsiteY61" fmla="*/ 2463294 h 6858000"/>
              <a:gd name="connsiteX62" fmla="*/ 4634562 w 6710000"/>
              <a:gd name="connsiteY62" fmla="*/ 1589939 h 6858000"/>
              <a:gd name="connsiteX63" fmla="*/ 4844493 w 6710000"/>
              <a:gd name="connsiteY63" fmla="*/ 1118004 h 6858000"/>
              <a:gd name="connsiteX64" fmla="*/ 5126028 w 6710000"/>
              <a:gd name="connsiteY64" fmla="*/ 2170 h 6858000"/>
              <a:gd name="connsiteX65" fmla="*/ 5302868 w 6710000"/>
              <a:gd name="connsiteY65" fmla="*/ 1628 h 6858000"/>
              <a:gd name="connsiteX66" fmla="*/ 5319685 w 6710000"/>
              <a:gd name="connsiteY66" fmla="*/ 1628 h 6858000"/>
              <a:gd name="connsiteX67" fmla="*/ 5042488 w 6710000"/>
              <a:gd name="connsiteY67" fmla="*/ 1071894 h 6858000"/>
              <a:gd name="connsiteX68" fmla="*/ 4828219 w 6710000"/>
              <a:gd name="connsiteY68" fmla="*/ 1546001 h 6858000"/>
              <a:gd name="connsiteX69" fmla="*/ 4479419 w 6710000"/>
              <a:gd name="connsiteY69" fmla="*/ 2411762 h 6858000"/>
              <a:gd name="connsiteX70" fmla="*/ 4450126 w 6710000"/>
              <a:gd name="connsiteY70" fmla="*/ 3720708 h 6858000"/>
              <a:gd name="connsiteX71" fmla="*/ 5172679 w 6710000"/>
              <a:gd name="connsiteY71" fmla="*/ 5716404 h 6858000"/>
              <a:gd name="connsiteX72" fmla="*/ 5525274 w 6710000"/>
              <a:gd name="connsiteY72" fmla="*/ 6118364 h 6858000"/>
              <a:gd name="connsiteX73" fmla="*/ 6269795 w 6710000"/>
              <a:gd name="connsiteY73" fmla="*/ 6720287 h 6858000"/>
              <a:gd name="connsiteX74" fmla="*/ 6485166 w 6710000"/>
              <a:gd name="connsiteY74" fmla="*/ 6858000 h 6858000"/>
              <a:gd name="connsiteX75" fmla="*/ 6459959 w 6710000"/>
              <a:gd name="connsiteY75" fmla="*/ 6858000 h 6858000"/>
              <a:gd name="connsiteX76" fmla="*/ 6254606 w 6710000"/>
              <a:gd name="connsiteY76" fmla="*/ 6726797 h 6858000"/>
              <a:gd name="connsiteX77" fmla="*/ 5507917 w 6710000"/>
              <a:gd name="connsiteY77" fmla="*/ 6123789 h 6858000"/>
              <a:gd name="connsiteX78" fmla="*/ 5155319 w 6710000"/>
              <a:gd name="connsiteY78" fmla="*/ 5721828 h 6858000"/>
              <a:gd name="connsiteX79" fmla="*/ 4432767 w 6710000"/>
              <a:gd name="connsiteY79" fmla="*/ 3723420 h 6858000"/>
              <a:gd name="connsiteX80" fmla="*/ 4462062 w 6710000"/>
              <a:gd name="connsiteY80" fmla="*/ 2409049 h 6858000"/>
              <a:gd name="connsiteX81" fmla="*/ 4806521 w 6710000"/>
              <a:gd name="connsiteY81" fmla="*/ 1543289 h 6858000"/>
              <a:gd name="connsiteX82" fmla="*/ 5025132 w 6710000"/>
              <a:gd name="connsiteY82" fmla="*/ 1069182 h 6858000"/>
              <a:gd name="connsiteX83" fmla="*/ 5302868 w 6710000"/>
              <a:gd name="connsiteY83" fmla="*/ 1628 h 6858000"/>
              <a:gd name="connsiteX84" fmla="*/ 4949188 w 6710000"/>
              <a:gd name="connsiteY84" fmla="*/ 1628 h 6858000"/>
              <a:gd name="connsiteX85" fmla="*/ 4966003 w 6710000"/>
              <a:gd name="connsiteY85" fmla="*/ 1628 h 6858000"/>
              <a:gd name="connsiteX86" fmla="*/ 4684468 w 6710000"/>
              <a:gd name="connsiteY86" fmla="*/ 1167910 h 6858000"/>
              <a:gd name="connsiteX87" fmla="*/ 4478877 w 6710000"/>
              <a:gd name="connsiteY87" fmla="*/ 1639846 h 6858000"/>
              <a:gd name="connsiteX88" fmla="*/ 4143096 w 6710000"/>
              <a:gd name="connsiteY88" fmla="*/ 2518625 h 6858000"/>
              <a:gd name="connsiteX89" fmla="*/ 4134959 w 6710000"/>
              <a:gd name="connsiteY89" fmla="*/ 3835167 h 6858000"/>
              <a:gd name="connsiteX90" fmla="*/ 4891144 w 6710000"/>
              <a:gd name="connsiteY90" fmla="*/ 5830862 h 6858000"/>
              <a:gd name="connsiteX91" fmla="*/ 5252419 w 6710000"/>
              <a:gd name="connsiteY91" fmla="*/ 6232823 h 6858000"/>
              <a:gd name="connsiteX92" fmla="*/ 6002296 w 6710000"/>
              <a:gd name="connsiteY92" fmla="*/ 6830338 h 6858000"/>
              <a:gd name="connsiteX93" fmla="*/ 6046090 w 6710000"/>
              <a:gd name="connsiteY93" fmla="*/ 6858000 h 6858000"/>
              <a:gd name="connsiteX94" fmla="*/ 6022791 w 6710000"/>
              <a:gd name="connsiteY94" fmla="*/ 6858000 h 6858000"/>
              <a:gd name="connsiteX95" fmla="*/ 5990091 w 6710000"/>
              <a:gd name="connsiteY95" fmla="*/ 6837390 h 6858000"/>
              <a:gd name="connsiteX96" fmla="*/ 5236146 w 6710000"/>
              <a:gd name="connsiteY96" fmla="*/ 6237705 h 6858000"/>
              <a:gd name="connsiteX97" fmla="*/ 4874871 w 6710000"/>
              <a:gd name="connsiteY97" fmla="*/ 5835744 h 6858000"/>
              <a:gd name="connsiteX98" fmla="*/ 4114346 w 6710000"/>
              <a:gd name="connsiteY98" fmla="*/ 3834624 h 6858000"/>
              <a:gd name="connsiteX99" fmla="*/ 4126822 w 6710000"/>
              <a:gd name="connsiteY99" fmla="*/ 2515371 h 6858000"/>
              <a:gd name="connsiteX100" fmla="*/ 4462604 w 6710000"/>
              <a:gd name="connsiteY100" fmla="*/ 1636591 h 6858000"/>
              <a:gd name="connsiteX101" fmla="*/ 4668195 w 6710000"/>
              <a:gd name="connsiteY101" fmla="*/ 1164654 h 6858000"/>
              <a:gd name="connsiteX102" fmla="*/ 4949188 w 6710000"/>
              <a:gd name="connsiteY102" fmla="*/ 1628 h 6858000"/>
              <a:gd name="connsiteX103" fmla="*/ 4768549 w 6710000"/>
              <a:gd name="connsiteY103" fmla="*/ 1628 h 6858000"/>
              <a:gd name="connsiteX104" fmla="*/ 4785365 w 6710000"/>
              <a:gd name="connsiteY104" fmla="*/ 1628 h 6858000"/>
              <a:gd name="connsiteX105" fmla="*/ 4508170 w 6710000"/>
              <a:gd name="connsiteY105" fmla="*/ 1217273 h 6858000"/>
              <a:gd name="connsiteX106" fmla="*/ 4306375 w 6710000"/>
              <a:gd name="connsiteY106" fmla="*/ 1686497 h 6858000"/>
              <a:gd name="connsiteX107" fmla="*/ 3974392 w 6710000"/>
              <a:gd name="connsiteY107" fmla="*/ 2572871 h 6858000"/>
              <a:gd name="connsiteX108" fmla="*/ 3974392 w 6710000"/>
              <a:gd name="connsiteY108" fmla="*/ 3889412 h 6858000"/>
              <a:gd name="connsiteX109" fmla="*/ 4751189 w 6710000"/>
              <a:gd name="connsiteY109" fmla="*/ 5887821 h 6858000"/>
              <a:gd name="connsiteX110" fmla="*/ 5112467 w 6710000"/>
              <a:gd name="connsiteY110" fmla="*/ 6289780 h 6858000"/>
              <a:gd name="connsiteX111" fmla="*/ 5659720 w 6710000"/>
              <a:gd name="connsiteY111" fmla="*/ 6742109 h 6858000"/>
              <a:gd name="connsiteX112" fmla="*/ 5829044 w 6710000"/>
              <a:gd name="connsiteY112" fmla="*/ 6858000 h 6858000"/>
              <a:gd name="connsiteX113" fmla="*/ 5805955 w 6710000"/>
              <a:gd name="connsiteY113" fmla="*/ 6858000 h 6858000"/>
              <a:gd name="connsiteX114" fmla="*/ 5646726 w 6710000"/>
              <a:gd name="connsiteY114" fmla="*/ 6749042 h 6858000"/>
              <a:gd name="connsiteX115" fmla="*/ 5096192 w 6710000"/>
              <a:gd name="connsiteY115" fmla="*/ 6294663 h 6858000"/>
              <a:gd name="connsiteX116" fmla="*/ 4734917 w 6710000"/>
              <a:gd name="connsiteY116" fmla="*/ 5892702 h 6858000"/>
              <a:gd name="connsiteX117" fmla="*/ 3958119 w 6710000"/>
              <a:gd name="connsiteY117" fmla="*/ 3891582 h 6858000"/>
              <a:gd name="connsiteX118" fmla="*/ 3958119 w 6710000"/>
              <a:gd name="connsiteY118" fmla="*/ 2569615 h 6858000"/>
              <a:gd name="connsiteX119" fmla="*/ 4290102 w 6710000"/>
              <a:gd name="connsiteY119" fmla="*/ 1683243 h 6858000"/>
              <a:gd name="connsiteX120" fmla="*/ 4491897 w 6710000"/>
              <a:gd name="connsiteY120" fmla="*/ 1214017 h 6858000"/>
              <a:gd name="connsiteX121" fmla="*/ 4768549 w 6710000"/>
              <a:gd name="connsiteY121" fmla="*/ 1628 h 6858000"/>
              <a:gd name="connsiteX122" fmla="*/ 4591166 w 6710000"/>
              <a:gd name="connsiteY122" fmla="*/ 1628 h 6858000"/>
              <a:gd name="connsiteX123" fmla="*/ 4607983 w 6710000"/>
              <a:gd name="connsiteY123" fmla="*/ 1628 h 6858000"/>
              <a:gd name="connsiteX124" fmla="*/ 4330786 w 6710000"/>
              <a:gd name="connsiteY124" fmla="*/ 1266636 h 6858000"/>
              <a:gd name="connsiteX125" fmla="*/ 4133333 w 6710000"/>
              <a:gd name="connsiteY125" fmla="*/ 1730437 h 6858000"/>
              <a:gd name="connsiteX126" fmla="*/ 3810028 w 6710000"/>
              <a:gd name="connsiteY126" fmla="*/ 2627116 h 6858000"/>
              <a:gd name="connsiteX127" fmla="*/ 3814368 w 6710000"/>
              <a:gd name="connsiteY127" fmla="*/ 3946370 h 6858000"/>
              <a:gd name="connsiteX128" fmla="*/ 4607983 w 6710000"/>
              <a:gd name="connsiteY128" fmla="*/ 5944777 h 6858000"/>
              <a:gd name="connsiteX129" fmla="*/ 4973597 w 6710000"/>
              <a:gd name="connsiteY129" fmla="*/ 6346738 h 6858000"/>
              <a:gd name="connsiteX130" fmla="*/ 5524416 w 6710000"/>
              <a:gd name="connsiteY130" fmla="*/ 6796302 h 6858000"/>
              <a:gd name="connsiteX131" fmla="*/ 5615411 w 6710000"/>
              <a:gd name="connsiteY131" fmla="*/ 6858000 h 6858000"/>
              <a:gd name="connsiteX132" fmla="*/ 5592917 w 6710000"/>
              <a:gd name="connsiteY132" fmla="*/ 6858000 h 6858000"/>
              <a:gd name="connsiteX133" fmla="*/ 5512626 w 6710000"/>
              <a:gd name="connsiteY133" fmla="*/ 6803376 h 6858000"/>
              <a:gd name="connsiteX134" fmla="*/ 4961663 w 6710000"/>
              <a:gd name="connsiteY134" fmla="*/ 6351619 h 6858000"/>
              <a:gd name="connsiteX135" fmla="*/ 4592250 w 6710000"/>
              <a:gd name="connsiteY135" fmla="*/ 5949660 h 6858000"/>
              <a:gd name="connsiteX136" fmla="*/ 3798637 w 6710000"/>
              <a:gd name="connsiteY136" fmla="*/ 3948538 h 6858000"/>
              <a:gd name="connsiteX137" fmla="*/ 3790500 w 6710000"/>
              <a:gd name="connsiteY137" fmla="*/ 2623862 h 6858000"/>
              <a:gd name="connsiteX138" fmla="*/ 4118143 w 6710000"/>
              <a:gd name="connsiteY138" fmla="*/ 1727181 h 6858000"/>
              <a:gd name="connsiteX139" fmla="*/ 4315597 w 6710000"/>
              <a:gd name="connsiteY139" fmla="*/ 1263380 h 6858000"/>
              <a:gd name="connsiteX140" fmla="*/ 4591166 w 6710000"/>
              <a:gd name="connsiteY140" fmla="*/ 1628 h 6858000"/>
              <a:gd name="connsiteX141" fmla="*/ 4411613 w 6710000"/>
              <a:gd name="connsiteY141" fmla="*/ 1628 h 6858000"/>
              <a:gd name="connsiteX142" fmla="*/ 4428428 w 6710000"/>
              <a:gd name="connsiteY142" fmla="*/ 1628 h 6858000"/>
              <a:gd name="connsiteX143" fmla="*/ 4155574 w 6710000"/>
              <a:gd name="connsiteY143" fmla="*/ 1316000 h 6858000"/>
              <a:gd name="connsiteX144" fmla="*/ 3962458 w 6710000"/>
              <a:gd name="connsiteY144" fmla="*/ 1777631 h 6858000"/>
              <a:gd name="connsiteX145" fmla="*/ 3643494 w 6710000"/>
              <a:gd name="connsiteY145" fmla="*/ 2679735 h 6858000"/>
              <a:gd name="connsiteX146" fmla="*/ 3660310 w 6710000"/>
              <a:gd name="connsiteY146" fmla="*/ 4004412 h 6858000"/>
              <a:gd name="connsiteX147" fmla="*/ 4466944 w 6710000"/>
              <a:gd name="connsiteY147" fmla="*/ 6002821 h 6858000"/>
              <a:gd name="connsiteX148" fmla="*/ 4840696 w 6710000"/>
              <a:gd name="connsiteY148" fmla="*/ 6404781 h 6858000"/>
              <a:gd name="connsiteX149" fmla="*/ 5392889 w 6710000"/>
              <a:gd name="connsiteY149" fmla="*/ 6852676 h 6858000"/>
              <a:gd name="connsiteX150" fmla="*/ 5400780 w 6710000"/>
              <a:gd name="connsiteY150" fmla="*/ 6858000 h 6858000"/>
              <a:gd name="connsiteX151" fmla="*/ 5377398 w 6710000"/>
              <a:gd name="connsiteY151" fmla="*/ 6858000 h 6858000"/>
              <a:gd name="connsiteX152" fmla="*/ 5181205 w 6710000"/>
              <a:gd name="connsiteY152" fmla="*/ 6713413 h 6858000"/>
              <a:gd name="connsiteX153" fmla="*/ 4823879 w 6710000"/>
              <a:gd name="connsiteY153" fmla="*/ 6409663 h 6858000"/>
              <a:gd name="connsiteX154" fmla="*/ 4454468 w 6710000"/>
              <a:gd name="connsiteY154" fmla="*/ 6007703 h 6858000"/>
              <a:gd name="connsiteX155" fmla="*/ 3644036 w 6710000"/>
              <a:gd name="connsiteY155" fmla="*/ 4003870 h 6858000"/>
              <a:gd name="connsiteX156" fmla="*/ 3627220 w 6710000"/>
              <a:gd name="connsiteY156" fmla="*/ 2679193 h 6858000"/>
              <a:gd name="connsiteX157" fmla="*/ 3946184 w 6710000"/>
              <a:gd name="connsiteY157" fmla="*/ 1774375 h 6858000"/>
              <a:gd name="connsiteX158" fmla="*/ 4134959 w 6710000"/>
              <a:gd name="connsiteY158" fmla="*/ 1312746 h 6858000"/>
              <a:gd name="connsiteX159" fmla="*/ 4411613 w 6710000"/>
              <a:gd name="connsiteY159" fmla="*/ 1628 h 6858000"/>
              <a:gd name="connsiteX160" fmla="*/ 3875123 w 6710000"/>
              <a:gd name="connsiteY160" fmla="*/ 1628 h 6858000"/>
              <a:gd name="connsiteX161" fmla="*/ 3891940 w 6710000"/>
              <a:gd name="connsiteY161" fmla="*/ 1628 h 6858000"/>
              <a:gd name="connsiteX162" fmla="*/ 3622881 w 6710000"/>
              <a:gd name="connsiteY162" fmla="*/ 1460836 h 6858000"/>
              <a:gd name="connsiteX163" fmla="*/ 3446582 w 6710000"/>
              <a:gd name="connsiteY163" fmla="*/ 1914329 h 6858000"/>
              <a:gd name="connsiteX164" fmla="*/ 3140095 w 6710000"/>
              <a:gd name="connsiteY164" fmla="*/ 2842471 h 6858000"/>
              <a:gd name="connsiteX165" fmla="*/ 3186204 w 6710000"/>
              <a:gd name="connsiteY165" fmla="*/ 4172031 h 6858000"/>
              <a:gd name="connsiteX166" fmla="*/ 4047082 w 6710000"/>
              <a:gd name="connsiteY166" fmla="*/ 6173153 h 6858000"/>
              <a:gd name="connsiteX167" fmla="*/ 4429513 w 6710000"/>
              <a:gd name="connsiteY167" fmla="*/ 6572400 h 6858000"/>
              <a:gd name="connsiteX168" fmla="*/ 4602120 w 6710000"/>
              <a:gd name="connsiteY168" fmla="*/ 6723496 h 6858000"/>
              <a:gd name="connsiteX169" fmla="*/ 4771866 w 6710000"/>
              <a:gd name="connsiteY169" fmla="*/ 6858000 h 6858000"/>
              <a:gd name="connsiteX170" fmla="*/ 4748471 w 6710000"/>
              <a:gd name="connsiteY170" fmla="*/ 6858000 h 6858000"/>
              <a:gd name="connsiteX171" fmla="*/ 4586735 w 6710000"/>
              <a:gd name="connsiteY171" fmla="*/ 6730859 h 6858000"/>
              <a:gd name="connsiteX172" fmla="*/ 4412697 w 6710000"/>
              <a:gd name="connsiteY172" fmla="*/ 6580537 h 6858000"/>
              <a:gd name="connsiteX173" fmla="*/ 4030265 w 6710000"/>
              <a:gd name="connsiteY173" fmla="*/ 6178577 h 6858000"/>
              <a:gd name="connsiteX174" fmla="*/ 3169387 w 6710000"/>
              <a:gd name="connsiteY174" fmla="*/ 4174744 h 6858000"/>
              <a:gd name="connsiteX175" fmla="*/ 3123279 w 6710000"/>
              <a:gd name="connsiteY175" fmla="*/ 2839759 h 6858000"/>
              <a:gd name="connsiteX176" fmla="*/ 3429766 w 6710000"/>
              <a:gd name="connsiteY176" fmla="*/ 1911616 h 6858000"/>
              <a:gd name="connsiteX177" fmla="*/ 3606065 w 6710000"/>
              <a:gd name="connsiteY177" fmla="*/ 1458123 h 6858000"/>
              <a:gd name="connsiteX178" fmla="*/ 3875123 w 6710000"/>
              <a:gd name="connsiteY178" fmla="*/ 1628 h 6858000"/>
              <a:gd name="connsiteX179" fmla="*/ 2967596 w 6710000"/>
              <a:gd name="connsiteY179" fmla="*/ 1628 h 6858000"/>
              <a:gd name="connsiteX180" fmla="*/ 2984412 w 6710000"/>
              <a:gd name="connsiteY180" fmla="*/ 1628 h 6858000"/>
              <a:gd name="connsiteX181" fmla="*/ 2736509 w 6710000"/>
              <a:gd name="connsiteY181" fmla="*/ 1704398 h 6858000"/>
              <a:gd name="connsiteX182" fmla="*/ 2585163 w 6710000"/>
              <a:gd name="connsiteY182" fmla="*/ 2139990 h 6858000"/>
              <a:gd name="connsiteX183" fmla="*/ 2303629 w 6710000"/>
              <a:gd name="connsiteY183" fmla="*/ 3112071 h 6858000"/>
              <a:gd name="connsiteX184" fmla="*/ 2395845 w 6710000"/>
              <a:gd name="connsiteY184" fmla="*/ 4454651 h 6858000"/>
              <a:gd name="connsiteX185" fmla="*/ 3340804 w 6710000"/>
              <a:gd name="connsiteY185" fmla="*/ 6460655 h 6858000"/>
              <a:gd name="connsiteX186" fmla="*/ 3740052 w 6710000"/>
              <a:gd name="connsiteY186" fmla="*/ 6857190 h 6858000"/>
              <a:gd name="connsiteX187" fmla="*/ 3741038 w 6710000"/>
              <a:gd name="connsiteY187" fmla="*/ 6858000 h 6858000"/>
              <a:gd name="connsiteX188" fmla="*/ 3722011 w 6710000"/>
              <a:gd name="connsiteY188" fmla="*/ 6858000 h 6858000"/>
              <a:gd name="connsiteX189" fmla="*/ 3516695 w 6710000"/>
              <a:gd name="connsiteY189" fmla="*/ 6667737 h 6858000"/>
              <a:gd name="connsiteX190" fmla="*/ 3324530 w 6710000"/>
              <a:gd name="connsiteY190" fmla="*/ 6466620 h 6858000"/>
              <a:gd name="connsiteX191" fmla="*/ 2375233 w 6710000"/>
              <a:gd name="connsiteY191" fmla="*/ 4455193 h 6858000"/>
              <a:gd name="connsiteX192" fmla="*/ 2286813 w 6710000"/>
              <a:gd name="connsiteY192" fmla="*/ 3109903 h 6858000"/>
              <a:gd name="connsiteX193" fmla="*/ 2568346 w 6710000"/>
              <a:gd name="connsiteY193" fmla="*/ 2137821 h 6858000"/>
              <a:gd name="connsiteX194" fmla="*/ 2715351 w 6710000"/>
              <a:gd name="connsiteY194" fmla="*/ 1702229 h 6858000"/>
              <a:gd name="connsiteX195" fmla="*/ 2967596 w 6710000"/>
              <a:gd name="connsiteY195" fmla="*/ 1628 h 6858000"/>
              <a:gd name="connsiteX196" fmla="*/ 2781533 w 6710000"/>
              <a:gd name="connsiteY196" fmla="*/ 1628 h 6858000"/>
              <a:gd name="connsiteX197" fmla="*/ 2802687 w 6710000"/>
              <a:gd name="connsiteY197" fmla="*/ 1628 h 6858000"/>
              <a:gd name="connsiteX198" fmla="*/ 2554787 w 6710000"/>
              <a:gd name="connsiteY198" fmla="*/ 1751050 h 6858000"/>
              <a:gd name="connsiteX199" fmla="*/ 2412119 w 6710000"/>
              <a:gd name="connsiteY199" fmla="*/ 2183930 h 6858000"/>
              <a:gd name="connsiteX200" fmla="*/ 2139264 w 6710000"/>
              <a:gd name="connsiteY200" fmla="*/ 3163606 h 6858000"/>
              <a:gd name="connsiteX201" fmla="*/ 2235821 w 6710000"/>
              <a:gd name="connsiteY201" fmla="*/ 4508896 h 6858000"/>
              <a:gd name="connsiteX202" fmla="*/ 3197595 w 6710000"/>
              <a:gd name="connsiteY202" fmla="*/ 6517612 h 6858000"/>
              <a:gd name="connsiteX203" fmla="*/ 3390100 w 6710000"/>
              <a:gd name="connsiteY203" fmla="*/ 6718728 h 6858000"/>
              <a:gd name="connsiteX204" fmla="*/ 3543243 w 6710000"/>
              <a:gd name="connsiteY204" fmla="*/ 6858000 h 6858000"/>
              <a:gd name="connsiteX205" fmla="*/ 3521208 w 6710000"/>
              <a:gd name="connsiteY205" fmla="*/ 6858000 h 6858000"/>
              <a:gd name="connsiteX206" fmla="*/ 3375656 w 6710000"/>
              <a:gd name="connsiteY206" fmla="*/ 6724152 h 6858000"/>
              <a:gd name="connsiteX207" fmla="*/ 3185119 w 6710000"/>
              <a:gd name="connsiteY207" fmla="*/ 6523037 h 6858000"/>
              <a:gd name="connsiteX208" fmla="*/ 2219005 w 6710000"/>
              <a:gd name="connsiteY208" fmla="*/ 4511610 h 6858000"/>
              <a:gd name="connsiteX209" fmla="*/ 2118109 w 6710000"/>
              <a:gd name="connsiteY209" fmla="*/ 3163606 h 6858000"/>
              <a:gd name="connsiteX210" fmla="*/ 2395304 w 6710000"/>
              <a:gd name="connsiteY210" fmla="*/ 2181217 h 6858000"/>
              <a:gd name="connsiteX211" fmla="*/ 2537968 w 6710000"/>
              <a:gd name="connsiteY211" fmla="*/ 1751050 h 6858000"/>
              <a:gd name="connsiteX212" fmla="*/ 2781533 w 6710000"/>
              <a:gd name="connsiteY212" fmla="*/ 1628 h 6858000"/>
              <a:gd name="connsiteX213" fmla="*/ 2601437 w 6710000"/>
              <a:gd name="connsiteY213" fmla="*/ 1628 h 6858000"/>
              <a:gd name="connsiteX214" fmla="*/ 2618253 w 6710000"/>
              <a:gd name="connsiteY214" fmla="*/ 1628 h 6858000"/>
              <a:gd name="connsiteX215" fmla="*/ 2379030 w 6710000"/>
              <a:gd name="connsiteY215" fmla="*/ 1800413 h 6858000"/>
              <a:gd name="connsiteX216" fmla="*/ 2240161 w 6710000"/>
              <a:gd name="connsiteY216" fmla="*/ 2227868 h 6858000"/>
              <a:gd name="connsiteX217" fmla="*/ 1971101 w 6710000"/>
              <a:gd name="connsiteY217" fmla="*/ 3217851 h 6858000"/>
              <a:gd name="connsiteX218" fmla="*/ 2076338 w 6710000"/>
              <a:gd name="connsiteY218" fmla="*/ 4565854 h 6858000"/>
              <a:gd name="connsiteX219" fmla="*/ 3059271 w 6710000"/>
              <a:gd name="connsiteY219" fmla="*/ 6574569 h 6858000"/>
              <a:gd name="connsiteX220" fmla="*/ 3251774 w 6710000"/>
              <a:gd name="connsiteY220" fmla="*/ 6775685 h 6858000"/>
              <a:gd name="connsiteX221" fmla="*/ 3342286 w 6710000"/>
              <a:gd name="connsiteY221" fmla="*/ 6858000 h 6858000"/>
              <a:gd name="connsiteX222" fmla="*/ 3323253 w 6710000"/>
              <a:gd name="connsiteY222" fmla="*/ 6858000 h 6858000"/>
              <a:gd name="connsiteX223" fmla="*/ 3237330 w 6710000"/>
              <a:gd name="connsiteY223" fmla="*/ 6780568 h 6858000"/>
              <a:gd name="connsiteX224" fmla="*/ 3042453 w 6710000"/>
              <a:gd name="connsiteY224" fmla="*/ 6579451 h 6858000"/>
              <a:gd name="connsiteX225" fmla="*/ 2059523 w 6710000"/>
              <a:gd name="connsiteY225" fmla="*/ 4568025 h 6858000"/>
              <a:gd name="connsiteX226" fmla="*/ 1954286 w 6710000"/>
              <a:gd name="connsiteY226" fmla="*/ 3217851 h 6858000"/>
              <a:gd name="connsiteX227" fmla="*/ 2223343 w 6710000"/>
              <a:gd name="connsiteY227" fmla="*/ 2227868 h 6858000"/>
              <a:gd name="connsiteX228" fmla="*/ 2362214 w 6710000"/>
              <a:gd name="connsiteY228" fmla="*/ 1797702 h 6858000"/>
              <a:gd name="connsiteX229" fmla="*/ 2601437 w 6710000"/>
              <a:gd name="connsiteY229" fmla="*/ 1628 h 6858000"/>
              <a:gd name="connsiteX230" fmla="*/ 2417001 w 6710000"/>
              <a:gd name="connsiteY230" fmla="*/ 1628 h 6858000"/>
              <a:gd name="connsiteX231" fmla="*/ 2438158 w 6710000"/>
              <a:gd name="connsiteY231" fmla="*/ 1628 h 6858000"/>
              <a:gd name="connsiteX232" fmla="*/ 2202731 w 6710000"/>
              <a:gd name="connsiteY232" fmla="*/ 1849777 h 6858000"/>
              <a:gd name="connsiteX233" fmla="*/ 2068202 w 6710000"/>
              <a:gd name="connsiteY233" fmla="*/ 2275062 h 6858000"/>
              <a:gd name="connsiteX234" fmla="*/ 1803485 w 6710000"/>
              <a:gd name="connsiteY234" fmla="*/ 3273182 h 6858000"/>
              <a:gd name="connsiteX235" fmla="*/ 1921196 w 6710000"/>
              <a:gd name="connsiteY235" fmla="*/ 4623354 h 6858000"/>
              <a:gd name="connsiteX236" fmla="*/ 2916605 w 6710000"/>
              <a:gd name="connsiteY236" fmla="*/ 6632070 h 6858000"/>
              <a:gd name="connsiteX237" fmla="*/ 3111482 w 6710000"/>
              <a:gd name="connsiteY237" fmla="*/ 6833185 h 6858000"/>
              <a:gd name="connsiteX238" fmla="*/ 3139018 w 6710000"/>
              <a:gd name="connsiteY238" fmla="*/ 6858000 h 6858000"/>
              <a:gd name="connsiteX239" fmla="*/ 3120520 w 6710000"/>
              <a:gd name="connsiteY239" fmla="*/ 6858000 h 6858000"/>
              <a:gd name="connsiteX240" fmla="*/ 3099004 w 6710000"/>
              <a:gd name="connsiteY240" fmla="*/ 6838611 h 6858000"/>
              <a:gd name="connsiteX241" fmla="*/ 2904126 w 6710000"/>
              <a:gd name="connsiteY241" fmla="*/ 6637495 h 6858000"/>
              <a:gd name="connsiteX242" fmla="*/ 1900040 w 6710000"/>
              <a:gd name="connsiteY242" fmla="*/ 4626066 h 6858000"/>
              <a:gd name="connsiteX243" fmla="*/ 1786667 w 6710000"/>
              <a:gd name="connsiteY243" fmla="*/ 3270470 h 6858000"/>
              <a:gd name="connsiteX244" fmla="*/ 2047046 w 6710000"/>
              <a:gd name="connsiteY244" fmla="*/ 2272351 h 6858000"/>
              <a:gd name="connsiteX245" fmla="*/ 2185916 w 6710000"/>
              <a:gd name="connsiteY245" fmla="*/ 1847065 h 6858000"/>
              <a:gd name="connsiteX246" fmla="*/ 2417001 w 6710000"/>
              <a:gd name="connsiteY246" fmla="*/ 1628 h 6858000"/>
              <a:gd name="connsiteX247" fmla="*/ 2235821 w 6710000"/>
              <a:gd name="connsiteY247" fmla="*/ 1628 h 6858000"/>
              <a:gd name="connsiteX248" fmla="*/ 2252636 w 6710000"/>
              <a:gd name="connsiteY248" fmla="*/ 1628 h 6858000"/>
              <a:gd name="connsiteX249" fmla="*/ 2025891 w 6710000"/>
              <a:gd name="connsiteY249" fmla="*/ 1899140 h 6858000"/>
              <a:gd name="connsiteX250" fmla="*/ 1891360 w 6710000"/>
              <a:gd name="connsiteY250" fmla="*/ 2316289 h 6858000"/>
              <a:gd name="connsiteX251" fmla="*/ 1635322 w 6710000"/>
              <a:gd name="connsiteY251" fmla="*/ 3327426 h 6858000"/>
              <a:gd name="connsiteX252" fmla="*/ 1761172 w 6710000"/>
              <a:gd name="connsiteY252" fmla="*/ 4680313 h 6858000"/>
              <a:gd name="connsiteX253" fmla="*/ 2777736 w 6710000"/>
              <a:gd name="connsiteY253" fmla="*/ 6689028 h 6858000"/>
              <a:gd name="connsiteX254" fmla="*/ 2943569 w 6710000"/>
              <a:gd name="connsiteY254" fmla="*/ 6858000 h 6858000"/>
              <a:gd name="connsiteX255" fmla="*/ 2921504 w 6710000"/>
              <a:gd name="connsiteY255" fmla="*/ 6858000 h 6858000"/>
              <a:gd name="connsiteX256" fmla="*/ 2760920 w 6710000"/>
              <a:gd name="connsiteY256" fmla="*/ 6694452 h 6858000"/>
              <a:gd name="connsiteX257" fmla="*/ 1744356 w 6710000"/>
              <a:gd name="connsiteY257" fmla="*/ 4680313 h 6858000"/>
              <a:gd name="connsiteX258" fmla="*/ 1618506 w 6710000"/>
              <a:gd name="connsiteY258" fmla="*/ 3324715 h 6858000"/>
              <a:gd name="connsiteX259" fmla="*/ 1874544 w 6710000"/>
              <a:gd name="connsiteY259" fmla="*/ 2316289 h 6858000"/>
              <a:gd name="connsiteX260" fmla="*/ 2004736 w 6710000"/>
              <a:gd name="connsiteY260" fmla="*/ 1896428 h 6858000"/>
              <a:gd name="connsiteX261" fmla="*/ 2235821 w 6710000"/>
              <a:gd name="connsiteY261" fmla="*/ 1628 h 6858000"/>
              <a:gd name="connsiteX262" fmla="*/ 396352 w 6710000"/>
              <a:gd name="connsiteY262" fmla="*/ 1628 h 6858000"/>
              <a:gd name="connsiteX263" fmla="*/ 413168 w 6710000"/>
              <a:gd name="connsiteY263" fmla="*/ 1628 h 6858000"/>
              <a:gd name="connsiteX264" fmla="*/ 413168 w 6710000"/>
              <a:gd name="connsiteY264" fmla="*/ 24955 h 6858000"/>
              <a:gd name="connsiteX265" fmla="*/ 249348 w 6710000"/>
              <a:gd name="connsiteY265" fmla="*/ 2383554 h 6858000"/>
              <a:gd name="connsiteX266" fmla="*/ 165265 w 6710000"/>
              <a:gd name="connsiteY266" fmla="*/ 2743744 h 6858000"/>
              <a:gd name="connsiteX267" fmla="*/ 35890 w 6710000"/>
              <a:gd name="connsiteY267" fmla="*/ 3299695 h 6858000"/>
              <a:gd name="connsiteX268" fmla="*/ 0 w 6710000"/>
              <a:gd name="connsiteY268" fmla="*/ 3515440 h 6858000"/>
              <a:gd name="connsiteX269" fmla="*/ 0 w 6710000"/>
              <a:gd name="connsiteY269" fmla="*/ 3413219 h 6858000"/>
              <a:gd name="connsiteX270" fmla="*/ 19277 w 6710000"/>
              <a:gd name="connsiteY270" fmla="*/ 3297321 h 6858000"/>
              <a:gd name="connsiteX271" fmla="*/ 148449 w 6710000"/>
              <a:gd name="connsiteY271" fmla="*/ 2741032 h 6858000"/>
              <a:gd name="connsiteX272" fmla="*/ 232530 w 6710000"/>
              <a:gd name="connsiteY272" fmla="*/ 2383554 h 6858000"/>
              <a:gd name="connsiteX273" fmla="*/ 396352 w 6710000"/>
              <a:gd name="connsiteY273" fmla="*/ 24955 h 6858000"/>
              <a:gd name="connsiteX274" fmla="*/ 396352 w 6710000"/>
              <a:gd name="connsiteY274" fmla="*/ 1628 h 6858000"/>
              <a:gd name="connsiteX275" fmla="*/ 5479167 w 6710000"/>
              <a:gd name="connsiteY275" fmla="*/ 1086 h 6858000"/>
              <a:gd name="connsiteX276" fmla="*/ 5495983 w 6710000"/>
              <a:gd name="connsiteY276" fmla="*/ 1086 h 6858000"/>
              <a:gd name="connsiteX277" fmla="*/ 5218787 w 6710000"/>
              <a:gd name="connsiteY277" fmla="*/ 1022531 h 6858000"/>
              <a:gd name="connsiteX278" fmla="*/ 5000176 w 6710000"/>
              <a:gd name="connsiteY278" fmla="*/ 1499350 h 6858000"/>
              <a:gd name="connsiteX279" fmla="*/ 4647581 w 6710000"/>
              <a:gd name="connsiteY279" fmla="*/ 2358057 h 6858000"/>
              <a:gd name="connsiteX280" fmla="*/ 4609609 w 6710000"/>
              <a:gd name="connsiteY280" fmla="*/ 3664292 h 6858000"/>
              <a:gd name="connsiteX281" fmla="*/ 5315344 w 6710000"/>
              <a:gd name="connsiteY281" fmla="*/ 5659989 h 6858000"/>
              <a:gd name="connsiteX282" fmla="*/ 6698707 w 6710000"/>
              <a:gd name="connsiteY282" fmla="*/ 6851723 h 6858000"/>
              <a:gd name="connsiteX283" fmla="*/ 6710000 w 6710000"/>
              <a:gd name="connsiteY283" fmla="*/ 6858000 h 6858000"/>
              <a:gd name="connsiteX284" fmla="*/ 6682458 w 6710000"/>
              <a:gd name="connsiteY284" fmla="*/ 6858000 h 6858000"/>
              <a:gd name="connsiteX285" fmla="*/ 6369337 w 6710000"/>
              <a:gd name="connsiteY285" fmla="*/ 6660278 h 6858000"/>
              <a:gd name="connsiteX286" fmla="*/ 5298529 w 6710000"/>
              <a:gd name="connsiteY286" fmla="*/ 5664871 h 6858000"/>
              <a:gd name="connsiteX287" fmla="*/ 4588453 w 6710000"/>
              <a:gd name="connsiteY287" fmla="*/ 3666464 h 6858000"/>
              <a:gd name="connsiteX288" fmla="*/ 4626425 w 6710000"/>
              <a:gd name="connsiteY288" fmla="*/ 2354803 h 6858000"/>
              <a:gd name="connsiteX289" fmla="*/ 4983360 w 6710000"/>
              <a:gd name="connsiteY289" fmla="*/ 1496638 h 6858000"/>
              <a:gd name="connsiteX290" fmla="*/ 5201971 w 6710000"/>
              <a:gd name="connsiteY290" fmla="*/ 1019818 h 6858000"/>
              <a:gd name="connsiteX291" fmla="*/ 5479167 w 6710000"/>
              <a:gd name="connsiteY291" fmla="*/ 1086 h 6858000"/>
              <a:gd name="connsiteX292" fmla="*/ 4236941 w 6710000"/>
              <a:gd name="connsiteY292" fmla="*/ 1086 h 6858000"/>
              <a:gd name="connsiteX293" fmla="*/ 4253757 w 6710000"/>
              <a:gd name="connsiteY293" fmla="*/ 1086 h 6858000"/>
              <a:gd name="connsiteX294" fmla="*/ 3976562 w 6710000"/>
              <a:gd name="connsiteY294" fmla="*/ 1362108 h 6858000"/>
              <a:gd name="connsiteX295" fmla="*/ 3791584 w 6710000"/>
              <a:gd name="connsiteY295" fmla="*/ 1823738 h 6858000"/>
              <a:gd name="connsiteX296" fmla="*/ 3476418 w 6710000"/>
              <a:gd name="connsiteY296" fmla="*/ 2733437 h 6858000"/>
              <a:gd name="connsiteX297" fmla="*/ 3501371 w 6710000"/>
              <a:gd name="connsiteY297" fmla="*/ 4060285 h 6858000"/>
              <a:gd name="connsiteX298" fmla="*/ 4328618 w 6710000"/>
              <a:gd name="connsiteY298" fmla="*/ 6058694 h 6858000"/>
              <a:gd name="connsiteX299" fmla="*/ 4702370 w 6710000"/>
              <a:gd name="connsiteY299" fmla="*/ 6457941 h 6858000"/>
              <a:gd name="connsiteX300" fmla="*/ 5059754 w 6710000"/>
              <a:gd name="connsiteY300" fmla="*/ 6760124 h 6858000"/>
              <a:gd name="connsiteX301" fmla="*/ 5193099 w 6710000"/>
              <a:gd name="connsiteY301" fmla="*/ 6858000 h 6858000"/>
              <a:gd name="connsiteX302" fmla="*/ 5167772 w 6710000"/>
              <a:gd name="connsiteY302" fmla="*/ 6858000 h 6858000"/>
              <a:gd name="connsiteX303" fmla="*/ 5043684 w 6710000"/>
              <a:gd name="connsiteY303" fmla="*/ 6767235 h 6858000"/>
              <a:gd name="connsiteX304" fmla="*/ 4685552 w 6710000"/>
              <a:gd name="connsiteY304" fmla="*/ 6466078 h 6858000"/>
              <a:gd name="connsiteX305" fmla="*/ 4311801 w 6710000"/>
              <a:gd name="connsiteY305" fmla="*/ 6064118 h 6858000"/>
              <a:gd name="connsiteX306" fmla="*/ 3484555 w 6710000"/>
              <a:gd name="connsiteY306" fmla="*/ 4060285 h 6858000"/>
              <a:gd name="connsiteX307" fmla="*/ 3459602 w 6710000"/>
              <a:gd name="connsiteY307" fmla="*/ 2733437 h 6858000"/>
              <a:gd name="connsiteX308" fmla="*/ 3774769 w 6710000"/>
              <a:gd name="connsiteY308" fmla="*/ 1821026 h 6858000"/>
              <a:gd name="connsiteX309" fmla="*/ 3959747 w 6710000"/>
              <a:gd name="connsiteY309" fmla="*/ 1359397 h 6858000"/>
              <a:gd name="connsiteX310" fmla="*/ 4236941 w 6710000"/>
              <a:gd name="connsiteY310" fmla="*/ 1086 h 6858000"/>
              <a:gd name="connsiteX311" fmla="*/ 4055219 w 6710000"/>
              <a:gd name="connsiteY311" fmla="*/ 1086 h 6858000"/>
              <a:gd name="connsiteX312" fmla="*/ 4072035 w 6710000"/>
              <a:gd name="connsiteY312" fmla="*/ 1086 h 6858000"/>
              <a:gd name="connsiteX313" fmla="*/ 3799179 w 6710000"/>
              <a:gd name="connsiteY313" fmla="*/ 1410929 h 6858000"/>
              <a:gd name="connsiteX314" fmla="*/ 3618541 w 6710000"/>
              <a:gd name="connsiteY314" fmla="*/ 1869848 h 6858000"/>
              <a:gd name="connsiteX315" fmla="*/ 3307714 w 6710000"/>
              <a:gd name="connsiteY315" fmla="*/ 2787684 h 6858000"/>
              <a:gd name="connsiteX316" fmla="*/ 3341346 w 6710000"/>
              <a:gd name="connsiteY316" fmla="*/ 4114531 h 6858000"/>
              <a:gd name="connsiteX317" fmla="*/ 4185408 w 6710000"/>
              <a:gd name="connsiteY317" fmla="*/ 6115652 h 6858000"/>
              <a:gd name="connsiteX318" fmla="*/ 4563500 w 6710000"/>
              <a:gd name="connsiteY318" fmla="*/ 6514900 h 6858000"/>
              <a:gd name="connsiteX319" fmla="*/ 4924140 w 6710000"/>
              <a:gd name="connsiteY319" fmla="*/ 6815633 h 6858000"/>
              <a:gd name="connsiteX320" fmla="*/ 4982461 w 6710000"/>
              <a:gd name="connsiteY320" fmla="*/ 6858000 h 6858000"/>
              <a:gd name="connsiteX321" fmla="*/ 4957779 w 6710000"/>
              <a:gd name="connsiteY321" fmla="*/ 6858000 h 6858000"/>
              <a:gd name="connsiteX322" fmla="*/ 4909833 w 6710000"/>
              <a:gd name="connsiteY322" fmla="*/ 6823167 h 6858000"/>
              <a:gd name="connsiteX323" fmla="*/ 4551024 w 6710000"/>
              <a:gd name="connsiteY323" fmla="*/ 6523579 h 6858000"/>
              <a:gd name="connsiteX324" fmla="*/ 4172932 w 6710000"/>
              <a:gd name="connsiteY324" fmla="*/ 6121620 h 6858000"/>
              <a:gd name="connsiteX325" fmla="*/ 3324530 w 6710000"/>
              <a:gd name="connsiteY325" fmla="*/ 4117786 h 6858000"/>
              <a:gd name="connsiteX326" fmla="*/ 3290899 w 6710000"/>
              <a:gd name="connsiteY326" fmla="*/ 2785514 h 6858000"/>
              <a:gd name="connsiteX327" fmla="*/ 3601726 w 6710000"/>
              <a:gd name="connsiteY327" fmla="*/ 1867678 h 6858000"/>
              <a:gd name="connsiteX328" fmla="*/ 3782363 w 6710000"/>
              <a:gd name="connsiteY328" fmla="*/ 1408760 h 6858000"/>
              <a:gd name="connsiteX329" fmla="*/ 4055219 w 6710000"/>
              <a:gd name="connsiteY329" fmla="*/ 1086 h 6858000"/>
              <a:gd name="connsiteX330" fmla="*/ 3693943 w 6710000"/>
              <a:gd name="connsiteY330" fmla="*/ 1086 h 6858000"/>
              <a:gd name="connsiteX331" fmla="*/ 3710759 w 6710000"/>
              <a:gd name="connsiteY331" fmla="*/ 1086 h 6858000"/>
              <a:gd name="connsiteX332" fmla="*/ 3446040 w 6710000"/>
              <a:gd name="connsiteY332" fmla="*/ 1509656 h 6858000"/>
              <a:gd name="connsiteX333" fmla="*/ 3274081 w 6710000"/>
              <a:gd name="connsiteY333" fmla="*/ 1960436 h 6858000"/>
              <a:gd name="connsiteX334" fmla="*/ 2975731 w 6710000"/>
              <a:gd name="connsiteY334" fmla="*/ 2893463 h 6858000"/>
              <a:gd name="connsiteX335" fmla="*/ 3026179 w 6710000"/>
              <a:gd name="connsiteY335" fmla="*/ 4228446 h 6858000"/>
              <a:gd name="connsiteX336" fmla="*/ 3903873 w 6710000"/>
              <a:gd name="connsiteY336" fmla="*/ 6232279 h 6858000"/>
              <a:gd name="connsiteX337" fmla="*/ 4290102 w 6710000"/>
              <a:gd name="connsiteY337" fmla="*/ 6628815 h 6858000"/>
              <a:gd name="connsiteX338" fmla="*/ 4464172 w 6710000"/>
              <a:gd name="connsiteY338" fmla="*/ 6778910 h 6858000"/>
              <a:gd name="connsiteX339" fmla="*/ 4565238 w 6710000"/>
              <a:gd name="connsiteY339" fmla="*/ 6858000 h 6858000"/>
              <a:gd name="connsiteX340" fmla="*/ 4541100 w 6710000"/>
              <a:gd name="connsiteY340" fmla="*/ 6858000 h 6858000"/>
              <a:gd name="connsiteX341" fmla="*/ 4448231 w 6710000"/>
              <a:gd name="connsiteY341" fmla="*/ 6785881 h 6858000"/>
              <a:gd name="connsiteX342" fmla="*/ 4272745 w 6710000"/>
              <a:gd name="connsiteY342" fmla="*/ 6636410 h 6858000"/>
              <a:gd name="connsiteX343" fmla="*/ 3886514 w 6710000"/>
              <a:gd name="connsiteY343" fmla="*/ 6234449 h 6858000"/>
              <a:gd name="connsiteX344" fmla="*/ 3008821 w 6710000"/>
              <a:gd name="connsiteY344" fmla="*/ 4228446 h 6858000"/>
              <a:gd name="connsiteX345" fmla="*/ 2954034 w 6710000"/>
              <a:gd name="connsiteY345" fmla="*/ 2893463 h 6858000"/>
              <a:gd name="connsiteX346" fmla="*/ 3256723 w 6710000"/>
              <a:gd name="connsiteY346" fmla="*/ 1957725 h 6858000"/>
              <a:gd name="connsiteX347" fmla="*/ 3424884 w 6710000"/>
              <a:gd name="connsiteY347" fmla="*/ 1506945 h 6858000"/>
              <a:gd name="connsiteX348" fmla="*/ 3693943 w 6710000"/>
              <a:gd name="connsiteY348" fmla="*/ 1086 h 6858000"/>
              <a:gd name="connsiteX349" fmla="*/ 3147690 w 6710000"/>
              <a:gd name="connsiteY349" fmla="*/ 1086 h 6858000"/>
              <a:gd name="connsiteX350" fmla="*/ 3164506 w 6710000"/>
              <a:gd name="connsiteY350" fmla="*/ 1086 h 6858000"/>
              <a:gd name="connsiteX351" fmla="*/ 2912265 w 6710000"/>
              <a:gd name="connsiteY351" fmla="*/ 1655035 h 6858000"/>
              <a:gd name="connsiteX352" fmla="*/ 2757122 w 6710000"/>
              <a:gd name="connsiteY352" fmla="*/ 2095508 h 6858000"/>
              <a:gd name="connsiteX353" fmla="*/ 2471247 w 6710000"/>
              <a:gd name="connsiteY353" fmla="*/ 3057284 h 6858000"/>
              <a:gd name="connsiteX354" fmla="*/ 2550987 w 6710000"/>
              <a:gd name="connsiteY354" fmla="*/ 4397151 h 6858000"/>
              <a:gd name="connsiteX355" fmla="*/ 3483470 w 6710000"/>
              <a:gd name="connsiteY355" fmla="*/ 6403154 h 6858000"/>
              <a:gd name="connsiteX356" fmla="*/ 3878377 w 6710000"/>
              <a:gd name="connsiteY356" fmla="*/ 6799690 h 6858000"/>
              <a:gd name="connsiteX357" fmla="*/ 3948295 w 6710000"/>
              <a:gd name="connsiteY357" fmla="*/ 6858000 h 6858000"/>
              <a:gd name="connsiteX358" fmla="*/ 3925054 w 6710000"/>
              <a:gd name="connsiteY358" fmla="*/ 6858000 h 6858000"/>
              <a:gd name="connsiteX359" fmla="*/ 3861563 w 6710000"/>
              <a:gd name="connsiteY359" fmla="*/ 6805113 h 6858000"/>
              <a:gd name="connsiteX360" fmla="*/ 3466654 w 6710000"/>
              <a:gd name="connsiteY360" fmla="*/ 6408577 h 6858000"/>
              <a:gd name="connsiteX361" fmla="*/ 2534172 w 6710000"/>
              <a:gd name="connsiteY361" fmla="*/ 4399863 h 6858000"/>
              <a:gd name="connsiteX362" fmla="*/ 2454430 w 6710000"/>
              <a:gd name="connsiteY362" fmla="*/ 3054571 h 6858000"/>
              <a:gd name="connsiteX363" fmla="*/ 2740306 w 6710000"/>
              <a:gd name="connsiteY363" fmla="*/ 2092797 h 6858000"/>
              <a:gd name="connsiteX364" fmla="*/ 2895448 w 6710000"/>
              <a:gd name="connsiteY364" fmla="*/ 1652323 h 6858000"/>
              <a:gd name="connsiteX365" fmla="*/ 3147690 w 6710000"/>
              <a:gd name="connsiteY365" fmla="*/ 1086 h 6858000"/>
              <a:gd name="connsiteX366" fmla="*/ 2051388 w 6710000"/>
              <a:gd name="connsiteY366" fmla="*/ 1086 h 6858000"/>
              <a:gd name="connsiteX367" fmla="*/ 2068202 w 6710000"/>
              <a:gd name="connsiteY367" fmla="*/ 1086 h 6858000"/>
              <a:gd name="connsiteX368" fmla="*/ 1845795 w 6710000"/>
              <a:gd name="connsiteY368" fmla="*/ 1947418 h 6858000"/>
              <a:gd name="connsiteX369" fmla="*/ 1719945 w 6710000"/>
              <a:gd name="connsiteY369" fmla="*/ 2359686 h 6858000"/>
              <a:gd name="connsiteX370" fmla="*/ 1467702 w 6710000"/>
              <a:gd name="connsiteY370" fmla="*/ 3378418 h 6858000"/>
              <a:gd name="connsiteX371" fmla="*/ 1602233 w 6710000"/>
              <a:gd name="connsiteY371" fmla="*/ 4734016 h 6858000"/>
              <a:gd name="connsiteX372" fmla="*/ 2635610 w 6710000"/>
              <a:gd name="connsiteY372" fmla="*/ 6745443 h 6858000"/>
              <a:gd name="connsiteX373" fmla="*/ 2747940 w 6710000"/>
              <a:gd name="connsiteY373" fmla="*/ 6858000 h 6858000"/>
              <a:gd name="connsiteX374" fmla="*/ 2724848 w 6710000"/>
              <a:gd name="connsiteY374" fmla="*/ 6858000 h 6858000"/>
              <a:gd name="connsiteX375" fmla="*/ 2618794 w 6710000"/>
              <a:gd name="connsiteY375" fmla="*/ 6751411 h 6858000"/>
              <a:gd name="connsiteX376" fmla="*/ 1585418 w 6710000"/>
              <a:gd name="connsiteY376" fmla="*/ 4737271 h 6858000"/>
              <a:gd name="connsiteX377" fmla="*/ 1450887 w 6710000"/>
              <a:gd name="connsiteY377" fmla="*/ 3378960 h 6858000"/>
              <a:gd name="connsiteX378" fmla="*/ 1703129 w 6710000"/>
              <a:gd name="connsiteY378" fmla="*/ 2357515 h 6858000"/>
              <a:gd name="connsiteX379" fmla="*/ 1828979 w 6710000"/>
              <a:gd name="connsiteY379" fmla="*/ 1945249 h 6858000"/>
              <a:gd name="connsiteX380" fmla="*/ 2051388 w 6710000"/>
              <a:gd name="connsiteY380" fmla="*/ 1086 h 6858000"/>
              <a:gd name="connsiteX381" fmla="*/ 1867492 w 6710000"/>
              <a:gd name="connsiteY381" fmla="*/ 1086 h 6858000"/>
              <a:gd name="connsiteX382" fmla="*/ 1888650 w 6710000"/>
              <a:gd name="connsiteY382" fmla="*/ 1086 h 6858000"/>
              <a:gd name="connsiteX383" fmla="*/ 1670038 w 6710000"/>
              <a:gd name="connsiteY383" fmla="*/ 1994070 h 6858000"/>
              <a:gd name="connsiteX384" fmla="*/ 1547986 w 6710000"/>
              <a:gd name="connsiteY384" fmla="*/ 2403625 h 6858000"/>
              <a:gd name="connsiteX385" fmla="*/ 1304425 w 6710000"/>
              <a:gd name="connsiteY385" fmla="*/ 3432664 h 6858000"/>
              <a:gd name="connsiteX386" fmla="*/ 1447090 w 6710000"/>
              <a:gd name="connsiteY386" fmla="*/ 4790975 h 6858000"/>
              <a:gd name="connsiteX387" fmla="*/ 2497284 w 6710000"/>
              <a:gd name="connsiteY387" fmla="*/ 6802402 h 6858000"/>
              <a:gd name="connsiteX388" fmla="*/ 2552770 w 6710000"/>
              <a:gd name="connsiteY388" fmla="*/ 6858000 h 6858000"/>
              <a:gd name="connsiteX389" fmla="*/ 2530391 w 6710000"/>
              <a:gd name="connsiteY389" fmla="*/ 6858000 h 6858000"/>
              <a:gd name="connsiteX390" fmla="*/ 2480468 w 6710000"/>
              <a:gd name="connsiteY390" fmla="*/ 6807825 h 6858000"/>
              <a:gd name="connsiteX391" fmla="*/ 1430274 w 6710000"/>
              <a:gd name="connsiteY391" fmla="*/ 4793686 h 6858000"/>
              <a:gd name="connsiteX392" fmla="*/ 1283269 w 6710000"/>
              <a:gd name="connsiteY392" fmla="*/ 3432664 h 6858000"/>
              <a:gd name="connsiteX393" fmla="*/ 1531170 w 6710000"/>
              <a:gd name="connsiteY393" fmla="*/ 2400912 h 6858000"/>
              <a:gd name="connsiteX394" fmla="*/ 1653223 w 6710000"/>
              <a:gd name="connsiteY394" fmla="*/ 1994070 h 6858000"/>
              <a:gd name="connsiteX395" fmla="*/ 1867492 w 6710000"/>
              <a:gd name="connsiteY395" fmla="*/ 1086 h 6858000"/>
              <a:gd name="connsiteX396" fmla="*/ 1685229 w 6710000"/>
              <a:gd name="connsiteY396" fmla="*/ 1086 h 6858000"/>
              <a:gd name="connsiteX397" fmla="*/ 1702045 w 6710000"/>
              <a:gd name="connsiteY397" fmla="*/ 1086 h 6858000"/>
              <a:gd name="connsiteX398" fmla="*/ 1492113 w 6710000"/>
              <a:gd name="connsiteY398" fmla="*/ 2043433 h 6858000"/>
              <a:gd name="connsiteX399" fmla="*/ 1374400 w 6710000"/>
              <a:gd name="connsiteY399" fmla="*/ 2447564 h 6858000"/>
              <a:gd name="connsiteX400" fmla="*/ 1135179 w 6710000"/>
              <a:gd name="connsiteY400" fmla="*/ 3486909 h 6858000"/>
              <a:gd name="connsiteX401" fmla="*/ 1286523 w 6710000"/>
              <a:gd name="connsiteY401" fmla="*/ 4847931 h 6858000"/>
              <a:gd name="connsiteX402" fmla="*/ 2173546 w 6710000"/>
              <a:gd name="connsiteY402" fmla="*/ 6655634 h 6858000"/>
              <a:gd name="connsiteX403" fmla="*/ 2352333 w 6710000"/>
              <a:gd name="connsiteY403" fmla="*/ 6858000 h 6858000"/>
              <a:gd name="connsiteX404" fmla="*/ 2331196 w 6710000"/>
              <a:gd name="connsiteY404" fmla="*/ 6858000 h 6858000"/>
              <a:gd name="connsiteX405" fmla="*/ 2156574 w 6710000"/>
              <a:gd name="connsiteY405" fmla="*/ 6660662 h 6858000"/>
              <a:gd name="connsiteX406" fmla="*/ 1269707 w 6710000"/>
              <a:gd name="connsiteY406" fmla="*/ 4847931 h 6858000"/>
              <a:gd name="connsiteX407" fmla="*/ 1118360 w 6710000"/>
              <a:gd name="connsiteY407" fmla="*/ 3486909 h 6858000"/>
              <a:gd name="connsiteX408" fmla="*/ 1357583 w 6710000"/>
              <a:gd name="connsiteY408" fmla="*/ 2444851 h 6858000"/>
              <a:gd name="connsiteX409" fmla="*/ 1475296 w 6710000"/>
              <a:gd name="connsiteY409" fmla="*/ 2040722 h 6858000"/>
              <a:gd name="connsiteX410" fmla="*/ 1685229 w 6710000"/>
              <a:gd name="connsiteY410" fmla="*/ 1086 h 6858000"/>
              <a:gd name="connsiteX411" fmla="*/ 1501334 w 6710000"/>
              <a:gd name="connsiteY411" fmla="*/ 1086 h 6858000"/>
              <a:gd name="connsiteX412" fmla="*/ 1518153 w 6710000"/>
              <a:gd name="connsiteY412" fmla="*/ 1086 h 6858000"/>
              <a:gd name="connsiteX413" fmla="*/ 1316358 w 6710000"/>
              <a:gd name="connsiteY413" fmla="*/ 2092797 h 6858000"/>
              <a:gd name="connsiteX414" fmla="*/ 1202986 w 6710000"/>
              <a:gd name="connsiteY414" fmla="*/ 2489332 h 6858000"/>
              <a:gd name="connsiteX415" fmla="*/ 967559 w 6710000"/>
              <a:gd name="connsiteY415" fmla="*/ 3541698 h 6858000"/>
              <a:gd name="connsiteX416" fmla="*/ 1127040 w 6710000"/>
              <a:gd name="connsiteY416" fmla="*/ 4904889 h 6858000"/>
              <a:gd name="connsiteX417" fmla="*/ 2029268 w 6710000"/>
              <a:gd name="connsiteY417" fmla="*/ 6712591 h 6858000"/>
              <a:gd name="connsiteX418" fmla="*/ 2158886 w 6710000"/>
              <a:gd name="connsiteY418" fmla="*/ 6858000 h 6858000"/>
              <a:gd name="connsiteX419" fmla="*/ 2141652 w 6710000"/>
              <a:gd name="connsiteY419" fmla="*/ 6858000 h 6858000"/>
              <a:gd name="connsiteX420" fmla="*/ 2015538 w 6710000"/>
              <a:gd name="connsiteY420" fmla="*/ 6717531 h 6858000"/>
              <a:gd name="connsiteX421" fmla="*/ 1110768 w 6710000"/>
              <a:gd name="connsiteY421" fmla="*/ 4904889 h 6858000"/>
              <a:gd name="connsiteX422" fmla="*/ 951284 w 6710000"/>
              <a:gd name="connsiteY422" fmla="*/ 3538985 h 6858000"/>
              <a:gd name="connsiteX423" fmla="*/ 1186709 w 6710000"/>
              <a:gd name="connsiteY423" fmla="*/ 2489332 h 6858000"/>
              <a:gd name="connsiteX424" fmla="*/ 1295746 w 6710000"/>
              <a:gd name="connsiteY424" fmla="*/ 2090085 h 6858000"/>
              <a:gd name="connsiteX425" fmla="*/ 1501334 w 6710000"/>
              <a:gd name="connsiteY425" fmla="*/ 1086 h 6858000"/>
              <a:gd name="connsiteX426" fmla="*/ 1316901 w 6710000"/>
              <a:gd name="connsiteY426" fmla="*/ 1086 h 6858000"/>
              <a:gd name="connsiteX427" fmla="*/ 1333717 w 6710000"/>
              <a:gd name="connsiteY427" fmla="*/ 1086 h 6858000"/>
              <a:gd name="connsiteX428" fmla="*/ 1136262 w 6710000"/>
              <a:gd name="connsiteY428" fmla="*/ 2142160 h 6858000"/>
              <a:gd name="connsiteX429" fmla="*/ 1031027 w 6710000"/>
              <a:gd name="connsiteY429" fmla="*/ 2533814 h 6858000"/>
              <a:gd name="connsiteX430" fmla="*/ 799941 w 6710000"/>
              <a:gd name="connsiteY430" fmla="*/ 3593773 h 6858000"/>
              <a:gd name="connsiteX431" fmla="*/ 971898 w 6710000"/>
              <a:gd name="connsiteY431" fmla="*/ 4959678 h 6858000"/>
              <a:gd name="connsiteX432" fmla="*/ 1887905 w 6710000"/>
              <a:gd name="connsiteY432" fmla="*/ 6770087 h 6858000"/>
              <a:gd name="connsiteX433" fmla="*/ 1967579 w 6710000"/>
              <a:gd name="connsiteY433" fmla="*/ 6858000 h 6858000"/>
              <a:gd name="connsiteX434" fmla="*/ 1944323 w 6710000"/>
              <a:gd name="connsiteY434" fmla="*/ 6858000 h 6858000"/>
              <a:gd name="connsiteX435" fmla="*/ 1871067 w 6710000"/>
              <a:gd name="connsiteY435" fmla="*/ 6776848 h 6858000"/>
              <a:gd name="connsiteX436" fmla="*/ 955083 w 6710000"/>
              <a:gd name="connsiteY436" fmla="*/ 4962390 h 6858000"/>
              <a:gd name="connsiteX437" fmla="*/ 783124 w 6710000"/>
              <a:gd name="connsiteY437" fmla="*/ 3593773 h 6858000"/>
              <a:gd name="connsiteX438" fmla="*/ 1014212 w 6710000"/>
              <a:gd name="connsiteY438" fmla="*/ 2531102 h 6858000"/>
              <a:gd name="connsiteX439" fmla="*/ 1119447 w 6710000"/>
              <a:gd name="connsiteY439" fmla="*/ 2139448 h 6858000"/>
              <a:gd name="connsiteX440" fmla="*/ 1316901 w 6710000"/>
              <a:gd name="connsiteY440" fmla="*/ 1086 h 6858000"/>
              <a:gd name="connsiteX441" fmla="*/ 1131381 w 6710000"/>
              <a:gd name="connsiteY441" fmla="*/ 1086 h 6858000"/>
              <a:gd name="connsiteX442" fmla="*/ 1148196 w 6710000"/>
              <a:gd name="connsiteY442" fmla="*/ 1086 h 6858000"/>
              <a:gd name="connsiteX443" fmla="*/ 959422 w 6710000"/>
              <a:gd name="connsiteY443" fmla="*/ 2188812 h 6858000"/>
              <a:gd name="connsiteX444" fmla="*/ 858526 w 6710000"/>
              <a:gd name="connsiteY444" fmla="*/ 2575041 h 6858000"/>
              <a:gd name="connsiteX445" fmla="*/ 631777 w 6710000"/>
              <a:gd name="connsiteY445" fmla="*/ 3648020 h 6858000"/>
              <a:gd name="connsiteX446" fmla="*/ 812418 w 6710000"/>
              <a:gd name="connsiteY446" fmla="*/ 5016636 h 6858000"/>
              <a:gd name="connsiteX447" fmla="*/ 1743582 w 6710000"/>
              <a:gd name="connsiteY447" fmla="*/ 6827044 h 6858000"/>
              <a:gd name="connsiteX448" fmla="*/ 1771889 w 6710000"/>
              <a:gd name="connsiteY448" fmla="*/ 6858000 h 6858000"/>
              <a:gd name="connsiteX449" fmla="*/ 1751982 w 6710000"/>
              <a:gd name="connsiteY449" fmla="*/ 6858000 h 6858000"/>
              <a:gd name="connsiteX450" fmla="*/ 1729154 w 6710000"/>
              <a:gd name="connsiteY450" fmla="*/ 6833027 h 6858000"/>
              <a:gd name="connsiteX451" fmla="*/ 795600 w 6710000"/>
              <a:gd name="connsiteY451" fmla="*/ 5019348 h 6858000"/>
              <a:gd name="connsiteX452" fmla="*/ 614961 w 6710000"/>
              <a:gd name="connsiteY452" fmla="*/ 3648020 h 6858000"/>
              <a:gd name="connsiteX453" fmla="*/ 837370 w 6710000"/>
              <a:gd name="connsiteY453" fmla="*/ 2575041 h 6858000"/>
              <a:gd name="connsiteX454" fmla="*/ 942606 w 6710000"/>
              <a:gd name="connsiteY454" fmla="*/ 2188812 h 6858000"/>
              <a:gd name="connsiteX455" fmla="*/ 1131381 w 6710000"/>
              <a:gd name="connsiteY455" fmla="*/ 1086 h 6858000"/>
              <a:gd name="connsiteX456" fmla="*/ 946947 w 6710000"/>
              <a:gd name="connsiteY456" fmla="*/ 1086 h 6858000"/>
              <a:gd name="connsiteX457" fmla="*/ 968102 w 6710000"/>
              <a:gd name="connsiteY457" fmla="*/ 1086 h 6858000"/>
              <a:gd name="connsiteX458" fmla="*/ 783124 w 6710000"/>
              <a:gd name="connsiteY458" fmla="*/ 2238175 h 6858000"/>
              <a:gd name="connsiteX459" fmla="*/ 682227 w 6710000"/>
              <a:gd name="connsiteY459" fmla="*/ 2618979 h 6858000"/>
              <a:gd name="connsiteX460" fmla="*/ 467957 w 6710000"/>
              <a:gd name="connsiteY460" fmla="*/ 3702263 h 6858000"/>
              <a:gd name="connsiteX461" fmla="*/ 656732 w 6710000"/>
              <a:gd name="connsiteY461" fmla="*/ 5073592 h 6858000"/>
              <a:gd name="connsiteX462" fmla="*/ 1427113 w 6710000"/>
              <a:gd name="connsiteY462" fmla="*/ 6668060 h 6858000"/>
              <a:gd name="connsiteX463" fmla="*/ 1580273 w 6710000"/>
              <a:gd name="connsiteY463" fmla="*/ 6858000 h 6858000"/>
              <a:gd name="connsiteX464" fmla="*/ 1558574 w 6710000"/>
              <a:gd name="connsiteY464" fmla="*/ 6858000 h 6858000"/>
              <a:gd name="connsiteX465" fmla="*/ 1409772 w 6710000"/>
              <a:gd name="connsiteY465" fmla="*/ 6673398 h 6858000"/>
              <a:gd name="connsiteX466" fmla="*/ 635576 w 6710000"/>
              <a:gd name="connsiteY466" fmla="*/ 5073592 h 6858000"/>
              <a:gd name="connsiteX467" fmla="*/ 446802 w 6710000"/>
              <a:gd name="connsiteY467" fmla="*/ 3702263 h 6858000"/>
              <a:gd name="connsiteX468" fmla="*/ 665412 w 6710000"/>
              <a:gd name="connsiteY468" fmla="*/ 2616267 h 6858000"/>
              <a:gd name="connsiteX469" fmla="*/ 766308 w 6710000"/>
              <a:gd name="connsiteY469" fmla="*/ 2235463 h 6858000"/>
              <a:gd name="connsiteX470" fmla="*/ 946947 w 6710000"/>
              <a:gd name="connsiteY470" fmla="*/ 1086 h 6858000"/>
              <a:gd name="connsiteX471" fmla="*/ 761427 w 6710000"/>
              <a:gd name="connsiteY471" fmla="*/ 1086 h 6858000"/>
              <a:gd name="connsiteX472" fmla="*/ 782582 w 6710000"/>
              <a:gd name="connsiteY472" fmla="*/ 1086 h 6858000"/>
              <a:gd name="connsiteX473" fmla="*/ 606284 w 6710000"/>
              <a:gd name="connsiteY473" fmla="*/ 2286996 h 6858000"/>
              <a:gd name="connsiteX474" fmla="*/ 509728 w 6710000"/>
              <a:gd name="connsiteY474" fmla="*/ 2660207 h 6858000"/>
              <a:gd name="connsiteX475" fmla="*/ 299795 w 6710000"/>
              <a:gd name="connsiteY475" fmla="*/ 3756510 h 6858000"/>
              <a:gd name="connsiteX476" fmla="*/ 497249 w 6710000"/>
              <a:gd name="connsiteY476" fmla="*/ 5127839 h 6858000"/>
              <a:gd name="connsiteX477" fmla="*/ 1281208 w 6710000"/>
              <a:gd name="connsiteY477" fmla="*/ 6724974 h 6858000"/>
              <a:gd name="connsiteX478" fmla="*/ 1389455 w 6710000"/>
              <a:gd name="connsiteY478" fmla="*/ 6858000 h 6858000"/>
              <a:gd name="connsiteX479" fmla="*/ 1370500 w 6710000"/>
              <a:gd name="connsiteY479" fmla="*/ 6858000 h 6858000"/>
              <a:gd name="connsiteX480" fmla="*/ 1265918 w 6710000"/>
              <a:gd name="connsiteY480" fmla="*/ 6730051 h 6858000"/>
              <a:gd name="connsiteX481" fmla="*/ 480434 w 6710000"/>
              <a:gd name="connsiteY481" fmla="*/ 5130551 h 6858000"/>
              <a:gd name="connsiteX482" fmla="*/ 282979 w 6710000"/>
              <a:gd name="connsiteY482" fmla="*/ 3757052 h 6858000"/>
              <a:gd name="connsiteX483" fmla="*/ 492911 w 6710000"/>
              <a:gd name="connsiteY483" fmla="*/ 2658035 h 6858000"/>
              <a:gd name="connsiteX484" fmla="*/ 585128 w 6710000"/>
              <a:gd name="connsiteY484" fmla="*/ 2284827 h 6858000"/>
              <a:gd name="connsiteX485" fmla="*/ 761427 w 6710000"/>
              <a:gd name="connsiteY485" fmla="*/ 1086 h 6858000"/>
              <a:gd name="connsiteX486" fmla="*/ 581330 w 6710000"/>
              <a:gd name="connsiteY486" fmla="*/ 1086 h 6858000"/>
              <a:gd name="connsiteX487" fmla="*/ 598146 w 6710000"/>
              <a:gd name="connsiteY487" fmla="*/ 1086 h 6858000"/>
              <a:gd name="connsiteX488" fmla="*/ 426187 w 6710000"/>
              <a:gd name="connsiteY488" fmla="*/ 2336360 h 6858000"/>
              <a:gd name="connsiteX489" fmla="*/ 337766 w 6710000"/>
              <a:gd name="connsiteY489" fmla="*/ 2701975 h 6858000"/>
              <a:gd name="connsiteX490" fmla="*/ 132176 w 6710000"/>
              <a:gd name="connsiteY490" fmla="*/ 3808585 h 6858000"/>
              <a:gd name="connsiteX491" fmla="*/ 337766 w 6710000"/>
              <a:gd name="connsiteY491" fmla="*/ 5184796 h 6858000"/>
              <a:gd name="connsiteX492" fmla="*/ 1136221 w 6710000"/>
              <a:gd name="connsiteY492" fmla="*/ 6781932 h 6858000"/>
              <a:gd name="connsiteX493" fmla="*/ 1199192 w 6710000"/>
              <a:gd name="connsiteY493" fmla="*/ 6858000 h 6858000"/>
              <a:gd name="connsiteX494" fmla="*/ 1178104 w 6710000"/>
              <a:gd name="connsiteY494" fmla="*/ 6858000 h 6858000"/>
              <a:gd name="connsiteX495" fmla="*/ 1119405 w 6710000"/>
              <a:gd name="connsiteY495" fmla="*/ 6787010 h 6858000"/>
              <a:gd name="connsiteX496" fmla="*/ 320950 w 6710000"/>
              <a:gd name="connsiteY496" fmla="*/ 5187509 h 6858000"/>
              <a:gd name="connsiteX497" fmla="*/ 115360 w 6710000"/>
              <a:gd name="connsiteY497" fmla="*/ 3808585 h 6858000"/>
              <a:gd name="connsiteX498" fmla="*/ 320950 w 6710000"/>
              <a:gd name="connsiteY498" fmla="*/ 2699264 h 6858000"/>
              <a:gd name="connsiteX499" fmla="*/ 409371 w 6710000"/>
              <a:gd name="connsiteY499" fmla="*/ 2333648 h 6858000"/>
              <a:gd name="connsiteX500" fmla="*/ 581330 w 6710000"/>
              <a:gd name="connsiteY500" fmla="*/ 1086 h 6858000"/>
              <a:gd name="connsiteX501" fmla="*/ 211917 w 6710000"/>
              <a:gd name="connsiteY501" fmla="*/ 1086 h 6858000"/>
              <a:gd name="connsiteX502" fmla="*/ 228733 w 6710000"/>
              <a:gd name="connsiteY502" fmla="*/ 1086 h 6858000"/>
              <a:gd name="connsiteX503" fmla="*/ 233074 w 6710000"/>
              <a:gd name="connsiteY503" fmla="*/ 65638 h 6858000"/>
              <a:gd name="connsiteX504" fmla="*/ 73591 w 6710000"/>
              <a:gd name="connsiteY504" fmla="*/ 2432375 h 6858000"/>
              <a:gd name="connsiteX505" fmla="*/ 0 w 6710000"/>
              <a:gd name="connsiteY505" fmla="*/ 2740979 h 6858000"/>
              <a:gd name="connsiteX506" fmla="*/ 0 w 6710000"/>
              <a:gd name="connsiteY506" fmla="*/ 2669289 h 6858000"/>
              <a:gd name="connsiteX507" fmla="*/ 14734 w 6710000"/>
              <a:gd name="connsiteY507" fmla="*/ 2608334 h 6858000"/>
              <a:gd name="connsiteX508" fmla="*/ 56774 w 6710000"/>
              <a:gd name="connsiteY508" fmla="*/ 2432375 h 6858000"/>
              <a:gd name="connsiteX509" fmla="*/ 216257 w 6710000"/>
              <a:gd name="connsiteY509" fmla="*/ 65638 h 6858000"/>
              <a:gd name="connsiteX510" fmla="*/ 211917 w 6710000"/>
              <a:gd name="connsiteY510" fmla="*/ 1086 h 6858000"/>
              <a:gd name="connsiteX511" fmla="*/ 3332125 w 6710000"/>
              <a:gd name="connsiteY511" fmla="*/ 544 h 6858000"/>
              <a:gd name="connsiteX512" fmla="*/ 3348941 w 6710000"/>
              <a:gd name="connsiteY512" fmla="*/ 544 h 6858000"/>
              <a:gd name="connsiteX513" fmla="*/ 3088562 w 6710000"/>
              <a:gd name="connsiteY513" fmla="*/ 1605129 h 6858000"/>
              <a:gd name="connsiteX514" fmla="*/ 2929079 w 6710000"/>
              <a:gd name="connsiteY514" fmla="*/ 2051028 h 6858000"/>
              <a:gd name="connsiteX515" fmla="*/ 2639409 w 6710000"/>
              <a:gd name="connsiteY515" fmla="*/ 3002496 h 6858000"/>
              <a:gd name="connsiteX516" fmla="*/ 2711012 w 6710000"/>
              <a:gd name="connsiteY516" fmla="*/ 4340193 h 6858000"/>
              <a:gd name="connsiteX517" fmla="*/ 3622339 w 6710000"/>
              <a:gd name="connsiteY517" fmla="*/ 6346196 h 6858000"/>
              <a:gd name="connsiteX518" fmla="*/ 4017247 w 6710000"/>
              <a:gd name="connsiteY518" fmla="*/ 6742732 h 6858000"/>
              <a:gd name="connsiteX519" fmla="*/ 4153244 w 6710000"/>
              <a:gd name="connsiteY519" fmla="*/ 6858000 h 6858000"/>
              <a:gd name="connsiteX520" fmla="*/ 4131719 w 6710000"/>
              <a:gd name="connsiteY520" fmla="*/ 6858000 h 6858000"/>
              <a:gd name="connsiteX521" fmla="*/ 4000431 w 6710000"/>
              <a:gd name="connsiteY521" fmla="*/ 6747070 h 6858000"/>
              <a:gd name="connsiteX522" fmla="*/ 3605523 w 6710000"/>
              <a:gd name="connsiteY522" fmla="*/ 6350535 h 6858000"/>
              <a:gd name="connsiteX523" fmla="*/ 2694196 w 6710000"/>
              <a:gd name="connsiteY523" fmla="*/ 4341820 h 6858000"/>
              <a:gd name="connsiteX524" fmla="*/ 2622594 w 6710000"/>
              <a:gd name="connsiteY524" fmla="*/ 3001954 h 6858000"/>
              <a:gd name="connsiteX525" fmla="*/ 2912265 w 6710000"/>
              <a:gd name="connsiteY525" fmla="*/ 2048314 h 6858000"/>
              <a:gd name="connsiteX526" fmla="*/ 3071746 w 6710000"/>
              <a:gd name="connsiteY526" fmla="*/ 1602417 h 6858000"/>
              <a:gd name="connsiteX527" fmla="*/ 3332125 w 6710000"/>
              <a:gd name="connsiteY527" fmla="*/ 544 h 6858000"/>
              <a:gd name="connsiteX528" fmla="*/ 26939 w 6710000"/>
              <a:gd name="connsiteY528" fmla="*/ 544 h 6858000"/>
              <a:gd name="connsiteX529" fmla="*/ 43756 w 6710000"/>
              <a:gd name="connsiteY529" fmla="*/ 544 h 6858000"/>
              <a:gd name="connsiteX530" fmla="*/ 51892 w 6710000"/>
              <a:gd name="connsiteY530" fmla="*/ 106864 h 6858000"/>
              <a:gd name="connsiteX531" fmla="*/ 3605 w 6710000"/>
              <a:gd name="connsiteY531" fmla="*/ 1872585 h 6858000"/>
              <a:gd name="connsiteX532" fmla="*/ 0 w 6710000"/>
              <a:gd name="connsiteY532" fmla="*/ 1893117 h 6858000"/>
              <a:gd name="connsiteX533" fmla="*/ 0 w 6710000"/>
              <a:gd name="connsiteY533" fmla="*/ 1720977 h 6858000"/>
              <a:gd name="connsiteX534" fmla="*/ 46671 w 6710000"/>
              <a:gd name="connsiteY534" fmla="*/ 1272332 h 6858000"/>
              <a:gd name="connsiteX535" fmla="*/ 35076 w 6710000"/>
              <a:gd name="connsiteY535" fmla="*/ 106864 h 6858000"/>
              <a:gd name="connsiteX536" fmla="*/ 26939 w 6710000"/>
              <a:gd name="connsiteY536" fmla="*/ 544 h 6858000"/>
              <a:gd name="connsiteX537" fmla="*/ 3513847 w 6710000"/>
              <a:gd name="connsiteY537" fmla="*/ 0 h 6858000"/>
              <a:gd name="connsiteX538" fmla="*/ 3530663 w 6710000"/>
              <a:gd name="connsiteY538" fmla="*/ 0 h 6858000"/>
              <a:gd name="connsiteX539" fmla="*/ 3265944 w 6710000"/>
              <a:gd name="connsiteY539" fmla="*/ 1555224 h 6858000"/>
              <a:gd name="connsiteX540" fmla="*/ 3102124 w 6710000"/>
              <a:gd name="connsiteY540" fmla="*/ 2003834 h 6858000"/>
              <a:gd name="connsiteX541" fmla="*/ 2808112 w 6710000"/>
              <a:gd name="connsiteY541" fmla="*/ 2947165 h 6858000"/>
              <a:gd name="connsiteX542" fmla="*/ 2871036 w 6710000"/>
              <a:gd name="connsiteY542" fmla="*/ 4284862 h 6858000"/>
              <a:gd name="connsiteX543" fmla="*/ 3765548 w 6710000"/>
              <a:gd name="connsiteY543" fmla="*/ 6288695 h 6858000"/>
              <a:gd name="connsiteX544" fmla="*/ 4151774 w 6710000"/>
              <a:gd name="connsiteY544" fmla="*/ 6685231 h 6858000"/>
              <a:gd name="connsiteX545" fmla="*/ 4327448 w 6710000"/>
              <a:gd name="connsiteY545" fmla="*/ 6833830 h 6858000"/>
              <a:gd name="connsiteX546" fmla="*/ 4358784 w 6710000"/>
              <a:gd name="connsiteY546" fmla="*/ 6858000 h 6858000"/>
              <a:gd name="connsiteX547" fmla="*/ 4338751 w 6710000"/>
              <a:gd name="connsiteY547" fmla="*/ 6858000 h 6858000"/>
              <a:gd name="connsiteX548" fmla="*/ 4314974 w 6710000"/>
              <a:gd name="connsiteY548" fmla="*/ 6839584 h 6858000"/>
              <a:gd name="connsiteX549" fmla="*/ 4139300 w 6710000"/>
              <a:gd name="connsiteY549" fmla="*/ 6690112 h 6858000"/>
              <a:gd name="connsiteX550" fmla="*/ 3748732 w 6710000"/>
              <a:gd name="connsiteY550" fmla="*/ 6293577 h 6858000"/>
              <a:gd name="connsiteX551" fmla="*/ 2849882 w 6710000"/>
              <a:gd name="connsiteY551" fmla="*/ 4284862 h 6858000"/>
              <a:gd name="connsiteX552" fmla="*/ 2791295 w 6710000"/>
              <a:gd name="connsiteY552" fmla="*/ 2947165 h 6858000"/>
              <a:gd name="connsiteX553" fmla="*/ 3085308 w 6710000"/>
              <a:gd name="connsiteY553" fmla="*/ 2001123 h 6858000"/>
              <a:gd name="connsiteX554" fmla="*/ 3249128 w 6710000"/>
              <a:gd name="connsiteY554" fmla="*/ 1555224 h 6858000"/>
              <a:gd name="connsiteX555" fmla="*/ 3513847 w 6710000"/>
              <a:gd name="connsiteY55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</a:cxnLst>
            <a:rect l="l" t="t" r="r" b="b"/>
            <a:pathLst>
              <a:path w="6710000" h="6858000">
                <a:moveTo>
                  <a:pt x="0" y="6767133"/>
                </a:moveTo>
                <a:lnTo>
                  <a:pt x="61409" y="6858000"/>
                </a:lnTo>
                <a:lnTo>
                  <a:pt x="42656" y="6858000"/>
                </a:lnTo>
                <a:lnTo>
                  <a:pt x="0" y="6794901"/>
                </a:lnTo>
                <a:close/>
                <a:moveTo>
                  <a:pt x="0" y="6468280"/>
                </a:moveTo>
                <a:lnTo>
                  <a:pt x="72167" y="6593013"/>
                </a:lnTo>
                <a:cubicBezTo>
                  <a:pt x="123887" y="6676280"/>
                  <a:pt x="177772" y="6757157"/>
                  <a:pt x="233941" y="6835826"/>
                </a:cubicBezTo>
                <a:lnTo>
                  <a:pt x="250890" y="6858000"/>
                </a:lnTo>
                <a:lnTo>
                  <a:pt x="230297" y="6858000"/>
                </a:lnTo>
                <a:lnTo>
                  <a:pt x="217393" y="6841108"/>
                </a:lnTo>
                <a:cubicBezTo>
                  <a:pt x="161228" y="6762391"/>
                  <a:pt x="107343" y="6681451"/>
                  <a:pt x="55623" y="6598099"/>
                </a:cubicBezTo>
                <a:lnTo>
                  <a:pt x="0" y="6501837"/>
                </a:lnTo>
                <a:close/>
                <a:moveTo>
                  <a:pt x="0" y="6127856"/>
                </a:moveTo>
                <a:lnTo>
                  <a:pt x="74782" y="6280093"/>
                </a:lnTo>
                <a:cubicBezTo>
                  <a:pt x="133133" y="6390348"/>
                  <a:pt x="194722" y="6496524"/>
                  <a:pt x="259740" y="6599011"/>
                </a:cubicBezTo>
                <a:lnTo>
                  <a:pt x="439100" y="6858000"/>
                </a:lnTo>
                <a:lnTo>
                  <a:pt x="420644" y="6858000"/>
                </a:lnTo>
                <a:lnTo>
                  <a:pt x="243317" y="6602664"/>
                </a:lnTo>
                <a:cubicBezTo>
                  <a:pt x="177983" y="6499966"/>
                  <a:pt x="116078" y="6393575"/>
                  <a:pt x="57373" y="6283122"/>
                </a:cubicBezTo>
                <a:lnTo>
                  <a:pt x="0" y="6166955"/>
                </a:lnTo>
                <a:close/>
                <a:moveTo>
                  <a:pt x="0" y="5727262"/>
                </a:moveTo>
                <a:lnTo>
                  <a:pt x="93060" y="5950881"/>
                </a:lnTo>
                <a:cubicBezTo>
                  <a:pt x="219449" y="6232060"/>
                  <a:pt x="363554" y="6488065"/>
                  <a:pt x="528035" y="6723817"/>
                </a:cubicBezTo>
                <a:lnTo>
                  <a:pt x="626660" y="6858000"/>
                </a:lnTo>
                <a:lnTo>
                  <a:pt x="607172" y="6858000"/>
                </a:lnTo>
                <a:lnTo>
                  <a:pt x="511220" y="6727192"/>
                </a:lnTo>
                <a:cubicBezTo>
                  <a:pt x="346738" y="6491042"/>
                  <a:pt x="202633" y="6234878"/>
                  <a:pt x="76244" y="5953636"/>
                </a:cubicBezTo>
                <a:lnTo>
                  <a:pt x="0" y="5770403"/>
                </a:lnTo>
                <a:close/>
                <a:moveTo>
                  <a:pt x="0" y="5218362"/>
                </a:moveTo>
                <a:lnTo>
                  <a:pt x="23141" y="5299255"/>
                </a:lnTo>
                <a:cubicBezTo>
                  <a:pt x="193678" y="5825777"/>
                  <a:pt x="407015" y="6274320"/>
                  <a:pt x="677327" y="6667002"/>
                </a:cubicBezTo>
                <a:lnTo>
                  <a:pt x="818345" y="6858000"/>
                </a:lnTo>
                <a:lnTo>
                  <a:pt x="797399" y="6858000"/>
                </a:lnTo>
                <a:lnTo>
                  <a:pt x="659968" y="6671426"/>
                </a:lnTo>
                <a:cubicBezTo>
                  <a:pt x="389657" y="6277710"/>
                  <a:pt x="176319" y="5827472"/>
                  <a:pt x="5783" y="5299255"/>
                </a:cubicBezTo>
                <a:lnTo>
                  <a:pt x="0" y="5279204"/>
                </a:lnTo>
                <a:close/>
                <a:moveTo>
                  <a:pt x="0" y="4465450"/>
                </a:moveTo>
                <a:lnTo>
                  <a:pt x="5037" y="4510117"/>
                </a:lnTo>
                <a:cubicBezTo>
                  <a:pt x="41314" y="4738898"/>
                  <a:pt x="100171" y="4981918"/>
                  <a:pt x="182081" y="5242297"/>
                </a:cubicBezTo>
                <a:cubicBezTo>
                  <a:pt x="380622" y="5874123"/>
                  <a:pt x="642934" y="6393660"/>
                  <a:pt x="990300" y="6839127"/>
                </a:cubicBezTo>
                <a:lnTo>
                  <a:pt x="1006050" y="6858000"/>
                </a:lnTo>
                <a:lnTo>
                  <a:pt x="984214" y="6858000"/>
                </a:lnTo>
                <a:lnTo>
                  <a:pt x="972958" y="6844510"/>
                </a:lnTo>
                <a:cubicBezTo>
                  <a:pt x="625541" y="6398916"/>
                  <a:pt x="362721" y="5878870"/>
                  <a:pt x="160926" y="5245010"/>
                </a:cubicBezTo>
                <a:cubicBezTo>
                  <a:pt x="119971" y="5114685"/>
                  <a:pt x="85050" y="4988767"/>
                  <a:pt x="55970" y="4866800"/>
                </a:cubicBezTo>
                <a:lnTo>
                  <a:pt x="0" y="4583010"/>
                </a:lnTo>
                <a:close/>
                <a:moveTo>
                  <a:pt x="5126028" y="2170"/>
                </a:moveTo>
                <a:lnTo>
                  <a:pt x="5142843" y="2170"/>
                </a:lnTo>
                <a:cubicBezTo>
                  <a:pt x="5104872" y="380262"/>
                  <a:pt x="5012655" y="753473"/>
                  <a:pt x="4865649" y="1121800"/>
                </a:cubicBezTo>
                <a:cubicBezTo>
                  <a:pt x="4798383" y="1280198"/>
                  <a:pt x="4727323" y="1438052"/>
                  <a:pt x="4655718" y="1593737"/>
                </a:cubicBezTo>
                <a:cubicBezTo>
                  <a:pt x="4521190" y="1875815"/>
                  <a:pt x="4382863" y="2168741"/>
                  <a:pt x="4311259" y="2464379"/>
                </a:cubicBezTo>
                <a:cubicBezTo>
                  <a:pt x="4197884" y="2923297"/>
                  <a:pt x="4239655" y="3384927"/>
                  <a:pt x="4290102" y="3778751"/>
                </a:cubicBezTo>
                <a:cubicBezTo>
                  <a:pt x="4370386" y="4356466"/>
                  <a:pt x="4525528" y="5105599"/>
                  <a:pt x="5033811" y="5774448"/>
                </a:cubicBezTo>
                <a:cubicBezTo>
                  <a:pt x="5134164" y="5912231"/>
                  <a:pt x="5256216" y="6046760"/>
                  <a:pt x="5386407" y="6176406"/>
                </a:cubicBezTo>
                <a:cubicBezTo>
                  <a:pt x="5602575" y="6387694"/>
                  <a:pt x="5852376" y="6587996"/>
                  <a:pt x="6134792" y="6775957"/>
                </a:cubicBezTo>
                <a:lnTo>
                  <a:pt x="6263750" y="6858000"/>
                </a:lnTo>
                <a:lnTo>
                  <a:pt x="6240757" y="6858000"/>
                </a:lnTo>
                <a:lnTo>
                  <a:pt x="6121638" y="6782466"/>
                </a:lnTo>
                <a:cubicBezTo>
                  <a:pt x="5838137" y="6594234"/>
                  <a:pt x="5588200" y="6393389"/>
                  <a:pt x="5373930" y="6180746"/>
                </a:cubicBezTo>
                <a:cubicBezTo>
                  <a:pt x="5239400" y="6051099"/>
                  <a:pt x="5122231" y="5916027"/>
                  <a:pt x="5016994" y="5778787"/>
                </a:cubicBezTo>
                <a:cubicBezTo>
                  <a:pt x="4508712" y="5107226"/>
                  <a:pt x="4353027" y="4358094"/>
                  <a:pt x="4273287" y="3777665"/>
                </a:cubicBezTo>
                <a:cubicBezTo>
                  <a:pt x="4219039" y="3386011"/>
                  <a:pt x="4181069" y="2922213"/>
                  <a:pt x="4294441" y="2463294"/>
                </a:cubicBezTo>
                <a:cubicBezTo>
                  <a:pt x="4365504" y="2165487"/>
                  <a:pt x="4504372" y="1872559"/>
                  <a:pt x="4634562" y="1589939"/>
                </a:cubicBezTo>
                <a:cubicBezTo>
                  <a:pt x="4709963" y="1434254"/>
                  <a:pt x="4781568" y="1275859"/>
                  <a:pt x="4844493" y="1118004"/>
                </a:cubicBezTo>
                <a:cubicBezTo>
                  <a:pt x="4991498" y="750219"/>
                  <a:pt x="5088056" y="377008"/>
                  <a:pt x="5126028" y="2170"/>
                </a:cubicBezTo>
                <a:close/>
                <a:moveTo>
                  <a:pt x="5302868" y="1628"/>
                </a:moveTo>
                <a:lnTo>
                  <a:pt x="5319685" y="1628"/>
                </a:lnTo>
                <a:cubicBezTo>
                  <a:pt x="5277915" y="361818"/>
                  <a:pt x="5185156" y="719297"/>
                  <a:pt x="5042488" y="1071894"/>
                </a:cubicBezTo>
                <a:cubicBezTo>
                  <a:pt x="4975223" y="1229749"/>
                  <a:pt x="4899824" y="1390316"/>
                  <a:pt x="4828219" y="1546001"/>
                </a:cubicBezTo>
                <a:cubicBezTo>
                  <a:pt x="4693688" y="1825909"/>
                  <a:pt x="4554822" y="2116123"/>
                  <a:pt x="4479419" y="2411762"/>
                </a:cubicBezTo>
                <a:cubicBezTo>
                  <a:pt x="4361707" y="2865254"/>
                  <a:pt x="4399678" y="3329055"/>
                  <a:pt x="4450126" y="3720708"/>
                </a:cubicBezTo>
                <a:cubicBezTo>
                  <a:pt x="4526070" y="4298424"/>
                  <a:pt x="4676873" y="5047556"/>
                  <a:pt x="5172679" y="5716404"/>
                </a:cubicBezTo>
                <a:cubicBezTo>
                  <a:pt x="5277373" y="5854188"/>
                  <a:pt x="5395086" y="5988718"/>
                  <a:pt x="5525274" y="6118364"/>
                </a:cubicBezTo>
                <a:cubicBezTo>
                  <a:pt x="5739545" y="6331007"/>
                  <a:pt x="5988396" y="6531987"/>
                  <a:pt x="6269795" y="6720287"/>
                </a:cubicBezTo>
                <a:lnTo>
                  <a:pt x="6485166" y="6858000"/>
                </a:lnTo>
                <a:lnTo>
                  <a:pt x="6459959" y="6858000"/>
                </a:lnTo>
                <a:lnTo>
                  <a:pt x="6254606" y="6726797"/>
                </a:lnTo>
                <a:cubicBezTo>
                  <a:pt x="5972123" y="6537955"/>
                  <a:pt x="5722186" y="6336432"/>
                  <a:pt x="5507917" y="6123789"/>
                </a:cubicBezTo>
                <a:cubicBezTo>
                  <a:pt x="5377726" y="5994143"/>
                  <a:pt x="5260557" y="5859071"/>
                  <a:pt x="5155319" y="5721828"/>
                </a:cubicBezTo>
                <a:cubicBezTo>
                  <a:pt x="4655176" y="5050268"/>
                  <a:pt x="4508170" y="4301679"/>
                  <a:pt x="4432767" y="3723420"/>
                </a:cubicBezTo>
                <a:cubicBezTo>
                  <a:pt x="4382319" y="3329055"/>
                  <a:pt x="4344347" y="2865254"/>
                  <a:pt x="4462062" y="2409049"/>
                </a:cubicBezTo>
                <a:cubicBezTo>
                  <a:pt x="4537462" y="2113410"/>
                  <a:pt x="4676331" y="1823196"/>
                  <a:pt x="4806521" y="1543289"/>
                </a:cubicBezTo>
                <a:cubicBezTo>
                  <a:pt x="4882464" y="1388146"/>
                  <a:pt x="4957866" y="1227037"/>
                  <a:pt x="5025132" y="1069182"/>
                </a:cubicBezTo>
                <a:cubicBezTo>
                  <a:pt x="5168338" y="719297"/>
                  <a:pt x="5260557" y="361276"/>
                  <a:pt x="5302868" y="1628"/>
                </a:cubicBezTo>
                <a:close/>
                <a:moveTo>
                  <a:pt x="4949188" y="1628"/>
                </a:moveTo>
                <a:lnTo>
                  <a:pt x="4966003" y="1628"/>
                </a:lnTo>
                <a:cubicBezTo>
                  <a:pt x="4928032" y="395452"/>
                  <a:pt x="4835812" y="784392"/>
                  <a:pt x="4684468" y="1167910"/>
                </a:cubicBezTo>
                <a:cubicBezTo>
                  <a:pt x="4625882" y="1326306"/>
                  <a:pt x="4550481" y="1484161"/>
                  <a:pt x="4478877" y="1639846"/>
                </a:cubicBezTo>
                <a:cubicBezTo>
                  <a:pt x="4348688" y="1925179"/>
                  <a:pt x="4214701" y="2220274"/>
                  <a:pt x="4143096" y="2518625"/>
                </a:cubicBezTo>
                <a:cubicBezTo>
                  <a:pt x="4034062" y="2979712"/>
                  <a:pt x="4076375" y="3441343"/>
                  <a:pt x="4134959" y="3835167"/>
                </a:cubicBezTo>
                <a:cubicBezTo>
                  <a:pt x="4219039" y="4412883"/>
                  <a:pt x="4378523" y="5162014"/>
                  <a:pt x="4891144" y="5830862"/>
                </a:cubicBezTo>
                <a:cubicBezTo>
                  <a:pt x="4996382" y="5968646"/>
                  <a:pt x="5117890" y="6103176"/>
                  <a:pt x="5252419" y="6232823"/>
                </a:cubicBezTo>
                <a:cubicBezTo>
                  <a:pt x="5466689" y="6442753"/>
                  <a:pt x="5717711" y="6642377"/>
                  <a:pt x="6002296" y="6830338"/>
                </a:cubicBezTo>
                <a:lnTo>
                  <a:pt x="6046090" y="6858000"/>
                </a:lnTo>
                <a:lnTo>
                  <a:pt x="6022791" y="6858000"/>
                </a:lnTo>
                <a:lnTo>
                  <a:pt x="5990091" y="6837390"/>
                </a:lnTo>
                <a:cubicBezTo>
                  <a:pt x="5704556" y="6649158"/>
                  <a:pt x="5452586" y="6448992"/>
                  <a:pt x="5236146" y="6237705"/>
                </a:cubicBezTo>
                <a:cubicBezTo>
                  <a:pt x="5101617" y="6108057"/>
                  <a:pt x="4980107" y="5972985"/>
                  <a:pt x="4874871" y="5835744"/>
                </a:cubicBezTo>
                <a:cubicBezTo>
                  <a:pt x="4362249" y="5164183"/>
                  <a:pt x="4198428" y="4412883"/>
                  <a:pt x="4114346" y="3834624"/>
                </a:cubicBezTo>
                <a:cubicBezTo>
                  <a:pt x="4059558" y="3440800"/>
                  <a:pt x="4017789" y="2976999"/>
                  <a:pt x="4126822" y="2515371"/>
                </a:cubicBezTo>
                <a:cubicBezTo>
                  <a:pt x="4197884" y="2217020"/>
                  <a:pt x="4332415" y="1921924"/>
                  <a:pt x="4462604" y="1636591"/>
                </a:cubicBezTo>
                <a:cubicBezTo>
                  <a:pt x="4533665" y="1480906"/>
                  <a:pt x="4605270" y="1322509"/>
                  <a:pt x="4668195" y="1164654"/>
                </a:cubicBezTo>
                <a:cubicBezTo>
                  <a:pt x="4819539" y="783850"/>
                  <a:pt x="4911759" y="392740"/>
                  <a:pt x="4949188" y="1628"/>
                </a:cubicBezTo>
                <a:close/>
                <a:moveTo>
                  <a:pt x="4768549" y="1628"/>
                </a:moveTo>
                <a:lnTo>
                  <a:pt x="4785365" y="1628"/>
                </a:lnTo>
                <a:cubicBezTo>
                  <a:pt x="4756073" y="411184"/>
                  <a:pt x="4663312" y="818026"/>
                  <a:pt x="4508170" y="1217273"/>
                </a:cubicBezTo>
                <a:cubicBezTo>
                  <a:pt x="4449042" y="1375670"/>
                  <a:pt x="4377980" y="1533524"/>
                  <a:pt x="4306375" y="1686497"/>
                </a:cubicBezTo>
                <a:cubicBezTo>
                  <a:pt x="4179983" y="1973999"/>
                  <a:pt x="4045997" y="2272351"/>
                  <a:pt x="3974392" y="2572871"/>
                </a:cubicBezTo>
                <a:cubicBezTo>
                  <a:pt x="3869156" y="3033959"/>
                  <a:pt x="3915807" y="3497758"/>
                  <a:pt x="3974392" y="3889412"/>
                </a:cubicBezTo>
                <a:cubicBezTo>
                  <a:pt x="4062270" y="4467670"/>
                  <a:pt x="4230432" y="5216259"/>
                  <a:pt x="4751189" y="5887821"/>
                </a:cubicBezTo>
                <a:cubicBezTo>
                  <a:pt x="4856425" y="6025604"/>
                  <a:pt x="4977938" y="6160133"/>
                  <a:pt x="5112467" y="6289780"/>
                </a:cubicBezTo>
                <a:cubicBezTo>
                  <a:pt x="5274593" y="6446211"/>
                  <a:pt x="5457468" y="6597225"/>
                  <a:pt x="5659720" y="6742109"/>
                </a:cubicBezTo>
                <a:lnTo>
                  <a:pt x="5829044" y="6858000"/>
                </a:lnTo>
                <a:lnTo>
                  <a:pt x="5805955" y="6858000"/>
                </a:lnTo>
                <a:lnTo>
                  <a:pt x="5646726" y="6749042"/>
                </a:lnTo>
                <a:cubicBezTo>
                  <a:pt x="5443839" y="6603761"/>
                  <a:pt x="5259946" y="6452111"/>
                  <a:pt x="5096192" y="6294663"/>
                </a:cubicBezTo>
                <a:cubicBezTo>
                  <a:pt x="4961663" y="6165016"/>
                  <a:pt x="4840154" y="6029944"/>
                  <a:pt x="4734917" y="5892702"/>
                </a:cubicBezTo>
                <a:cubicBezTo>
                  <a:pt x="4214159" y="5218429"/>
                  <a:pt x="4046539" y="4469839"/>
                  <a:pt x="3958119" y="3891582"/>
                </a:cubicBezTo>
                <a:cubicBezTo>
                  <a:pt x="3899533" y="3497758"/>
                  <a:pt x="3852883" y="3033416"/>
                  <a:pt x="3958119" y="2569615"/>
                </a:cubicBezTo>
                <a:cubicBezTo>
                  <a:pt x="4029723" y="2269095"/>
                  <a:pt x="4164253" y="1970744"/>
                  <a:pt x="4290102" y="1683243"/>
                </a:cubicBezTo>
                <a:cubicBezTo>
                  <a:pt x="4361707" y="1530269"/>
                  <a:pt x="4433312" y="1371873"/>
                  <a:pt x="4491897" y="1214017"/>
                </a:cubicBezTo>
                <a:cubicBezTo>
                  <a:pt x="4647039" y="814770"/>
                  <a:pt x="4739799" y="410640"/>
                  <a:pt x="4768549" y="1628"/>
                </a:cubicBezTo>
                <a:close/>
                <a:moveTo>
                  <a:pt x="4591166" y="1628"/>
                </a:moveTo>
                <a:lnTo>
                  <a:pt x="4607983" y="1628"/>
                </a:lnTo>
                <a:cubicBezTo>
                  <a:pt x="4578691" y="426914"/>
                  <a:pt x="4485930" y="849488"/>
                  <a:pt x="4330786" y="1266636"/>
                </a:cubicBezTo>
                <a:cubicBezTo>
                  <a:pt x="4272201" y="1421778"/>
                  <a:pt x="4200599" y="1580176"/>
                  <a:pt x="4133333" y="1730437"/>
                </a:cubicBezTo>
                <a:cubicBezTo>
                  <a:pt x="4007482" y="2023362"/>
                  <a:pt x="3877293" y="2323884"/>
                  <a:pt x="3810028" y="2627116"/>
                </a:cubicBezTo>
                <a:cubicBezTo>
                  <a:pt x="3705334" y="3090916"/>
                  <a:pt x="3755783" y="3554716"/>
                  <a:pt x="3814368" y="3946370"/>
                </a:cubicBezTo>
                <a:cubicBezTo>
                  <a:pt x="3906585" y="4524628"/>
                  <a:pt x="4078544" y="5273217"/>
                  <a:pt x="4607983" y="5944777"/>
                </a:cubicBezTo>
                <a:cubicBezTo>
                  <a:pt x="4717559" y="6082563"/>
                  <a:pt x="4839067" y="6217092"/>
                  <a:pt x="4973597" y="6346738"/>
                </a:cubicBezTo>
                <a:cubicBezTo>
                  <a:pt x="5137351" y="6502152"/>
                  <a:pt x="5321167" y="6652150"/>
                  <a:pt x="5524416" y="6796302"/>
                </a:cubicBezTo>
                <a:lnTo>
                  <a:pt x="5615411" y="6858000"/>
                </a:lnTo>
                <a:lnTo>
                  <a:pt x="5592917" y="6858000"/>
                </a:lnTo>
                <a:lnTo>
                  <a:pt x="5512626" y="6803376"/>
                </a:lnTo>
                <a:cubicBezTo>
                  <a:pt x="5309309" y="6658683"/>
                  <a:pt x="5125417" y="6508050"/>
                  <a:pt x="4961663" y="6351619"/>
                </a:cubicBezTo>
                <a:cubicBezTo>
                  <a:pt x="4823336" y="6221973"/>
                  <a:pt x="4701284" y="6086902"/>
                  <a:pt x="4592250" y="5949660"/>
                </a:cubicBezTo>
                <a:cubicBezTo>
                  <a:pt x="4063356" y="5275386"/>
                  <a:pt x="3890855" y="4526797"/>
                  <a:pt x="3798637" y="3948538"/>
                </a:cubicBezTo>
                <a:cubicBezTo>
                  <a:pt x="3735712" y="3554174"/>
                  <a:pt x="3689604" y="3090374"/>
                  <a:pt x="3790500" y="2623862"/>
                </a:cubicBezTo>
                <a:cubicBezTo>
                  <a:pt x="3857764" y="2320629"/>
                  <a:pt x="3992294" y="2020108"/>
                  <a:pt x="4118143" y="1727181"/>
                </a:cubicBezTo>
                <a:cubicBezTo>
                  <a:pt x="4185408" y="1576921"/>
                  <a:pt x="4257012" y="1419067"/>
                  <a:pt x="4315597" y="1263380"/>
                </a:cubicBezTo>
                <a:cubicBezTo>
                  <a:pt x="4470741" y="848402"/>
                  <a:pt x="4563500" y="426371"/>
                  <a:pt x="4591166" y="1628"/>
                </a:cubicBezTo>
                <a:close/>
                <a:moveTo>
                  <a:pt x="4411613" y="1628"/>
                </a:moveTo>
                <a:lnTo>
                  <a:pt x="4428428" y="1628"/>
                </a:lnTo>
                <a:cubicBezTo>
                  <a:pt x="4407816" y="442646"/>
                  <a:pt x="4315055" y="883119"/>
                  <a:pt x="4155574" y="1316000"/>
                </a:cubicBezTo>
                <a:cubicBezTo>
                  <a:pt x="4096988" y="1471685"/>
                  <a:pt x="4029723" y="1627370"/>
                  <a:pt x="3962458" y="1777631"/>
                </a:cubicBezTo>
                <a:cubicBezTo>
                  <a:pt x="3836608" y="2070556"/>
                  <a:pt x="3706420" y="2373789"/>
                  <a:pt x="3643494" y="2679735"/>
                </a:cubicBezTo>
                <a:cubicBezTo>
                  <a:pt x="3542598" y="3151671"/>
                  <a:pt x="3597386" y="3633914"/>
                  <a:pt x="3660310" y="4004412"/>
                </a:cubicBezTo>
                <a:cubicBezTo>
                  <a:pt x="3756869" y="4582670"/>
                  <a:pt x="3933709" y="5331260"/>
                  <a:pt x="4466944" y="6002821"/>
                </a:cubicBezTo>
                <a:cubicBezTo>
                  <a:pt x="4575976" y="6140606"/>
                  <a:pt x="4701826" y="6275134"/>
                  <a:pt x="4840696" y="6404781"/>
                </a:cubicBezTo>
                <a:cubicBezTo>
                  <a:pt x="5004450" y="6559381"/>
                  <a:pt x="5188877" y="6708794"/>
                  <a:pt x="5392889" y="6852676"/>
                </a:cubicBezTo>
                <a:lnTo>
                  <a:pt x="5400780" y="6858000"/>
                </a:lnTo>
                <a:lnTo>
                  <a:pt x="5377398" y="6858000"/>
                </a:lnTo>
                <a:lnTo>
                  <a:pt x="5181205" y="6713413"/>
                </a:lnTo>
                <a:cubicBezTo>
                  <a:pt x="5053304" y="6614678"/>
                  <a:pt x="4934133" y="6513408"/>
                  <a:pt x="4823879" y="6409663"/>
                </a:cubicBezTo>
                <a:cubicBezTo>
                  <a:pt x="4685552" y="6280015"/>
                  <a:pt x="4563500" y="6144944"/>
                  <a:pt x="4454468" y="6007703"/>
                </a:cubicBezTo>
                <a:cubicBezTo>
                  <a:pt x="3916892" y="5333430"/>
                  <a:pt x="3736254" y="4582128"/>
                  <a:pt x="3644036" y="4003870"/>
                </a:cubicBezTo>
                <a:cubicBezTo>
                  <a:pt x="3581112" y="3635542"/>
                  <a:pt x="3521983" y="3151128"/>
                  <a:pt x="3627220" y="2679193"/>
                </a:cubicBezTo>
                <a:cubicBezTo>
                  <a:pt x="3690146" y="2373247"/>
                  <a:pt x="3820334" y="2067301"/>
                  <a:pt x="3946184" y="1774375"/>
                </a:cubicBezTo>
                <a:cubicBezTo>
                  <a:pt x="4012907" y="1623573"/>
                  <a:pt x="4080171" y="1468430"/>
                  <a:pt x="4134959" y="1312746"/>
                </a:cubicBezTo>
                <a:cubicBezTo>
                  <a:pt x="4298782" y="879865"/>
                  <a:pt x="4390999" y="441560"/>
                  <a:pt x="4411613" y="1628"/>
                </a:cubicBezTo>
                <a:close/>
                <a:moveTo>
                  <a:pt x="3875123" y="1628"/>
                </a:moveTo>
                <a:lnTo>
                  <a:pt x="3891940" y="1628"/>
                </a:lnTo>
                <a:cubicBezTo>
                  <a:pt x="3878920" y="491467"/>
                  <a:pt x="3791042" y="978592"/>
                  <a:pt x="3622881" y="1460836"/>
                </a:cubicBezTo>
                <a:cubicBezTo>
                  <a:pt x="3568635" y="1613808"/>
                  <a:pt x="3505168" y="1766780"/>
                  <a:pt x="3446582" y="1914329"/>
                </a:cubicBezTo>
                <a:cubicBezTo>
                  <a:pt x="3325072" y="2215392"/>
                  <a:pt x="3198680" y="2528932"/>
                  <a:pt x="3140095" y="2842471"/>
                </a:cubicBezTo>
                <a:cubicBezTo>
                  <a:pt x="3051677" y="3319290"/>
                  <a:pt x="3114600" y="3803704"/>
                  <a:pt x="3186204" y="4172031"/>
                </a:cubicBezTo>
                <a:cubicBezTo>
                  <a:pt x="3290899" y="4750289"/>
                  <a:pt x="3488351" y="5499422"/>
                  <a:pt x="4047082" y="6173153"/>
                </a:cubicBezTo>
                <a:cubicBezTo>
                  <a:pt x="4160455" y="6310393"/>
                  <a:pt x="4286847" y="6445465"/>
                  <a:pt x="4429513" y="6572400"/>
                </a:cubicBezTo>
                <a:cubicBezTo>
                  <a:pt x="4484641" y="6623256"/>
                  <a:pt x="4542192" y="6673628"/>
                  <a:pt x="4602120" y="6723496"/>
                </a:cubicBezTo>
                <a:lnTo>
                  <a:pt x="4771866" y="6858000"/>
                </a:lnTo>
                <a:lnTo>
                  <a:pt x="4748471" y="6858000"/>
                </a:lnTo>
                <a:lnTo>
                  <a:pt x="4586735" y="6730859"/>
                </a:lnTo>
                <a:cubicBezTo>
                  <a:pt x="4526392" y="6681171"/>
                  <a:pt x="4468366" y="6631053"/>
                  <a:pt x="4412697" y="6580537"/>
                </a:cubicBezTo>
                <a:cubicBezTo>
                  <a:pt x="4269490" y="6450890"/>
                  <a:pt x="4143639" y="6315818"/>
                  <a:pt x="4030265" y="6178577"/>
                </a:cubicBezTo>
                <a:cubicBezTo>
                  <a:pt x="3472078" y="5501592"/>
                  <a:pt x="3274625" y="4750289"/>
                  <a:pt x="3169387" y="4174744"/>
                </a:cubicBezTo>
                <a:cubicBezTo>
                  <a:pt x="3098327" y="3804247"/>
                  <a:pt x="3031061" y="3319290"/>
                  <a:pt x="3123279" y="2839759"/>
                </a:cubicBezTo>
                <a:cubicBezTo>
                  <a:pt x="3181863" y="2525677"/>
                  <a:pt x="3307714" y="2214850"/>
                  <a:pt x="3429766" y="1911616"/>
                </a:cubicBezTo>
                <a:cubicBezTo>
                  <a:pt x="3488351" y="1764068"/>
                  <a:pt x="3551277" y="1611096"/>
                  <a:pt x="3606065" y="1458123"/>
                </a:cubicBezTo>
                <a:cubicBezTo>
                  <a:pt x="3774227" y="978592"/>
                  <a:pt x="3862647" y="491467"/>
                  <a:pt x="3875123" y="1628"/>
                </a:cubicBezTo>
                <a:close/>
                <a:moveTo>
                  <a:pt x="2967596" y="1628"/>
                </a:moveTo>
                <a:lnTo>
                  <a:pt x="2984412" y="1628"/>
                </a:lnTo>
                <a:cubicBezTo>
                  <a:pt x="2996886" y="569037"/>
                  <a:pt x="2912807" y="1139159"/>
                  <a:pt x="2736509" y="1704398"/>
                </a:cubicBezTo>
                <a:cubicBezTo>
                  <a:pt x="2690400" y="1849777"/>
                  <a:pt x="2635610" y="1997325"/>
                  <a:pt x="2585163" y="2139990"/>
                </a:cubicBezTo>
                <a:cubicBezTo>
                  <a:pt x="2471790" y="2456243"/>
                  <a:pt x="2354078" y="2782801"/>
                  <a:pt x="2303629" y="3112071"/>
                </a:cubicBezTo>
                <a:cubicBezTo>
                  <a:pt x="2248841" y="3492877"/>
                  <a:pt x="2273794" y="3918163"/>
                  <a:pt x="2395845" y="4454651"/>
                </a:cubicBezTo>
                <a:cubicBezTo>
                  <a:pt x="2584622" y="5309562"/>
                  <a:pt x="2874835" y="5929048"/>
                  <a:pt x="3340804" y="6460655"/>
                </a:cubicBezTo>
                <a:cubicBezTo>
                  <a:pt x="3458517" y="6595183"/>
                  <a:pt x="3593046" y="6730254"/>
                  <a:pt x="3740052" y="6857190"/>
                </a:cubicBezTo>
                <a:lnTo>
                  <a:pt x="3741038" y="6858000"/>
                </a:lnTo>
                <a:lnTo>
                  <a:pt x="3722011" y="6858000"/>
                </a:lnTo>
                <a:lnTo>
                  <a:pt x="3516695" y="6667737"/>
                </a:lnTo>
                <a:cubicBezTo>
                  <a:pt x="3449566" y="6601286"/>
                  <a:pt x="3385556" y="6533885"/>
                  <a:pt x="3324530" y="6466620"/>
                </a:cubicBezTo>
                <a:cubicBezTo>
                  <a:pt x="2858019" y="5932843"/>
                  <a:pt x="2568346" y="5313359"/>
                  <a:pt x="2375233" y="4455193"/>
                </a:cubicBezTo>
                <a:cubicBezTo>
                  <a:pt x="2303629" y="4118328"/>
                  <a:pt x="2211411" y="3612759"/>
                  <a:pt x="2286813" y="3109903"/>
                </a:cubicBezTo>
                <a:cubicBezTo>
                  <a:pt x="2337259" y="2780631"/>
                  <a:pt x="2454974" y="2454072"/>
                  <a:pt x="2568346" y="2137821"/>
                </a:cubicBezTo>
                <a:cubicBezTo>
                  <a:pt x="2618794" y="1995155"/>
                  <a:pt x="2669244" y="1847607"/>
                  <a:pt x="2715351" y="1702229"/>
                </a:cubicBezTo>
                <a:cubicBezTo>
                  <a:pt x="2895991" y="1139701"/>
                  <a:pt x="2980072" y="569037"/>
                  <a:pt x="2967596" y="1628"/>
                </a:cubicBezTo>
                <a:close/>
                <a:moveTo>
                  <a:pt x="2781533" y="1628"/>
                </a:moveTo>
                <a:lnTo>
                  <a:pt x="2802687" y="1628"/>
                </a:lnTo>
                <a:cubicBezTo>
                  <a:pt x="2815165" y="584768"/>
                  <a:pt x="2735423" y="1170621"/>
                  <a:pt x="2554787" y="1751050"/>
                </a:cubicBezTo>
                <a:cubicBezTo>
                  <a:pt x="2513016" y="1896428"/>
                  <a:pt x="2462569" y="2043975"/>
                  <a:pt x="2412119" y="2183930"/>
                </a:cubicBezTo>
                <a:cubicBezTo>
                  <a:pt x="2298746" y="2502894"/>
                  <a:pt x="2185374" y="2834335"/>
                  <a:pt x="2139264" y="3163606"/>
                </a:cubicBezTo>
                <a:cubicBezTo>
                  <a:pt x="2084476" y="3547122"/>
                  <a:pt x="2113768" y="3975120"/>
                  <a:pt x="2235821" y="4508896"/>
                </a:cubicBezTo>
                <a:cubicBezTo>
                  <a:pt x="2357331" y="5039961"/>
                  <a:pt x="2588418" y="5828150"/>
                  <a:pt x="3197595" y="6517612"/>
                </a:cubicBezTo>
                <a:cubicBezTo>
                  <a:pt x="3258350" y="6584877"/>
                  <a:pt x="3322360" y="6652277"/>
                  <a:pt x="3390100" y="6718728"/>
                </a:cubicBezTo>
                <a:lnTo>
                  <a:pt x="3543243" y="6858000"/>
                </a:lnTo>
                <a:lnTo>
                  <a:pt x="3521208" y="6858000"/>
                </a:lnTo>
                <a:lnTo>
                  <a:pt x="3375656" y="6724152"/>
                </a:lnTo>
                <a:cubicBezTo>
                  <a:pt x="3307985" y="6657701"/>
                  <a:pt x="3243975" y="6590301"/>
                  <a:pt x="3185119" y="6523037"/>
                </a:cubicBezTo>
                <a:cubicBezTo>
                  <a:pt x="2571602" y="5830862"/>
                  <a:pt x="2341058" y="5043217"/>
                  <a:pt x="2219005" y="4511610"/>
                </a:cubicBezTo>
                <a:cubicBezTo>
                  <a:pt x="2096953" y="3977288"/>
                  <a:pt x="2063319" y="3547122"/>
                  <a:pt x="2118109" y="3163606"/>
                </a:cubicBezTo>
                <a:cubicBezTo>
                  <a:pt x="2168558" y="2831622"/>
                  <a:pt x="2281931" y="2502894"/>
                  <a:pt x="2395304" y="2181217"/>
                </a:cubicBezTo>
                <a:cubicBezTo>
                  <a:pt x="2441413" y="2041264"/>
                  <a:pt x="2496201" y="1896428"/>
                  <a:pt x="2537968" y="1751050"/>
                </a:cubicBezTo>
                <a:cubicBezTo>
                  <a:pt x="2718608" y="1170621"/>
                  <a:pt x="2798349" y="584768"/>
                  <a:pt x="2781533" y="1628"/>
                </a:cubicBezTo>
                <a:close/>
                <a:moveTo>
                  <a:pt x="2601437" y="1628"/>
                </a:moveTo>
                <a:lnTo>
                  <a:pt x="2618253" y="1628"/>
                </a:lnTo>
                <a:cubicBezTo>
                  <a:pt x="2639409" y="600500"/>
                  <a:pt x="2559668" y="1204254"/>
                  <a:pt x="2379030" y="1800413"/>
                </a:cubicBezTo>
                <a:cubicBezTo>
                  <a:pt x="2336718" y="1945249"/>
                  <a:pt x="2286271" y="2087915"/>
                  <a:pt x="2240161" y="2227868"/>
                </a:cubicBezTo>
                <a:cubicBezTo>
                  <a:pt x="2130585" y="2551716"/>
                  <a:pt x="2017211" y="2883698"/>
                  <a:pt x="1971101" y="3217851"/>
                </a:cubicBezTo>
                <a:cubicBezTo>
                  <a:pt x="1916858" y="3604080"/>
                  <a:pt x="1954286" y="4032077"/>
                  <a:pt x="2076338" y="4565854"/>
                </a:cubicBezTo>
                <a:cubicBezTo>
                  <a:pt x="2278133" y="5411000"/>
                  <a:pt x="2588958" y="6048387"/>
                  <a:pt x="3059271" y="6574569"/>
                </a:cubicBezTo>
                <a:cubicBezTo>
                  <a:pt x="3120025" y="6641834"/>
                  <a:pt x="3184034" y="6709234"/>
                  <a:pt x="3251774" y="6775685"/>
                </a:cubicBezTo>
                <a:lnTo>
                  <a:pt x="3342286" y="6858000"/>
                </a:lnTo>
                <a:lnTo>
                  <a:pt x="3323253" y="6858000"/>
                </a:lnTo>
                <a:lnTo>
                  <a:pt x="3237330" y="6780568"/>
                </a:lnTo>
                <a:cubicBezTo>
                  <a:pt x="3168574" y="6714117"/>
                  <a:pt x="3103480" y="6646716"/>
                  <a:pt x="3042453" y="6579451"/>
                </a:cubicBezTo>
                <a:cubicBezTo>
                  <a:pt x="2572143" y="6053269"/>
                  <a:pt x="2256977" y="5413172"/>
                  <a:pt x="2059523" y="4568025"/>
                </a:cubicBezTo>
                <a:cubicBezTo>
                  <a:pt x="1933131" y="4034247"/>
                  <a:pt x="1899498" y="3604080"/>
                  <a:pt x="1954286" y="3217851"/>
                </a:cubicBezTo>
                <a:cubicBezTo>
                  <a:pt x="1996598" y="2883698"/>
                  <a:pt x="2109971" y="2549544"/>
                  <a:pt x="2223343" y="2227868"/>
                </a:cubicBezTo>
                <a:cubicBezTo>
                  <a:pt x="2269997" y="2087915"/>
                  <a:pt x="2320443" y="1943079"/>
                  <a:pt x="2362214" y="1797702"/>
                </a:cubicBezTo>
                <a:cubicBezTo>
                  <a:pt x="2542852" y="1201541"/>
                  <a:pt x="2622594" y="597787"/>
                  <a:pt x="2601437" y="1628"/>
                </a:cubicBezTo>
                <a:close/>
                <a:moveTo>
                  <a:pt x="2417001" y="1628"/>
                </a:moveTo>
                <a:lnTo>
                  <a:pt x="2438158" y="1628"/>
                </a:lnTo>
                <a:cubicBezTo>
                  <a:pt x="2463111" y="616231"/>
                  <a:pt x="2383370" y="1235717"/>
                  <a:pt x="2202731" y="1849777"/>
                </a:cubicBezTo>
                <a:cubicBezTo>
                  <a:pt x="2160420" y="1992442"/>
                  <a:pt x="2114310" y="2135108"/>
                  <a:pt x="2068202" y="2275062"/>
                </a:cubicBezTo>
                <a:cubicBezTo>
                  <a:pt x="1958626" y="2599451"/>
                  <a:pt x="1845253" y="2936316"/>
                  <a:pt x="1803485" y="3273182"/>
                </a:cubicBezTo>
                <a:cubicBezTo>
                  <a:pt x="1753036" y="3661580"/>
                  <a:pt x="1791007" y="4089578"/>
                  <a:pt x="1921196" y="4623354"/>
                </a:cubicBezTo>
                <a:cubicBezTo>
                  <a:pt x="2122990" y="5468502"/>
                  <a:pt x="2441954" y="6105888"/>
                  <a:pt x="2916605" y="6632070"/>
                </a:cubicBezTo>
                <a:cubicBezTo>
                  <a:pt x="2977631" y="6699334"/>
                  <a:pt x="3042726" y="6766734"/>
                  <a:pt x="3111482" y="6833185"/>
                </a:cubicBezTo>
                <a:lnTo>
                  <a:pt x="3139018" y="6858000"/>
                </a:lnTo>
                <a:lnTo>
                  <a:pt x="3120520" y="6858000"/>
                </a:lnTo>
                <a:lnTo>
                  <a:pt x="3099004" y="6838611"/>
                </a:lnTo>
                <a:cubicBezTo>
                  <a:pt x="3030248" y="6772160"/>
                  <a:pt x="2965153" y="6704760"/>
                  <a:pt x="2904126" y="6637495"/>
                </a:cubicBezTo>
                <a:cubicBezTo>
                  <a:pt x="2425138" y="6111313"/>
                  <a:pt x="2105632" y="5471215"/>
                  <a:pt x="1900040" y="4626066"/>
                </a:cubicBezTo>
                <a:cubicBezTo>
                  <a:pt x="1774192" y="4092289"/>
                  <a:pt x="1736220" y="3662123"/>
                  <a:pt x="1786667" y="3270470"/>
                </a:cubicBezTo>
                <a:cubicBezTo>
                  <a:pt x="1828438" y="2933061"/>
                  <a:pt x="1941810" y="2596196"/>
                  <a:pt x="2047046" y="2272351"/>
                </a:cubicBezTo>
                <a:cubicBezTo>
                  <a:pt x="2093698" y="2132395"/>
                  <a:pt x="2144145" y="1989730"/>
                  <a:pt x="2185916" y="1847065"/>
                </a:cubicBezTo>
                <a:cubicBezTo>
                  <a:pt x="2366554" y="1233004"/>
                  <a:pt x="2441954" y="613518"/>
                  <a:pt x="2417001" y="1628"/>
                </a:cubicBezTo>
                <a:close/>
                <a:moveTo>
                  <a:pt x="2235821" y="1628"/>
                </a:moveTo>
                <a:lnTo>
                  <a:pt x="2252636" y="1628"/>
                </a:lnTo>
                <a:cubicBezTo>
                  <a:pt x="2281931" y="629250"/>
                  <a:pt x="2206528" y="1266636"/>
                  <a:pt x="2025891" y="1899140"/>
                </a:cubicBezTo>
                <a:cubicBezTo>
                  <a:pt x="1983581" y="2039094"/>
                  <a:pt x="1937470" y="2181760"/>
                  <a:pt x="1891360" y="2316289"/>
                </a:cubicBezTo>
                <a:cubicBezTo>
                  <a:pt x="1786667" y="2645559"/>
                  <a:pt x="1677092" y="2985137"/>
                  <a:pt x="1635322" y="3327426"/>
                </a:cubicBezTo>
                <a:cubicBezTo>
                  <a:pt x="1589213" y="3715825"/>
                  <a:pt x="1630983" y="4146536"/>
                  <a:pt x="1761172" y="4680313"/>
                </a:cubicBezTo>
                <a:cubicBezTo>
                  <a:pt x="1971101" y="5522747"/>
                  <a:pt x="2294949" y="6162846"/>
                  <a:pt x="2777736" y="6689028"/>
                </a:cubicBezTo>
                <a:lnTo>
                  <a:pt x="2943569" y="6858000"/>
                </a:lnTo>
                <a:lnTo>
                  <a:pt x="2921504" y="6858000"/>
                </a:lnTo>
                <a:lnTo>
                  <a:pt x="2760920" y="6694452"/>
                </a:lnTo>
                <a:cubicBezTo>
                  <a:pt x="2277590" y="6165558"/>
                  <a:pt x="1954286" y="5527629"/>
                  <a:pt x="1744356" y="4680313"/>
                </a:cubicBezTo>
                <a:cubicBezTo>
                  <a:pt x="1610370" y="4146536"/>
                  <a:pt x="1572397" y="3716368"/>
                  <a:pt x="1618506" y="3324715"/>
                </a:cubicBezTo>
                <a:cubicBezTo>
                  <a:pt x="1660276" y="2985137"/>
                  <a:pt x="1769310" y="2642848"/>
                  <a:pt x="1874544" y="2316289"/>
                </a:cubicBezTo>
                <a:cubicBezTo>
                  <a:pt x="1920654" y="2179047"/>
                  <a:pt x="1966762" y="2036380"/>
                  <a:pt x="2004736" y="1896428"/>
                </a:cubicBezTo>
                <a:cubicBezTo>
                  <a:pt x="2189711" y="1263925"/>
                  <a:pt x="2265113" y="628707"/>
                  <a:pt x="2235821" y="1628"/>
                </a:cubicBezTo>
                <a:close/>
                <a:moveTo>
                  <a:pt x="396352" y="1628"/>
                </a:moveTo>
                <a:lnTo>
                  <a:pt x="413168" y="1628"/>
                </a:lnTo>
                <a:cubicBezTo>
                  <a:pt x="413168" y="9223"/>
                  <a:pt x="413168" y="17360"/>
                  <a:pt x="413168" y="24955"/>
                </a:cubicBezTo>
                <a:cubicBezTo>
                  <a:pt x="484773" y="784392"/>
                  <a:pt x="429986" y="1577463"/>
                  <a:pt x="249348" y="2383554"/>
                </a:cubicBezTo>
                <a:cubicBezTo>
                  <a:pt x="223851" y="2505064"/>
                  <a:pt x="194560" y="2627116"/>
                  <a:pt x="165265" y="2743744"/>
                </a:cubicBezTo>
                <a:cubicBezTo>
                  <a:pt x="118886" y="2926552"/>
                  <a:pt x="72642" y="3112479"/>
                  <a:pt x="35890" y="3299695"/>
                </a:cubicBezTo>
                <a:lnTo>
                  <a:pt x="0" y="3515440"/>
                </a:lnTo>
                <a:lnTo>
                  <a:pt x="0" y="3413219"/>
                </a:lnTo>
                <a:lnTo>
                  <a:pt x="19277" y="3297321"/>
                </a:lnTo>
                <a:cubicBezTo>
                  <a:pt x="56097" y="3109767"/>
                  <a:pt x="102341" y="2923840"/>
                  <a:pt x="148449" y="2741032"/>
                </a:cubicBezTo>
                <a:cubicBezTo>
                  <a:pt x="173945" y="2624404"/>
                  <a:pt x="203238" y="2502894"/>
                  <a:pt x="232530" y="2383554"/>
                </a:cubicBezTo>
                <a:cubicBezTo>
                  <a:pt x="413168" y="1577463"/>
                  <a:pt x="467957" y="784392"/>
                  <a:pt x="396352" y="24955"/>
                </a:cubicBezTo>
                <a:cubicBezTo>
                  <a:pt x="396352" y="17360"/>
                  <a:pt x="396352" y="9223"/>
                  <a:pt x="396352" y="1628"/>
                </a:cubicBezTo>
                <a:close/>
                <a:moveTo>
                  <a:pt x="5479167" y="1086"/>
                </a:moveTo>
                <a:lnTo>
                  <a:pt x="5495983" y="1086"/>
                </a:lnTo>
                <a:cubicBezTo>
                  <a:pt x="5449873" y="346088"/>
                  <a:pt x="5357656" y="688377"/>
                  <a:pt x="5218787" y="1022531"/>
                </a:cubicBezTo>
                <a:cubicBezTo>
                  <a:pt x="5151523" y="1183097"/>
                  <a:pt x="5075579" y="1343666"/>
                  <a:pt x="5000176" y="1499350"/>
                </a:cubicBezTo>
                <a:cubicBezTo>
                  <a:pt x="4861310" y="1776544"/>
                  <a:pt x="4722982" y="2064046"/>
                  <a:pt x="4647581" y="2358057"/>
                </a:cubicBezTo>
                <a:cubicBezTo>
                  <a:pt x="4525528" y="2808839"/>
                  <a:pt x="4559161" y="3272640"/>
                  <a:pt x="4609609" y="3664292"/>
                </a:cubicBezTo>
                <a:cubicBezTo>
                  <a:pt x="4676873" y="4242009"/>
                  <a:pt x="4823879" y="4991140"/>
                  <a:pt x="5315344" y="5659989"/>
                </a:cubicBezTo>
                <a:cubicBezTo>
                  <a:pt x="5633020" y="6092258"/>
                  <a:pt x="6108135" y="6499524"/>
                  <a:pt x="6698707" y="6851723"/>
                </a:cubicBezTo>
                <a:lnTo>
                  <a:pt x="6710000" y="6858000"/>
                </a:lnTo>
                <a:lnTo>
                  <a:pt x="6682458" y="6858000"/>
                </a:lnTo>
                <a:lnTo>
                  <a:pt x="6369337" y="6660278"/>
                </a:lnTo>
                <a:cubicBezTo>
                  <a:pt x="5920182" y="6354333"/>
                  <a:pt x="5558908" y="6020179"/>
                  <a:pt x="5298529" y="5664871"/>
                </a:cubicBezTo>
                <a:cubicBezTo>
                  <a:pt x="4807063" y="4996023"/>
                  <a:pt x="4660057" y="4244721"/>
                  <a:pt x="4588453" y="3666464"/>
                </a:cubicBezTo>
                <a:cubicBezTo>
                  <a:pt x="4542345" y="3272640"/>
                  <a:pt x="4508712" y="2808296"/>
                  <a:pt x="4626425" y="2354803"/>
                </a:cubicBezTo>
                <a:cubicBezTo>
                  <a:pt x="4706167" y="2061877"/>
                  <a:pt x="4844493" y="1773833"/>
                  <a:pt x="4983360" y="1496638"/>
                </a:cubicBezTo>
                <a:cubicBezTo>
                  <a:pt x="5059304" y="1341495"/>
                  <a:pt x="5134707" y="1180386"/>
                  <a:pt x="5201971" y="1019818"/>
                </a:cubicBezTo>
                <a:cubicBezTo>
                  <a:pt x="5340297" y="685123"/>
                  <a:pt x="5433058" y="343377"/>
                  <a:pt x="5479167" y="1086"/>
                </a:cubicBezTo>
                <a:close/>
                <a:moveTo>
                  <a:pt x="4236941" y="1086"/>
                </a:moveTo>
                <a:lnTo>
                  <a:pt x="4253757" y="1086"/>
                </a:lnTo>
                <a:cubicBezTo>
                  <a:pt x="4232603" y="460004"/>
                  <a:pt x="4140384" y="913497"/>
                  <a:pt x="3976562" y="1362108"/>
                </a:cubicBezTo>
                <a:cubicBezTo>
                  <a:pt x="3921775" y="1517793"/>
                  <a:pt x="3854510" y="1673478"/>
                  <a:pt x="3791584" y="1823738"/>
                </a:cubicBezTo>
                <a:cubicBezTo>
                  <a:pt x="3669533" y="2119377"/>
                  <a:pt x="3539342" y="2424780"/>
                  <a:pt x="3476418" y="2733437"/>
                </a:cubicBezTo>
                <a:cubicBezTo>
                  <a:pt x="3379319" y="3207544"/>
                  <a:pt x="3438445" y="3689787"/>
                  <a:pt x="3501371" y="4060285"/>
                </a:cubicBezTo>
                <a:cubicBezTo>
                  <a:pt x="3601726" y="4635831"/>
                  <a:pt x="3786703" y="5384964"/>
                  <a:pt x="4328618" y="6058694"/>
                </a:cubicBezTo>
                <a:cubicBezTo>
                  <a:pt x="4437650" y="6195934"/>
                  <a:pt x="4563500" y="6331006"/>
                  <a:pt x="4702370" y="6457941"/>
                </a:cubicBezTo>
                <a:cubicBezTo>
                  <a:pt x="4812624" y="6561008"/>
                  <a:pt x="4931794" y="6661770"/>
                  <a:pt x="5059754" y="6760124"/>
                </a:cubicBezTo>
                <a:lnTo>
                  <a:pt x="5193099" y="6858000"/>
                </a:lnTo>
                <a:lnTo>
                  <a:pt x="5167772" y="6858000"/>
                </a:lnTo>
                <a:lnTo>
                  <a:pt x="5043684" y="6767235"/>
                </a:lnTo>
                <a:cubicBezTo>
                  <a:pt x="4915249" y="6668923"/>
                  <a:pt x="4795807" y="6568467"/>
                  <a:pt x="4685552" y="6466078"/>
                </a:cubicBezTo>
                <a:cubicBezTo>
                  <a:pt x="4547226" y="6336432"/>
                  <a:pt x="4420833" y="6201360"/>
                  <a:pt x="4311801" y="6064118"/>
                </a:cubicBezTo>
                <a:cubicBezTo>
                  <a:pt x="3770429" y="5389845"/>
                  <a:pt x="3585452" y="4638545"/>
                  <a:pt x="3484555" y="4060285"/>
                </a:cubicBezTo>
                <a:cubicBezTo>
                  <a:pt x="3421629" y="3689787"/>
                  <a:pt x="3358705" y="3205375"/>
                  <a:pt x="3459602" y="2733437"/>
                </a:cubicBezTo>
                <a:cubicBezTo>
                  <a:pt x="3522528" y="2422610"/>
                  <a:pt x="3652716" y="2116666"/>
                  <a:pt x="3774769" y="1821026"/>
                </a:cubicBezTo>
                <a:cubicBezTo>
                  <a:pt x="3837694" y="1670225"/>
                  <a:pt x="3904957" y="1515081"/>
                  <a:pt x="3959747" y="1359397"/>
                </a:cubicBezTo>
                <a:cubicBezTo>
                  <a:pt x="4123569" y="913497"/>
                  <a:pt x="4215786" y="457291"/>
                  <a:pt x="4236941" y="1086"/>
                </a:cubicBezTo>
                <a:close/>
                <a:moveTo>
                  <a:pt x="4055219" y="1086"/>
                </a:moveTo>
                <a:lnTo>
                  <a:pt x="4072035" y="1086"/>
                </a:lnTo>
                <a:cubicBezTo>
                  <a:pt x="4055219" y="475193"/>
                  <a:pt x="3967340" y="947129"/>
                  <a:pt x="3799179" y="1410929"/>
                </a:cubicBezTo>
                <a:cubicBezTo>
                  <a:pt x="3744390" y="1563903"/>
                  <a:pt x="3681467" y="1719588"/>
                  <a:pt x="3618541" y="1869848"/>
                </a:cubicBezTo>
                <a:cubicBezTo>
                  <a:pt x="3496489" y="2168199"/>
                  <a:pt x="3370638" y="2476856"/>
                  <a:pt x="3307714" y="2787684"/>
                </a:cubicBezTo>
                <a:cubicBezTo>
                  <a:pt x="3215497" y="3261791"/>
                  <a:pt x="3278420" y="3746204"/>
                  <a:pt x="3341346" y="4114531"/>
                </a:cubicBezTo>
                <a:cubicBezTo>
                  <a:pt x="3446040" y="4692789"/>
                  <a:pt x="3635357" y="5441922"/>
                  <a:pt x="4185408" y="6115652"/>
                </a:cubicBezTo>
                <a:cubicBezTo>
                  <a:pt x="4298782" y="6252893"/>
                  <a:pt x="4424631" y="6387965"/>
                  <a:pt x="4563500" y="6514900"/>
                </a:cubicBezTo>
                <a:cubicBezTo>
                  <a:pt x="4674839" y="6617289"/>
                  <a:pt x="4795095" y="6717575"/>
                  <a:pt x="4924140" y="6815633"/>
                </a:cubicBezTo>
                <a:lnTo>
                  <a:pt x="4982461" y="6858000"/>
                </a:lnTo>
                <a:lnTo>
                  <a:pt x="4957779" y="6858000"/>
                </a:lnTo>
                <a:lnTo>
                  <a:pt x="4909833" y="6823167"/>
                </a:lnTo>
                <a:cubicBezTo>
                  <a:pt x="4780991" y="6725237"/>
                  <a:pt x="4661278" y="6625290"/>
                  <a:pt x="4551024" y="6523579"/>
                </a:cubicBezTo>
                <a:cubicBezTo>
                  <a:pt x="4408358" y="6393932"/>
                  <a:pt x="4281965" y="6258860"/>
                  <a:pt x="4172932" y="6121620"/>
                </a:cubicBezTo>
                <a:cubicBezTo>
                  <a:pt x="3618541" y="5444634"/>
                  <a:pt x="3429766" y="4696045"/>
                  <a:pt x="3324530" y="4117786"/>
                </a:cubicBezTo>
                <a:cubicBezTo>
                  <a:pt x="3257265" y="3747289"/>
                  <a:pt x="3194341" y="3262333"/>
                  <a:pt x="3290899" y="2785514"/>
                </a:cubicBezTo>
                <a:cubicBezTo>
                  <a:pt x="3353822" y="2474144"/>
                  <a:pt x="3479672" y="2165487"/>
                  <a:pt x="3601726" y="1867678"/>
                </a:cubicBezTo>
                <a:cubicBezTo>
                  <a:pt x="3664649" y="1717416"/>
                  <a:pt x="3727575" y="1561731"/>
                  <a:pt x="3782363" y="1408760"/>
                </a:cubicBezTo>
                <a:cubicBezTo>
                  <a:pt x="3946184" y="944417"/>
                  <a:pt x="4038402" y="473023"/>
                  <a:pt x="4055219" y="1086"/>
                </a:cubicBezTo>
                <a:close/>
                <a:moveTo>
                  <a:pt x="3693943" y="1086"/>
                </a:moveTo>
                <a:lnTo>
                  <a:pt x="3710759" y="1086"/>
                </a:lnTo>
                <a:cubicBezTo>
                  <a:pt x="3702080" y="506655"/>
                  <a:pt x="3614202" y="1012224"/>
                  <a:pt x="3446040" y="1509656"/>
                </a:cubicBezTo>
                <a:cubicBezTo>
                  <a:pt x="3391795" y="1659916"/>
                  <a:pt x="3332667" y="1812889"/>
                  <a:pt x="3274081" y="1960436"/>
                </a:cubicBezTo>
                <a:cubicBezTo>
                  <a:pt x="3156369" y="2263670"/>
                  <a:pt x="3030519" y="2577210"/>
                  <a:pt x="2975731" y="2893463"/>
                </a:cubicBezTo>
                <a:cubicBezTo>
                  <a:pt x="2883515" y="3375706"/>
                  <a:pt x="2954576" y="3860120"/>
                  <a:pt x="3026179" y="4228446"/>
                </a:cubicBezTo>
                <a:cubicBezTo>
                  <a:pt x="3193798" y="5083900"/>
                  <a:pt x="3462856" y="5703385"/>
                  <a:pt x="3903873" y="6232279"/>
                </a:cubicBezTo>
                <a:cubicBezTo>
                  <a:pt x="4017247" y="6366809"/>
                  <a:pt x="4147437" y="6501881"/>
                  <a:pt x="4290102" y="6628815"/>
                </a:cubicBezTo>
                <a:cubicBezTo>
                  <a:pt x="4345772" y="6679332"/>
                  <a:pt x="4403806" y="6729365"/>
                  <a:pt x="4464172" y="6778910"/>
                </a:cubicBezTo>
                <a:lnTo>
                  <a:pt x="4565238" y="6858000"/>
                </a:lnTo>
                <a:lnTo>
                  <a:pt x="4541100" y="6858000"/>
                </a:lnTo>
                <a:lnTo>
                  <a:pt x="4448231" y="6785881"/>
                </a:lnTo>
                <a:cubicBezTo>
                  <a:pt x="4387457" y="6736485"/>
                  <a:pt x="4328956" y="6686655"/>
                  <a:pt x="4272745" y="6636410"/>
                </a:cubicBezTo>
                <a:cubicBezTo>
                  <a:pt x="4134417" y="6506762"/>
                  <a:pt x="4004228" y="6371690"/>
                  <a:pt x="3886514" y="6234449"/>
                </a:cubicBezTo>
                <a:cubicBezTo>
                  <a:pt x="3445498" y="5706097"/>
                  <a:pt x="3176982" y="5086613"/>
                  <a:pt x="3008821" y="4228446"/>
                </a:cubicBezTo>
                <a:cubicBezTo>
                  <a:pt x="2937218" y="3860120"/>
                  <a:pt x="2865613" y="3375706"/>
                  <a:pt x="2954034" y="2893463"/>
                </a:cubicBezTo>
                <a:cubicBezTo>
                  <a:pt x="3013161" y="2577210"/>
                  <a:pt x="3134671" y="2260959"/>
                  <a:pt x="3256723" y="1957725"/>
                </a:cubicBezTo>
                <a:cubicBezTo>
                  <a:pt x="3315851" y="1810178"/>
                  <a:pt x="3374436" y="1657204"/>
                  <a:pt x="3424884" y="1506945"/>
                </a:cubicBezTo>
                <a:cubicBezTo>
                  <a:pt x="3597386" y="1009512"/>
                  <a:pt x="3685806" y="506655"/>
                  <a:pt x="3693943" y="1086"/>
                </a:cubicBezTo>
                <a:close/>
                <a:moveTo>
                  <a:pt x="3147690" y="1086"/>
                </a:moveTo>
                <a:lnTo>
                  <a:pt x="3164506" y="1086"/>
                </a:lnTo>
                <a:cubicBezTo>
                  <a:pt x="3172642" y="553306"/>
                  <a:pt x="3088562" y="1108239"/>
                  <a:pt x="2912265" y="1655035"/>
                </a:cubicBezTo>
                <a:cubicBezTo>
                  <a:pt x="2862358" y="1802583"/>
                  <a:pt x="2811910" y="1950131"/>
                  <a:pt x="2757122" y="2095508"/>
                </a:cubicBezTo>
                <a:cubicBezTo>
                  <a:pt x="2643205" y="2409049"/>
                  <a:pt x="2526037" y="2730726"/>
                  <a:pt x="2471247" y="3057284"/>
                </a:cubicBezTo>
                <a:cubicBezTo>
                  <a:pt x="2412119" y="3440800"/>
                  <a:pt x="2437616" y="3855237"/>
                  <a:pt x="2550987" y="4397151"/>
                </a:cubicBezTo>
                <a:cubicBezTo>
                  <a:pt x="2735966" y="5252061"/>
                  <a:pt x="3021297" y="5871547"/>
                  <a:pt x="3483470" y="6403154"/>
                </a:cubicBezTo>
                <a:cubicBezTo>
                  <a:pt x="3601183" y="6537683"/>
                  <a:pt x="3731372" y="6672755"/>
                  <a:pt x="3878377" y="6799690"/>
                </a:cubicBezTo>
                <a:lnTo>
                  <a:pt x="3948295" y="6858000"/>
                </a:lnTo>
                <a:lnTo>
                  <a:pt x="3925054" y="6858000"/>
                </a:lnTo>
                <a:lnTo>
                  <a:pt x="3861563" y="6805113"/>
                </a:lnTo>
                <a:cubicBezTo>
                  <a:pt x="3718896" y="6678178"/>
                  <a:pt x="3584366" y="6543107"/>
                  <a:pt x="3466654" y="6408577"/>
                </a:cubicBezTo>
                <a:cubicBezTo>
                  <a:pt x="3004481" y="5877515"/>
                  <a:pt x="2719151" y="5258028"/>
                  <a:pt x="2534172" y="4399863"/>
                </a:cubicBezTo>
                <a:cubicBezTo>
                  <a:pt x="2416459" y="3855237"/>
                  <a:pt x="2395845" y="3440800"/>
                  <a:pt x="2454430" y="3054571"/>
                </a:cubicBezTo>
                <a:cubicBezTo>
                  <a:pt x="2504879" y="2730184"/>
                  <a:pt x="2626933" y="2406336"/>
                  <a:pt x="2740306" y="2092797"/>
                </a:cubicBezTo>
                <a:cubicBezTo>
                  <a:pt x="2790211" y="1947961"/>
                  <a:pt x="2845001" y="1799871"/>
                  <a:pt x="2895448" y="1652323"/>
                </a:cubicBezTo>
                <a:cubicBezTo>
                  <a:pt x="3072288" y="1105527"/>
                  <a:pt x="3155827" y="553306"/>
                  <a:pt x="3147690" y="1086"/>
                </a:cubicBezTo>
                <a:close/>
                <a:moveTo>
                  <a:pt x="2051388" y="1086"/>
                </a:moveTo>
                <a:lnTo>
                  <a:pt x="2068202" y="1086"/>
                </a:lnTo>
                <a:cubicBezTo>
                  <a:pt x="2106174" y="643897"/>
                  <a:pt x="2030773" y="1297014"/>
                  <a:pt x="1845795" y="1947418"/>
                </a:cubicBezTo>
                <a:cubicBezTo>
                  <a:pt x="1808366" y="2085202"/>
                  <a:pt x="1766053" y="2225157"/>
                  <a:pt x="1719945" y="2359686"/>
                </a:cubicBezTo>
                <a:cubicBezTo>
                  <a:pt x="1614710" y="2691669"/>
                  <a:pt x="1509473" y="3036127"/>
                  <a:pt x="1467702" y="3378418"/>
                </a:cubicBezTo>
                <a:cubicBezTo>
                  <a:pt x="1425934" y="3772241"/>
                  <a:pt x="1467702" y="4202409"/>
                  <a:pt x="1602233" y="4734016"/>
                </a:cubicBezTo>
                <a:cubicBezTo>
                  <a:pt x="1820843" y="5579164"/>
                  <a:pt x="2148487" y="6219261"/>
                  <a:pt x="2635610" y="6745443"/>
                </a:cubicBezTo>
                <a:lnTo>
                  <a:pt x="2747940" y="6858000"/>
                </a:lnTo>
                <a:lnTo>
                  <a:pt x="2724848" y="6858000"/>
                </a:lnTo>
                <a:lnTo>
                  <a:pt x="2618794" y="6751411"/>
                </a:lnTo>
                <a:cubicBezTo>
                  <a:pt x="2131671" y="6222516"/>
                  <a:pt x="1804027" y="5582417"/>
                  <a:pt x="1585418" y="4737271"/>
                </a:cubicBezTo>
                <a:cubicBezTo>
                  <a:pt x="1450887" y="4202951"/>
                  <a:pt x="1409117" y="3772784"/>
                  <a:pt x="1450887" y="3378960"/>
                </a:cubicBezTo>
                <a:cubicBezTo>
                  <a:pt x="1488861" y="3033959"/>
                  <a:pt x="1597894" y="2691669"/>
                  <a:pt x="1703129" y="2357515"/>
                </a:cubicBezTo>
                <a:cubicBezTo>
                  <a:pt x="1744898" y="2222445"/>
                  <a:pt x="1791007" y="2082490"/>
                  <a:pt x="1828979" y="1945249"/>
                </a:cubicBezTo>
                <a:cubicBezTo>
                  <a:pt x="2013414" y="1294301"/>
                  <a:pt x="2085019" y="643897"/>
                  <a:pt x="2051388" y="1086"/>
                </a:cubicBezTo>
                <a:close/>
                <a:moveTo>
                  <a:pt x="1867492" y="1086"/>
                </a:moveTo>
                <a:lnTo>
                  <a:pt x="1888650" y="1086"/>
                </a:lnTo>
                <a:cubicBezTo>
                  <a:pt x="1926078" y="659085"/>
                  <a:pt x="1855017" y="1327934"/>
                  <a:pt x="1670038" y="1994070"/>
                </a:cubicBezTo>
                <a:cubicBezTo>
                  <a:pt x="1632067" y="2131311"/>
                  <a:pt x="1589756" y="2269095"/>
                  <a:pt x="1547986" y="2403625"/>
                </a:cubicBezTo>
                <a:cubicBezTo>
                  <a:pt x="1447090" y="2737777"/>
                  <a:pt x="1338056" y="3085492"/>
                  <a:pt x="1304425" y="3432664"/>
                </a:cubicBezTo>
                <a:cubicBezTo>
                  <a:pt x="1262111" y="3829198"/>
                  <a:pt x="1308220" y="4259366"/>
                  <a:pt x="1447090" y="4790975"/>
                </a:cubicBezTo>
                <a:cubicBezTo>
                  <a:pt x="1665701" y="5636121"/>
                  <a:pt x="2001480" y="6273506"/>
                  <a:pt x="2497284" y="6802402"/>
                </a:cubicBezTo>
                <a:lnTo>
                  <a:pt x="2552770" y="6858000"/>
                </a:lnTo>
                <a:lnTo>
                  <a:pt x="2530391" y="6858000"/>
                </a:lnTo>
                <a:lnTo>
                  <a:pt x="2480468" y="6807825"/>
                </a:lnTo>
                <a:cubicBezTo>
                  <a:pt x="1984664" y="6278931"/>
                  <a:pt x="1648884" y="5638834"/>
                  <a:pt x="1430274" y="4793686"/>
                </a:cubicBezTo>
                <a:cubicBezTo>
                  <a:pt x="1287609" y="4259366"/>
                  <a:pt x="1245296" y="3829198"/>
                  <a:pt x="1283269" y="3432664"/>
                </a:cubicBezTo>
                <a:cubicBezTo>
                  <a:pt x="1321240" y="3084949"/>
                  <a:pt x="1430274" y="2737777"/>
                  <a:pt x="1531170" y="2400912"/>
                </a:cubicBezTo>
                <a:cubicBezTo>
                  <a:pt x="1573482" y="2268553"/>
                  <a:pt x="1615252" y="2128600"/>
                  <a:pt x="1653223" y="1994070"/>
                </a:cubicBezTo>
                <a:cubicBezTo>
                  <a:pt x="1838202" y="1325764"/>
                  <a:pt x="1909262" y="656915"/>
                  <a:pt x="1867492" y="1086"/>
                </a:cubicBezTo>
                <a:close/>
                <a:moveTo>
                  <a:pt x="1685229" y="1086"/>
                </a:moveTo>
                <a:lnTo>
                  <a:pt x="1702045" y="1086"/>
                </a:lnTo>
                <a:cubicBezTo>
                  <a:pt x="1744356" y="672103"/>
                  <a:pt x="1677092" y="1359397"/>
                  <a:pt x="1492113" y="2043433"/>
                </a:cubicBezTo>
                <a:cubicBezTo>
                  <a:pt x="1454143" y="2177963"/>
                  <a:pt x="1412373" y="2315203"/>
                  <a:pt x="1374400" y="2447564"/>
                </a:cubicBezTo>
                <a:cubicBezTo>
                  <a:pt x="1274047" y="2784429"/>
                  <a:pt x="1168811" y="3137026"/>
                  <a:pt x="1135179" y="3486909"/>
                </a:cubicBezTo>
                <a:cubicBezTo>
                  <a:pt x="1097748" y="3883445"/>
                  <a:pt x="1143858" y="4316326"/>
                  <a:pt x="1286523" y="4847931"/>
                </a:cubicBezTo>
                <a:cubicBezTo>
                  <a:pt x="1484928" y="5585063"/>
                  <a:pt x="1770547" y="6167278"/>
                  <a:pt x="2173546" y="6655634"/>
                </a:cubicBezTo>
                <a:lnTo>
                  <a:pt x="2352333" y="6858000"/>
                </a:lnTo>
                <a:lnTo>
                  <a:pt x="2331196" y="6858000"/>
                </a:lnTo>
                <a:lnTo>
                  <a:pt x="2156574" y="6660662"/>
                </a:lnTo>
                <a:cubicBezTo>
                  <a:pt x="1753315" y="6172500"/>
                  <a:pt x="1468109" y="5589334"/>
                  <a:pt x="1269707" y="4847931"/>
                </a:cubicBezTo>
                <a:cubicBezTo>
                  <a:pt x="1126498" y="4316326"/>
                  <a:pt x="1076593" y="3883445"/>
                  <a:pt x="1118360" y="3486909"/>
                </a:cubicBezTo>
                <a:cubicBezTo>
                  <a:pt x="1151995" y="3134313"/>
                  <a:pt x="1256687" y="2784429"/>
                  <a:pt x="1357583" y="2444851"/>
                </a:cubicBezTo>
                <a:cubicBezTo>
                  <a:pt x="1395557" y="2313035"/>
                  <a:pt x="1437327" y="2175250"/>
                  <a:pt x="1475296" y="2040722"/>
                </a:cubicBezTo>
                <a:cubicBezTo>
                  <a:pt x="1655934" y="1356684"/>
                  <a:pt x="1726996" y="672647"/>
                  <a:pt x="1685229" y="1086"/>
                </a:cubicBezTo>
                <a:close/>
                <a:moveTo>
                  <a:pt x="1501334" y="1086"/>
                </a:moveTo>
                <a:lnTo>
                  <a:pt x="1518153" y="1086"/>
                </a:lnTo>
                <a:cubicBezTo>
                  <a:pt x="1568600" y="687835"/>
                  <a:pt x="1496998" y="1390316"/>
                  <a:pt x="1316358" y="2092797"/>
                </a:cubicBezTo>
                <a:cubicBezTo>
                  <a:pt x="1278387" y="2225157"/>
                  <a:pt x="1240957" y="2359686"/>
                  <a:pt x="1202986" y="2489332"/>
                </a:cubicBezTo>
                <a:cubicBezTo>
                  <a:pt x="1102087" y="2831622"/>
                  <a:pt x="1001191" y="3186389"/>
                  <a:pt x="967559" y="3541698"/>
                </a:cubicBezTo>
                <a:cubicBezTo>
                  <a:pt x="933926" y="3940403"/>
                  <a:pt x="984376" y="4373282"/>
                  <a:pt x="1127040" y="4904889"/>
                </a:cubicBezTo>
                <a:cubicBezTo>
                  <a:pt x="1333040" y="5642020"/>
                  <a:pt x="1622516" y="6224237"/>
                  <a:pt x="2029268" y="6712591"/>
                </a:cubicBezTo>
                <a:lnTo>
                  <a:pt x="2158886" y="6858000"/>
                </a:lnTo>
                <a:lnTo>
                  <a:pt x="2141652" y="6858000"/>
                </a:lnTo>
                <a:lnTo>
                  <a:pt x="2015538" y="6717531"/>
                </a:lnTo>
                <a:cubicBezTo>
                  <a:pt x="1606242" y="6228984"/>
                  <a:pt x="1316766" y="5644394"/>
                  <a:pt x="1110768" y="4904889"/>
                </a:cubicBezTo>
                <a:cubicBezTo>
                  <a:pt x="963762" y="4373825"/>
                  <a:pt x="913312" y="3940945"/>
                  <a:pt x="951284" y="3538985"/>
                </a:cubicBezTo>
                <a:cubicBezTo>
                  <a:pt x="981119" y="3184219"/>
                  <a:pt x="1085814" y="2831622"/>
                  <a:pt x="1186709" y="2489332"/>
                </a:cubicBezTo>
                <a:cubicBezTo>
                  <a:pt x="1224140" y="2356973"/>
                  <a:pt x="1262111" y="2222445"/>
                  <a:pt x="1295746" y="2090085"/>
                </a:cubicBezTo>
                <a:cubicBezTo>
                  <a:pt x="1480179" y="1387604"/>
                  <a:pt x="1547444" y="685123"/>
                  <a:pt x="1501334" y="1086"/>
                </a:cubicBezTo>
                <a:close/>
                <a:moveTo>
                  <a:pt x="1316901" y="1086"/>
                </a:moveTo>
                <a:lnTo>
                  <a:pt x="1333717" y="1086"/>
                </a:lnTo>
                <a:cubicBezTo>
                  <a:pt x="1388503" y="700853"/>
                  <a:pt x="1321240" y="1419067"/>
                  <a:pt x="1136262" y="2142160"/>
                </a:cubicBezTo>
                <a:cubicBezTo>
                  <a:pt x="1102630" y="2271808"/>
                  <a:pt x="1064659" y="2404167"/>
                  <a:pt x="1031027" y="2533814"/>
                </a:cubicBezTo>
                <a:cubicBezTo>
                  <a:pt x="930128" y="2878274"/>
                  <a:pt x="829234" y="3236295"/>
                  <a:pt x="799941" y="3593773"/>
                </a:cubicBezTo>
                <a:cubicBezTo>
                  <a:pt x="766308" y="3995190"/>
                  <a:pt x="820555" y="4430782"/>
                  <a:pt x="971898" y="4959678"/>
                </a:cubicBezTo>
                <a:cubicBezTo>
                  <a:pt x="1181694" y="5699181"/>
                  <a:pt x="1474552" y="6281695"/>
                  <a:pt x="1887905" y="6770087"/>
                </a:cubicBezTo>
                <a:lnTo>
                  <a:pt x="1967579" y="6858000"/>
                </a:lnTo>
                <a:lnTo>
                  <a:pt x="1944323" y="6858000"/>
                </a:lnTo>
                <a:lnTo>
                  <a:pt x="1871067" y="6776848"/>
                </a:lnTo>
                <a:cubicBezTo>
                  <a:pt x="1457617" y="6286484"/>
                  <a:pt x="1164403" y="5701894"/>
                  <a:pt x="955083" y="4962390"/>
                </a:cubicBezTo>
                <a:cubicBezTo>
                  <a:pt x="804279" y="4430782"/>
                  <a:pt x="749492" y="3997904"/>
                  <a:pt x="783124" y="3593773"/>
                </a:cubicBezTo>
                <a:cubicBezTo>
                  <a:pt x="812418" y="3236295"/>
                  <a:pt x="913312" y="2878274"/>
                  <a:pt x="1014212" y="2531102"/>
                </a:cubicBezTo>
                <a:cubicBezTo>
                  <a:pt x="1047843" y="2403625"/>
                  <a:pt x="1085814" y="2271808"/>
                  <a:pt x="1119447" y="2139448"/>
                </a:cubicBezTo>
                <a:cubicBezTo>
                  <a:pt x="1304425" y="1419067"/>
                  <a:pt x="1371688" y="700853"/>
                  <a:pt x="1316901" y="1086"/>
                </a:cubicBezTo>
                <a:close/>
                <a:moveTo>
                  <a:pt x="1131381" y="1086"/>
                </a:moveTo>
                <a:lnTo>
                  <a:pt x="1148196" y="1086"/>
                </a:lnTo>
                <a:cubicBezTo>
                  <a:pt x="1207326" y="713874"/>
                  <a:pt x="1144400" y="1449986"/>
                  <a:pt x="959422" y="2188812"/>
                </a:cubicBezTo>
                <a:cubicBezTo>
                  <a:pt x="925791" y="2318458"/>
                  <a:pt x="892157" y="2450817"/>
                  <a:pt x="858526" y="2575041"/>
                </a:cubicBezTo>
                <a:cubicBezTo>
                  <a:pt x="761969" y="2924924"/>
                  <a:pt x="661071" y="3287829"/>
                  <a:pt x="631777" y="3648020"/>
                </a:cubicBezTo>
                <a:cubicBezTo>
                  <a:pt x="602486" y="4052148"/>
                  <a:pt x="661071" y="4487740"/>
                  <a:pt x="812418" y="5016636"/>
                </a:cubicBezTo>
                <a:cubicBezTo>
                  <a:pt x="1025534" y="5756140"/>
                  <a:pt x="1325868" y="6338653"/>
                  <a:pt x="1743582" y="6827044"/>
                </a:cubicBezTo>
                <a:lnTo>
                  <a:pt x="1771889" y="6858000"/>
                </a:lnTo>
                <a:lnTo>
                  <a:pt x="1751982" y="6858000"/>
                </a:lnTo>
                <a:lnTo>
                  <a:pt x="1729154" y="6833027"/>
                </a:lnTo>
                <a:cubicBezTo>
                  <a:pt x="1308637" y="6341365"/>
                  <a:pt x="1008718" y="5758851"/>
                  <a:pt x="795600" y="5019348"/>
                </a:cubicBezTo>
                <a:cubicBezTo>
                  <a:pt x="644256" y="4487740"/>
                  <a:pt x="585670" y="4052148"/>
                  <a:pt x="614961" y="3648020"/>
                </a:cubicBezTo>
                <a:cubicBezTo>
                  <a:pt x="644256" y="3285116"/>
                  <a:pt x="740813" y="2924924"/>
                  <a:pt x="837370" y="2575041"/>
                </a:cubicBezTo>
                <a:cubicBezTo>
                  <a:pt x="875341" y="2448106"/>
                  <a:pt x="908975" y="2318458"/>
                  <a:pt x="942606" y="2188812"/>
                </a:cubicBezTo>
                <a:cubicBezTo>
                  <a:pt x="1127040" y="1449986"/>
                  <a:pt x="1189966" y="713874"/>
                  <a:pt x="1131381" y="1086"/>
                </a:cubicBezTo>
                <a:close/>
                <a:moveTo>
                  <a:pt x="946947" y="1086"/>
                </a:moveTo>
                <a:lnTo>
                  <a:pt x="968102" y="1086"/>
                </a:lnTo>
                <a:cubicBezTo>
                  <a:pt x="1026685" y="729605"/>
                  <a:pt x="968102" y="1481448"/>
                  <a:pt x="783124" y="2238175"/>
                </a:cubicBezTo>
                <a:cubicBezTo>
                  <a:pt x="749492" y="2365110"/>
                  <a:pt x="715861" y="2494757"/>
                  <a:pt x="682227" y="2618979"/>
                </a:cubicBezTo>
                <a:cubicBezTo>
                  <a:pt x="590010" y="2971576"/>
                  <a:pt x="492911" y="3336650"/>
                  <a:pt x="467957" y="3702263"/>
                </a:cubicBezTo>
                <a:cubicBezTo>
                  <a:pt x="438121" y="4109107"/>
                  <a:pt x="497249" y="4544699"/>
                  <a:pt x="656732" y="5073592"/>
                </a:cubicBezTo>
                <a:cubicBezTo>
                  <a:pt x="842660" y="5705012"/>
                  <a:pt x="1092359" y="6223228"/>
                  <a:pt x="1427113" y="6668060"/>
                </a:cubicBezTo>
                <a:lnTo>
                  <a:pt x="1580273" y="6858000"/>
                </a:lnTo>
                <a:lnTo>
                  <a:pt x="1558574" y="6858000"/>
                </a:lnTo>
                <a:lnTo>
                  <a:pt x="1409772" y="6673398"/>
                </a:lnTo>
                <a:cubicBezTo>
                  <a:pt x="1074967" y="6228313"/>
                  <a:pt x="824759" y="5709081"/>
                  <a:pt x="635576" y="5073592"/>
                </a:cubicBezTo>
                <a:cubicBezTo>
                  <a:pt x="480434" y="4544699"/>
                  <a:pt x="421848" y="4109107"/>
                  <a:pt x="446802" y="3702263"/>
                </a:cubicBezTo>
                <a:cubicBezTo>
                  <a:pt x="472296" y="3336650"/>
                  <a:pt x="573194" y="2968863"/>
                  <a:pt x="665412" y="2616267"/>
                </a:cubicBezTo>
                <a:cubicBezTo>
                  <a:pt x="699043" y="2492044"/>
                  <a:pt x="732677" y="2362398"/>
                  <a:pt x="766308" y="2235463"/>
                </a:cubicBezTo>
                <a:cubicBezTo>
                  <a:pt x="946947" y="1478736"/>
                  <a:pt x="1009869" y="726892"/>
                  <a:pt x="946947" y="1086"/>
                </a:cubicBezTo>
                <a:close/>
                <a:moveTo>
                  <a:pt x="761427" y="1086"/>
                </a:moveTo>
                <a:lnTo>
                  <a:pt x="782582" y="1086"/>
                </a:lnTo>
                <a:cubicBezTo>
                  <a:pt x="845505" y="742082"/>
                  <a:pt x="786920" y="1509656"/>
                  <a:pt x="606284" y="2286996"/>
                </a:cubicBezTo>
                <a:cubicBezTo>
                  <a:pt x="576991" y="2411218"/>
                  <a:pt x="543358" y="2538153"/>
                  <a:pt x="509728" y="2660207"/>
                </a:cubicBezTo>
                <a:cubicBezTo>
                  <a:pt x="417510" y="3017686"/>
                  <a:pt x="320950" y="3386011"/>
                  <a:pt x="299795" y="3756510"/>
                </a:cubicBezTo>
                <a:cubicBezTo>
                  <a:pt x="274843" y="4158470"/>
                  <a:pt x="337766" y="4607080"/>
                  <a:pt x="497249" y="5127839"/>
                </a:cubicBezTo>
                <a:cubicBezTo>
                  <a:pt x="689686" y="5761292"/>
                  <a:pt x="943147" y="6280016"/>
                  <a:pt x="1281208" y="6724974"/>
                </a:cubicBezTo>
                <a:lnTo>
                  <a:pt x="1389455" y="6858000"/>
                </a:lnTo>
                <a:lnTo>
                  <a:pt x="1370500" y="6858000"/>
                </a:lnTo>
                <a:lnTo>
                  <a:pt x="1265918" y="6730051"/>
                </a:lnTo>
                <a:cubicBezTo>
                  <a:pt x="926129" y="6284458"/>
                  <a:pt x="672463" y="5764412"/>
                  <a:pt x="480434" y="5130551"/>
                </a:cubicBezTo>
                <a:cubicBezTo>
                  <a:pt x="320950" y="4609794"/>
                  <a:pt x="258027" y="4159012"/>
                  <a:pt x="282979" y="3757052"/>
                </a:cubicBezTo>
                <a:cubicBezTo>
                  <a:pt x="304134" y="3386555"/>
                  <a:pt x="400692" y="3015514"/>
                  <a:pt x="492911" y="2658035"/>
                </a:cubicBezTo>
                <a:cubicBezTo>
                  <a:pt x="526542" y="2535984"/>
                  <a:pt x="555835" y="2409049"/>
                  <a:pt x="585128" y="2284827"/>
                </a:cubicBezTo>
                <a:cubicBezTo>
                  <a:pt x="769561" y="1509656"/>
                  <a:pt x="828691" y="739910"/>
                  <a:pt x="761427" y="1086"/>
                </a:cubicBezTo>
                <a:close/>
                <a:moveTo>
                  <a:pt x="581330" y="1086"/>
                </a:moveTo>
                <a:lnTo>
                  <a:pt x="598146" y="1086"/>
                </a:lnTo>
                <a:cubicBezTo>
                  <a:pt x="669751" y="755100"/>
                  <a:pt x="611166" y="1540576"/>
                  <a:pt x="426187" y="2336360"/>
                </a:cubicBezTo>
                <a:cubicBezTo>
                  <a:pt x="400692" y="2458412"/>
                  <a:pt x="367060" y="2582635"/>
                  <a:pt x="337766" y="2701975"/>
                </a:cubicBezTo>
                <a:cubicBezTo>
                  <a:pt x="245548" y="3062166"/>
                  <a:pt x="153332" y="3438088"/>
                  <a:pt x="132176" y="3808585"/>
                </a:cubicBezTo>
                <a:cubicBezTo>
                  <a:pt x="111020" y="4215427"/>
                  <a:pt x="178284" y="4664039"/>
                  <a:pt x="337766" y="5184796"/>
                </a:cubicBezTo>
                <a:cubicBezTo>
                  <a:pt x="533051" y="5818251"/>
                  <a:pt x="792108" y="6336974"/>
                  <a:pt x="1136221" y="6781932"/>
                </a:cubicBezTo>
                <a:lnTo>
                  <a:pt x="1199192" y="6858000"/>
                </a:lnTo>
                <a:lnTo>
                  <a:pt x="1178104" y="6858000"/>
                </a:lnTo>
                <a:lnTo>
                  <a:pt x="1119405" y="6787010"/>
                </a:lnTo>
                <a:cubicBezTo>
                  <a:pt x="775293" y="6341416"/>
                  <a:pt x="516235" y="5821370"/>
                  <a:pt x="320950" y="5187509"/>
                </a:cubicBezTo>
                <a:cubicBezTo>
                  <a:pt x="161469" y="4666751"/>
                  <a:pt x="94204" y="4215427"/>
                  <a:pt x="115360" y="3808585"/>
                </a:cubicBezTo>
                <a:cubicBezTo>
                  <a:pt x="135974" y="3435376"/>
                  <a:pt x="228733" y="3062166"/>
                  <a:pt x="320950" y="2699264"/>
                </a:cubicBezTo>
                <a:cubicBezTo>
                  <a:pt x="350786" y="2579922"/>
                  <a:pt x="380078" y="2455700"/>
                  <a:pt x="409371" y="2333648"/>
                </a:cubicBezTo>
                <a:cubicBezTo>
                  <a:pt x="593806" y="1538406"/>
                  <a:pt x="648596" y="752930"/>
                  <a:pt x="581330" y="1086"/>
                </a:cubicBezTo>
                <a:close/>
                <a:moveTo>
                  <a:pt x="211917" y="1086"/>
                </a:moveTo>
                <a:lnTo>
                  <a:pt x="228733" y="1086"/>
                </a:lnTo>
                <a:cubicBezTo>
                  <a:pt x="228733" y="21699"/>
                  <a:pt x="233074" y="45025"/>
                  <a:pt x="233074" y="65638"/>
                </a:cubicBezTo>
                <a:cubicBezTo>
                  <a:pt x="304677" y="825076"/>
                  <a:pt x="249888" y="1620859"/>
                  <a:pt x="73591" y="2432375"/>
                </a:cubicBezTo>
                <a:lnTo>
                  <a:pt x="0" y="2740979"/>
                </a:lnTo>
                <a:lnTo>
                  <a:pt x="0" y="2669289"/>
                </a:lnTo>
                <a:lnTo>
                  <a:pt x="14734" y="2608334"/>
                </a:lnTo>
                <a:cubicBezTo>
                  <a:pt x="28431" y="2549681"/>
                  <a:pt x="42128" y="2490688"/>
                  <a:pt x="56774" y="2432375"/>
                </a:cubicBezTo>
                <a:cubicBezTo>
                  <a:pt x="233074" y="1620859"/>
                  <a:pt x="287861" y="825076"/>
                  <a:pt x="216257" y="65638"/>
                </a:cubicBezTo>
                <a:cubicBezTo>
                  <a:pt x="216257" y="45025"/>
                  <a:pt x="211917" y="21699"/>
                  <a:pt x="211917" y="1086"/>
                </a:cubicBezTo>
                <a:close/>
                <a:moveTo>
                  <a:pt x="3332125" y="544"/>
                </a:moveTo>
                <a:lnTo>
                  <a:pt x="3348941" y="544"/>
                </a:lnTo>
                <a:cubicBezTo>
                  <a:pt x="3348941" y="537033"/>
                  <a:pt x="3264860" y="1076233"/>
                  <a:pt x="3088562" y="1605129"/>
                </a:cubicBezTo>
                <a:cubicBezTo>
                  <a:pt x="3038114" y="1755389"/>
                  <a:pt x="2983870" y="1905650"/>
                  <a:pt x="2929079" y="2051028"/>
                </a:cubicBezTo>
                <a:cubicBezTo>
                  <a:pt x="2811367" y="2359686"/>
                  <a:pt x="2694196" y="2680819"/>
                  <a:pt x="2639409" y="3002496"/>
                </a:cubicBezTo>
                <a:cubicBezTo>
                  <a:pt x="2576485" y="3383842"/>
                  <a:pt x="2597639" y="3798279"/>
                  <a:pt x="2711012" y="4340193"/>
                </a:cubicBezTo>
                <a:cubicBezTo>
                  <a:pt x="2887310" y="5197816"/>
                  <a:pt x="3168845" y="5814588"/>
                  <a:pt x="3622339" y="6346196"/>
                </a:cubicBezTo>
                <a:cubicBezTo>
                  <a:pt x="3740052" y="6480725"/>
                  <a:pt x="3870240" y="6615797"/>
                  <a:pt x="4017247" y="6742732"/>
                </a:cubicBezTo>
                <a:lnTo>
                  <a:pt x="4153244" y="6858000"/>
                </a:lnTo>
                <a:lnTo>
                  <a:pt x="4131719" y="6858000"/>
                </a:lnTo>
                <a:lnTo>
                  <a:pt x="4000431" y="6747070"/>
                </a:lnTo>
                <a:cubicBezTo>
                  <a:pt x="3857764" y="6620136"/>
                  <a:pt x="3723235" y="6485064"/>
                  <a:pt x="3605523" y="6350535"/>
                </a:cubicBezTo>
                <a:cubicBezTo>
                  <a:pt x="3152029" y="5819472"/>
                  <a:pt x="2870494" y="5199986"/>
                  <a:pt x="2694196" y="4341820"/>
                </a:cubicBezTo>
                <a:cubicBezTo>
                  <a:pt x="2580823" y="3797737"/>
                  <a:pt x="2559668" y="3382757"/>
                  <a:pt x="2622594" y="3001954"/>
                </a:cubicBezTo>
                <a:cubicBezTo>
                  <a:pt x="2676838" y="2678108"/>
                  <a:pt x="2794551" y="2356973"/>
                  <a:pt x="2912265" y="2048314"/>
                </a:cubicBezTo>
                <a:cubicBezTo>
                  <a:pt x="2966509" y="1902938"/>
                  <a:pt x="3021297" y="1752677"/>
                  <a:pt x="3071746" y="1602417"/>
                </a:cubicBezTo>
                <a:cubicBezTo>
                  <a:pt x="3243705" y="1073522"/>
                  <a:pt x="3332125" y="537033"/>
                  <a:pt x="3332125" y="544"/>
                </a:cubicBezTo>
                <a:close/>
                <a:moveTo>
                  <a:pt x="26939" y="544"/>
                </a:moveTo>
                <a:lnTo>
                  <a:pt x="43756" y="544"/>
                </a:lnTo>
                <a:cubicBezTo>
                  <a:pt x="47552" y="36888"/>
                  <a:pt x="51892" y="70520"/>
                  <a:pt x="51892" y="106864"/>
                </a:cubicBezTo>
                <a:cubicBezTo>
                  <a:pt x="105596" y="676444"/>
                  <a:pt x="88203" y="1267992"/>
                  <a:pt x="3605" y="1872585"/>
                </a:cubicBezTo>
                <a:lnTo>
                  <a:pt x="0" y="1893117"/>
                </a:lnTo>
                <a:lnTo>
                  <a:pt x="0" y="1720977"/>
                </a:lnTo>
                <a:lnTo>
                  <a:pt x="46671" y="1272332"/>
                </a:lnTo>
                <a:cubicBezTo>
                  <a:pt x="72912" y="876068"/>
                  <a:pt x="68708" y="486584"/>
                  <a:pt x="35076" y="106864"/>
                </a:cubicBezTo>
                <a:cubicBezTo>
                  <a:pt x="31279" y="70520"/>
                  <a:pt x="31279" y="36888"/>
                  <a:pt x="26939" y="544"/>
                </a:cubicBezTo>
                <a:close/>
                <a:moveTo>
                  <a:pt x="3513847" y="0"/>
                </a:moveTo>
                <a:lnTo>
                  <a:pt x="3530663" y="0"/>
                </a:lnTo>
                <a:cubicBezTo>
                  <a:pt x="3526324" y="520759"/>
                  <a:pt x="3437903" y="1042060"/>
                  <a:pt x="3265944" y="1555224"/>
                </a:cubicBezTo>
                <a:cubicBezTo>
                  <a:pt x="3215497" y="1706025"/>
                  <a:pt x="3156911" y="1858456"/>
                  <a:pt x="3102124" y="2003834"/>
                </a:cubicBezTo>
                <a:cubicBezTo>
                  <a:pt x="2984412" y="2311950"/>
                  <a:pt x="2862900" y="2628201"/>
                  <a:pt x="2808112" y="2947165"/>
                </a:cubicBezTo>
                <a:cubicBezTo>
                  <a:pt x="2740848" y="3328513"/>
                  <a:pt x="2762003" y="3740778"/>
                  <a:pt x="2871036" y="4284862"/>
                </a:cubicBezTo>
                <a:cubicBezTo>
                  <a:pt x="3038657" y="5140315"/>
                  <a:pt x="3315851" y="5759800"/>
                  <a:pt x="3765548" y="6288695"/>
                </a:cubicBezTo>
                <a:cubicBezTo>
                  <a:pt x="3878920" y="6423224"/>
                  <a:pt x="4009110" y="6558296"/>
                  <a:pt x="4151774" y="6685231"/>
                </a:cubicBezTo>
                <a:cubicBezTo>
                  <a:pt x="4207987" y="6735137"/>
                  <a:pt x="4266555" y="6784679"/>
                  <a:pt x="4327448" y="6833830"/>
                </a:cubicBezTo>
                <a:lnTo>
                  <a:pt x="4358784" y="6858000"/>
                </a:lnTo>
                <a:lnTo>
                  <a:pt x="4338751" y="6858000"/>
                </a:lnTo>
                <a:lnTo>
                  <a:pt x="4314974" y="6839584"/>
                </a:lnTo>
                <a:cubicBezTo>
                  <a:pt x="4254081" y="6790187"/>
                  <a:pt x="4195513" y="6740357"/>
                  <a:pt x="4139300" y="6690112"/>
                </a:cubicBezTo>
                <a:cubicBezTo>
                  <a:pt x="3996633" y="6563177"/>
                  <a:pt x="3862105" y="6428107"/>
                  <a:pt x="3748732" y="6293577"/>
                </a:cubicBezTo>
                <a:cubicBezTo>
                  <a:pt x="3299578" y="5762513"/>
                  <a:pt x="3021841" y="5143028"/>
                  <a:pt x="2849882" y="4284862"/>
                </a:cubicBezTo>
                <a:cubicBezTo>
                  <a:pt x="2740848" y="3740236"/>
                  <a:pt x="2724032" y="3327971"/>
                  <a:pt x="2791295" y="2947165"/>
                </a:cubicBezTo>
                <a:cubicBezTo>
                  <a:pt x="2846085" y="2626031"/>
                  <a:pt x="2967596" y="2309779"/>
                  <a:pt x="3085308" y="2001123"/>
                </a:cubicBezTo>
                <a:cubicBezTo>
                  <a:pt x="3140095" y="1855744"/>
                  <a:pt x="3198680" y="1702771"/>
                  <a:pt x="3249128" y="1555224"/>
                </a:cubicBezTo>
                <a:cubicBezTo>
                  <a:pt x="3421629" y="1042060"/>
                  <a:pt x="3509508" y="520759"/>
                  <a:pt x="3513847" y="0"/>
                </a:cubicBezTo>
                <a:close/>
              </a:path>
            </a:pathLst>
          </a:custGeom>
          <a:solidFill>
            <a:schemeClr val="tx2">
              <a:alpha val="1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8CF4C9E-5282-4384-A944-CFD478965D19}"/>
              </a:ext>
            </a:extLst>
          </p:cNvPr>
          <p:cNvSpPr/>
          <p:nvPr/>
        </p:nvSpPr>
        <p:spPr>
          <a:xfrm>
            <a:off x="0" y="-2868"/>
            <a:ext cx="4951525" cy="6860868"/>
          </a:xfrm>
          <a:custGeom>
            <a:avLst/>
            <a:gdLst>
              <a:gd name="connsiteX0" fmla="*/ 4386826 w 4951525"/>
              <a:gd name="connsiteY0" fmla="*/ 0 h 6860868"/>
              <a:gd name="connsiteX1" fmla="*/ 4830606 w 4951525"/>
              <a:gd name="connsiteY1" fmla="*/ 6695429 h 6860868"/>
              <a:gd name="connsiteX2" fmla="*/ 4951525 w 4951525"/>
              <a:gd name="connsiteY2" fmla="*/ 6860868 h 6860868"/>
              <a:gd name="connsiteX3" fmla="*/ 0 w 4951525"/>
              <a:gd name="connsiteY3" fmla="*/ 6860868 h 6860868"/>
              <a:gd name="connsiteX4" fmla="*/ 0 w 4951525"/>
              <a:gd name="connsiteY4" fmla="*/ 2905 h 6860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1525" h="6860868">
                <a:moveTo>
                  <a:pt x="4386826" y="0"/>
                </a:moveTo>
                <a:cubicBezTo>
                  <a:pt x="5165363" y="2561287"/>
                  <a:pt x="3038487" y="4101959"/>
                  <a:pt x="4830606" y="6695429"/>
                </a:cubicBezTo>
                <a:lnTo>
                  <a:pt x="4951525" y="6860868"/>
                </a:lnTo>
                <a:lnTo>
                  <a:pt x="0" y="6860868"/>
                </a:lnTo>
                <a:lnTo>
                  <a:pt x="0" y="2905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5825288-4DA3-465F-8A78-ECB0B86A40C3}"/>
              </a:ext>
            </a:extLst>
          </p:cNvPr>
          <p:cNvSpPr/>
          <p:nvPr/>
        </p:nvSpPr>
        <p:spPr>
          <a:xfrm>
            <a:off x="0" y="0"/>
            <a:ext cx="4951525" cy="6860868"/>
          </a:xfrm>
          <a:custGeom>
            <a:avLst/>
            <a:gdLst>
              <a:gd name="connsiteX0" fmla="*/ 4386826 w 4951525"/>
              <a:gd name="connsiteY0" fmla="*/ 0 h 6860868"/>
              <a:gd name="connsiteX1" fmla="*/ 4830606 w 4951525"/>
              <a:gd name="connsiteY1" fmla="*/ 6695429 h 6860868"/>
              <a:gd name="connsiteX2" fmla="*/ 4951525 w 4951525"/>
              <a:gd name="connsiteY2" fmla="*/ 6860868 h 6860868"/>
              <a:gd name="connsiteX3" fmla="*/ 0 w 4951525"/>
              <a:gd name="connsiteY3" fmla="*/ 6860868 h 6860868"/>
              <a:gd name="connsiteX4" fmla="*/ 0 w 4951525"/>
              <a:gd name="connsiteY4" fmla="*/ 2905 h 6860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1525" h="6860868">
                <a:moveTo>
                  <a:pt x="4386826" y="0"/>
                </a:moveTo>
                <a:cubicBezTo>
                  <a:pt x="5165363" y="2561287"/>
                  <a:pt x="3038487" y="4101959"/>
                  <a:pt x="4830606" y="6695429"/>
                </a:cubicBezTo>
                <a:lnTo>
                  <a:pt x="4951525" y="6860868"/>
                </a:lnTo>
                <a:lnTo>
                  <a:pt x="0" y="6860868"/>
                </a:lnTo>
                <a:lnTo>
                  <a:pt x="0" y="2905"/>
                </a:lnTo>
                <a:close/>
              </a:path>
            </a:pathLst>
          </a:custGeom>
          <a:gradFill>
            <a:gsLst>
              <a:gs pos="33000">
                <a:srgbClr val="3EB6AD">
                  <a:lumMod val="100000"/>
                  <a:alpha val="0"/>
                </a:srgbClr>
              </a:gs>
              <a:gs pos="0">
                <a:srgbClr val="3BCCFF">
                  <a:lumMod val="45000"/>
                  <a:alpha val="46000"/>
                </a:srgb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06B9D0E-8C9B-4109-AFF5-A7240534E9BA}"/>
              </a:ext>
            </a:extLst>
          </p:cNvPr>
          <p:cNvSpPr/>
          <p:nvPr/>
        </p:nvSpPr>
        <p:spPr>
          <a:xfrm>
            <a:off x="4021995" y="0"/>
            <a:ext cx="1162537" cy="6858000"/>
          </a:xfrm>
          <a:custGeom>
            <a:avLst/>
            <a:gdLst>
              <a:gd name="connsiteX0" fmla="*/ 1117940 w 1117940"/>
              <a:gd name="connsiteY0" fmla="*/ 0 h 6858000"/>
              <a:gd name="connsiteX1" fmla="*/ 889340 w 1117940"/>
              <a:gd name="connsiteY1" fmla="*/ 1168400 h 6858000"/>
              <a:gd name="connsiteX2" fmla="*/ 178140 w 1117940"/>
              <a:gd name="connsiteY2" fmla="*/ 3048000 h 6858000"/>
              <a:gd name="connsiteX3" fmla="*/ 340 w 1117940"/>
              <a:gd name="connsiteY3" fmla="*/ 4343400 h 6858000"/>
              <a:gd name="connsiteX4" fmla="*/ 203540 w 1117940"/>
              <a:gd name="connsiteY4" fmla="*/ 5613400 h 6858000"/>
              <a:gd name="connsiteX5" fmla="*/ 1003640 w 111794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7940" h="6858000">
                <a:moveTo>
                  <a:pt x="1117940" y="0"/>
                </a:moveTo>
                <a:cubicBezTo>
                  <a:pt x="1081956" y="330200"/>
                  <a:pt x="1045973" y="660400"/>
                  <a:pt x="889340" y="1168400"/>
                </a:cubicBezTo>
                <a:cubicBezTo>
                  <a:pt x="732707" y="1676400"/>
                  <a:pt x="326307" y="2518833"/>
                  <a:pt x="178140" y="3048000"/>
                </a:cubicBezTo>
                <a:cubicBezTo>
                  <a:pt x="29973" y="3577167"/>
                  <a:pt x="-3893" y="3915833"/>
                  <a:pt x="340" y="4343400"/>
                </a:cubicBezTo>
                <a:cubicBezTo>
                  <a:pt x="4573" y="4770967"/>
                  <a:pt x="36323" y="5194300"/>
                  <a:pt x="203540" y="5613400"/>
                </a:cubicBezTo>
                <a:cubicBezTo>
                  <a:pt x="370757" y="6032500"/>
                  <a:pt x="687198" y="6445250"/>
                  <a:pt x="1003640" y="6858000"/>
                </a:cubicBezTo>
              </a:path>
            </a:pathLst>
          </a:cu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D2E57840-A944-4D4D-95A2-6D75D6106F5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7446" y="404132"/>
            <a:ext cx="1099754" cy="464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161063"/>
      </p:ext>
    </p:extLst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1EF8CAB-74EE-F5E0-2A98-D49729C573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000" t="1" b="49999"/>
          <a:stretch/>
        </p:blipFill>
        <p:spPr>
          <a:xfrm>
            <a:off x="6096000" y="0"/>
            <a:ext cx="6095999" cy="3429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83521D-ED5D-D5DB-16FA-CD1B1203DF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3283" r="87659"/>
          <a:stretch/>
        </p:blipFill>
        <p:spPr>
          <a:xfrm>
            <a:off x="0" y="5731979"/>
            <a:ext cx="1504645" cy="1146408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9381EED1-F8B1-76DD-2AF9-959C65437FF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1354" y="9452"/>
            <a:ext cx="2286000" cy="2286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1D23ADF4-87AF-5693-9986-341478D502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4180"/>
          <a:stretch/>
        </p:blipFill>
        <p:spPr>
          <a:xfrm>
            <a:off x="10687351" y="9452"/>
            <a:ext cx="1504649" cy="2286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E5EE104-2241-C262-895C-BCA7691340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4180" b="50186"/>
          <a:stretch/>
        </p:blipFill>
        <p:spPr>
          <a:xfrm rot="10800000">
            <a:off x="-3" y="5731980"/>
            <a:ext cx="1504649" cy="11387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7285C8-D51D-91BB-C356-908E67607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841248"/>
            <a:ext cx="10479024" cy="557784"/>
          </a:xfrm>
        </p:spPr>
        <p:txBody>
          <a:bodyPr anchor="t"/>
          <a:lstStyle>
            <a:lvl1pPr>
              <a:defRPr sz="2000" cap="all" spc="3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2">
            <a:extLst>
              <a:ext uri="{FF2B5EF4-FFF2-40B4-BE49-F238E27FC236}">
                <a16:creationId xmlns:a16="http://schemas.microsoft.com/office/drawing/2014/main" id="{19B7E7AC-A0E6-BE9A-4728-8FE036CF353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41248" y="1536827"/>
            <a:ext cx="6556375" cy="4479925"/>
          </a:xfrm>
        </p:spPr>
        <p:txBody>
          <a:bodyPr>
            <a:normAutofit/>
          </a:bodyPr>
          <a:lstStyle>
            <a:lvl1pPr>
              <a:lnSpc>
                <a:spcPct val="140000"/>
              </a:lnSpc>
              <a:spcAft>
                <a:spcPts val="0"/>
              </a:spcAft>
              <a:defRPr sz="2800"/>
            </a:lvl1pPr>
            <a:lvl2pPr>
              <a:defRPr sz="2800"/>
            </a:lvl2pPr>
            <a:lvl3pPr>
              <a:defRPr sz="2400"/>
            </a:lvl3pPr>
            <a:lvl4pPr>
              <a:defRPr sz="24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4D0E8A-D840-3B34-461F-395ACC9FA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FOOTER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8E551C-14F1-4049-29C9-7A53E172F8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7B645E-C5E5-4727-B977-D372A0AA71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5122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8658FB12-52A5-16DF-1C9D-765D5CED7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550" y="880346"/>
            <a:ext cx="2541915" cy="107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6817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E914221-A0A7-878A-1B18-C37FAEFAA501}"/>
              </a:ext>
            </a:extLst>
          </p:cNvPr>
          <p:cNvGrpSpPr/>
          <p:nvPr userDrawn="1"/>
        </p:nvGrpSpPr>
        <p:grpSpPr>
          <a:xfrm>
            <a:off x="-5247226" y="5100691"/>
            <a:ext cx="11539831" cy="6019315"/>
            <a:chOff x="4868423" y="9747437"/>
            <a:chExt cx="11536826" cy="601931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2E7353C-5CAA-0EBA-015E-8C88C972225E}"/>
                </a:ext>
              </a:extLst>
            </p:cNvPr>
            <p:cNvSpPr/>
            <p:nvPr/>
          </p:nvSpPr>
          <p:spPr>
            <a:xfrm rot="5102068" flipH="1">
              <a:off x="9962425" y="8948970"/>
              <a:ext cx="5088940" cy="7796708"/>
            </a:xfrm>
            <a:prstGeom prst="ellipse">
              <a:avLst/>
            </a:prstGeom>
            <a:gradFill flip="none" rotWithShape="1">
              <a:gsLst>
                <a:gs pos="47000">
                  <a:schemeClr val="accent3">
                    <a:alpha val="50000"/>
                  </a:schemeClr>
                </a:gs>
                <a:gs pos="0">
                  <a:schemeClr val="tx2">
                    <a:alpha val="50000"/>
                  </a:schemeClr>
                </a:gs>
                <a:gs pos="23836">
                  <a:srgbClr val="757FD9"/>
                </a:gs>
                <a:gs pos="15000">
                  <a:srgbClr val="7A7CD4"/>
                </a:gs>
                <a:gs pos="89000">
                  <a:schemeClr val="accent4">
                    <a:alpha val="63000"/>
                  </a:schemeClr>
                </a:gs>
              </a:gsLst>
              <a:lin ang="18900000" scaled="1"/>
              <a:tileRect/>
            </a:gra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8">
                <a:latin typeface="InspireTWDC" panose="00000000000000020000" pitchFamily="50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66A0C0EC-3111-72D6-B4F9-55E7736E15D3}"/>
                </a:ext>
              </a:extLst>
            </p:cNvPr>
            <p:cNvSpPr/>
            <p:nvPr/>
          </p:nvSpPr>
          <p:spPr>
            <a:xfrm rot="13500000" flipH="1">
              <a:off x="5628098" y="8987762"/>
              <a:ext cx="6019315" cy="7538666"/>
            </a:xfrm>
            <a:prstGeom prst="ellipse">
              <a:avLst/>
            </a:prstGeom>
            <a:gradFill flip="none" rotWithShape="1">
              <a:gsLst>
                <a:gs pos="62000">
                  <a:schemeClr val="accent3">
                    <a:alpha val="32000"/>
                  </a:schemeClr>
                </a:gs>
                <a:gs pos="0">
                  <a:schemeClr val="tx2">
                    <a:alpha val="29000"/>
                  </a:schemeClr>
                </a:gs>
                <a:gs pos="34000">
                  <a:srgbClr val="7A7CD4">
                    <a:alpha val="72000"/>
                  </a:srgbClr>
                </a:gs>
                <a:gs pos="89000">
                  <a:schemeClr val="accent4">
                    <a:alpha val="50000"/>
                  </a:schemeClr>
                </a:gs>
              </a:gsLst>
              <a:lin ang="18900000" scaled="1"/>
              <a:tileRect/>
            </a:gra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8">
                <a:latin typeface="InspireTWDC" panose="00000000000000020000" pitchFamily="50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EF73BAD-B836-CEC5-B439-31D498C658B5}"/>
                </a:ext>
              </a:extLst>
            </p:cNvPr>
            <p:cNvSpPr/>
            <p:nvPr/>
          </p:nvSpPr>
          <p:spPr>
            <a:xfrm rot="19800000" flipH="1">
              <a:off x="7605435" y="9977978"/>
              <a:ext cx="5900438" cy="4901479"/>
            </a:xfrm>
            <a:prstGeom prst="ellipse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8">
                <a:latin typeface="InspireTWDC" panose="00000000000000020000" pitchFamily="50" charset="0"/>
              </a:endParaRPr>
            </a:p>
          </p:txBody>
        </p:sp>
      </p:grp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0062623-F125-CE7C-2A7C-47BDFF9648D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289" y="472030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6725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4CE47C2-635C-E9CB-C956-93AEA131E00E}"/>
              </a:ext>
            </a:extLst>
          </p:cNvPr>
          <p:cNvSpPr/>
          <p:nvPr userDrawn="1"/>
        </p:nvSpPr>
        <p:spPr>
          <a:xfrm>
            <a:off x="9186530" y="6251946"/>
            <a:ext cx="2913321" cy="478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Circle: Hollow 1">
            <a:extLst>
              <a:ext uri="{FF2B5EF4-FFF2-40B4-BE49-F238E27FC236}">
                <a16:creationId xmlns:a16="http://schemas.microsoft.com/office/drawing/2014/main" id="{5A0AB4F6-2214-7184-BFA2-206AA869A821}"/>
              </a:ext>
            </a:extLst>
          </p:cNvPr>
          <p:cNvSpPr/>
          <p:nvPr userDrawn="1"/>
        </p:nvSpPr>
        <p:spPr>
          <a:xfrm>
            <a:off x="-2160182" y="-1578935"/>
            <a:ext cx="16512362" cy="10015870"/>
          </a:xfrm>
          <a:prstGeom prst="donut">
            <a:avLst>
              <a:gd name="adj" fmla="val 37917"/>
            </a:avLst>
          </a:prstGeom>
          <a:gradFill>
            <a:gsLst>
              <a:gs pos="27000">
                <a:srgbClr val="CAC8ED">
                  <a:alpha val="28000"/>
                </a:srgbClr>
              </a:gs>
              <a:gs pos="75000">
                <a:schemeClr val="accent3">
                  <a:lumMod val="20000"/>
                  <a:lumOff val="80000"/>
                </a:schemeClr>
              </a:gs>
              <a:gs pos="50000">
                <a:schemeClr val="accent4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18900000" scaled="1"/>
          </a:gradFill>
          <a:ln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111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4ABE5B3-470A-4DEB-9F72-3889582A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48594"/>
            <a:ext cx="11585448" cy="4009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1752" y="724845"/>
            <a:ext cx="11585448" cy="31659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BFC954-89B2-4817-9C7D-7C4BABB44469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rgbClr val="F79F0A"/>
              </a:gs>
              <a:gs pos="66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9957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235D"/>
              </a:gs>
              <a:gs pos="86000">
                <a:schemeClr val="accent3"/>
              </a:gs>
              <a:gs pos="5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latin typeface="Century Gothic" panose="020B0502020202020204" pitchFamily="34" charset="0"/>
            </a:endParaRP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6BC8544B-CB97-7861-67B3-46B710D512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542" y="6309361"/>
            <a:ext cx="719343" cy="30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9566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gradFill flip="none" rotWithShape="1">
            <a:gsLst>
              <a:gs pos="80000">
                <a:schemeClr val="accent3">
                  <a:alpha val="56000"/>
                </a:schemeClr>
              </a:gs>
              <a:gs pos="19000">
                <a:srgbClr val="316AD3">
                  <a:alpha val="87000"/>
                </a:srgbClr>
              </a:gs>
              <a:gs pos="0">
                <a:schemeClr val="tx2"/>
              </a:gs>
              <a:gs pos="100000">
                <a:schemeClr val="accent4">
                  <a:alpha val="97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693115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EA9CA8-4796-209C-5BCA-E0DF9973CFE0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pPr algn="r"/>
              <a:t>‹#›</a:t>
            </a:fld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C48E51-5614-F41E-5FFA-45EBB46E59B4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t>©2025 Acquis Consulting Group, L.L.C.</a:t>
            </a:r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C618CC-DE1B-0404-40DF-E8BF747E1918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375BFCB7-E22C-47BC-E992-92EF935B3749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53" y="6308721"/>
            <a:ext cx="878053" cy="374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3002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05D9941-CF8B-266C-2C4A-05C68135654D}"/>
              </a:ext>
            </a:extLst>
          </p:cNvPr>
          <p:cNvSpPr/>
          <p:nvPr userDrawn="1"/>
        </p:nvSpPr>
        <p:spPr>
          <a:xfrm rot="16200000" flipH="1">
            <a:off x="2683715" y="-2682025"/>
            <a:ext cx="6857999" cy="12192000"/>
          </a:xfrm>
          <a:custGeom>
            <a:avLst/>
            <a:gdLst>
              <a:gd name="connsiteX0" fmla="*/ 2608751 w 4703181"/>
              <a:gd name="connsiteY0" fmla="*/ 5105305 h 12188825"/>
              <a:gd name="connsiteX1" fmla="*/ 2639362 w 4703181"/>
              <a:gd name="connsiteY1" fmla="*/ 6171565 h 12188825"/>
              <a:gd name="connsiteX2" fmla="*/ 3151435 w 4703181"/>
              <a:gd name="connsiteY2" fmla="*/ 9535377 h 12188825"/>
              <a:gd name="connsiteX3" fmla="*/ 3923653 w 4703181"/>
              <a:gd name="connsiteY3" fmla="*/ 11210893 h 12188825"/>
              <a:gd name="connsiteX4" fmla="*/ 4428881 w 4703181"/>
              <a:gd name="connsiteY4" fmla="*/ 11906322 h 12188825"/>
              <a:gd name="connsiteX5" fmla="*/ 4680688 w 4703181"/>
              <a:gd name="connsiteY5" fmla="*/ 12188825 h 12188825"/>
              <a:gd name="connsiteX6" fmla="*/ 4703181 w 4703181"/>
              <a:gd name="connsiteY6" fmla="*/ 12188825 h 12188825"/>
              <a:gd name="connsiteX7" fmla="*/ 4426466 w 4703181"/>
              <a:gd name="connsiteY7" fmla="*/ 11877318 h 12188825"/>
              <a:gd name="connsiteX8" fmla="*/ 3163562 w 4703181"/>
              <a:gd name="connsiteY8" fmla="*/ 9527159 h 12188825"/>
              <a:gd name="connsiteX9" fmla="*/ 2654618 w 4703181"/>
              <a:gd name="connsiteY9" fmla="*/ 6167910 h 12188825"/>
              <a:gd name="connsiteX10" fmla="*/ 2682002 w 4703181"/>
              <a:gd name="connsiteY10" fmla="*/ 3969193 h 12188825"/>
              <a:gd name="connsiteX11" fmla="*/ 2936278 w 4703181"/>
              <a:gd name="connsiteY11" fmla="*/ 2523777 h 12188825"/>
              <a:gd name="connsiteX12" fmla="*/ 3093930 w 4703181"/>
              <a:gd name="connsiteY12" fmla="*/ 1721172 h 12188825"/>
              <a:gd name="connsiteX13" fmla="*/ 3293830 w 4703181"/>
              <a:gd name="connsiteY13" fmla="*/ 1828 h 12188825"/>
              <a:gd name="connsiteX14" fmla="*/ 3281703 w 4703181"/>
              <a:gd name="connsiteY14" fmla="*/ 1828 h 12188825"/>
              <a:gd name="connsiteX15" fmla="*/ 3081803 w 4703181"/>
              <a:gd name="connsiteY15" fmla="*/ 1716605 h 12188825"/>
              <a:gd name="connsiteX16" fmla="*/ 2924151 w 4703181"/>
              <a:gd name="connsiteY16" fmla="*/ 2519212 h 12188825"/>
              <a:gd name="connsiteX17" fmla="*/ 2666745 w 4703181"/>
              <a:gd name="connsiteY17" fmla="*/ 3963715 h 12188825"/>
              <a:gd name="connsiteX18" fmla="*/ 2608751 w 4703181"/>
              <a:gd name="connsiteY18" fmla="*/ 5105305 h 12188825"/>
              <a:gd name="connsiteX19" fmla="*/ 2492175 w 4703181"/>
              <a:gd name="connsiteY19" fmla="*/ 5200265 h 12188825"/>
              <a:gd name="connsiteX20" fmla="*/ 2527089 w 4703181"/>
              <a:gd name="connsiteY20" fmla="*/ 6267436 h 12188825"/>
              <a:gd name="connsiteX21" fmla="*/ 3048160 w 4703181"/>
              <a:gd name="connsiteY21" fmla="*/ 9631249 h 12188825"/>
              <a:gd name="connsiteX22" fmla="*/ 3302436 w 4703181"/>
              <a:gd name="connsiteY22" fmla="*/ 10307849 h 12188825"/>
              <a:gd name="connsiteX23" fmla="*/ 4337932 w 4703181"/>
              <a:gd name="connsiteY23" fmla="*/ 12000941 h 12188825"/>
              <a:gd name="connsiteX24" fmla="*/ 4501908 w 4703181"/>
              <a:gd name="connsiteY24" fmla="*/ 12188825 h 12188825"/>
              <a:gd name="connsiteX25" fmla="*/ 4522453 w 4703181"/>
              <a:gd name="connsiteY25" fmla="*/ 12188825 h 12188825"/>
              <a:gd name="connsiteX26" fmla="*/ 4347456 w 4703181"/>
              <a:gd name="connsiteY26" fmla="*/ 11988315 h 12188825"/>
              <a:gd name="connsiteX27" fmla="*/ 3314954 w 4703181"/>
              <a:gd name="connsiteY27" fmla="*/ 10298717 h 12188825"/>
              <a:gd name="connsiteX28" fmla="*/ 3060679 w 4703181"/>
              <a:gd name="connsiteY28" fmla="*/ 9622121 h 12188825"/>
              <a:gd name="connsiteX29" fmla="*/ 2539607 w 4703181"/>
              <a:gd name="connsiteY29" fmla="*/ 6262871 h 12188825"/>
              <a:gd name="connsiteX30" fmla="*/ 2560732 w 4703181"/>
              <a:gd name="connsiteY30" fmla="*/ 4059590 h 12188825"/>
              <a:gd name="connsiteX31" fmla="*/ 2812269 w 4703181"/>
              <a:gd name="connsiteY31" fmla="*/ 2602301 h 12188825"/>
              <a:gd name="connsiteX32" fmla="*/ 2966791 w 4703181"/>
              <a:gd name="connsiteY32" fmla="*/ 1804263 h 12188825"/>
              <a:gd name="connsiteX33" fmla="*/ 3166692 w 4703181"/>
              <a:gd name="connsiteY33" fmla="*/ 2740 h 12188825"/>
              <a:gd name="connsiteX34" fmla="*/ 3154565 w 4703181"/>
              <a:gd name="connsiteY34" fmla="*/ 2740 h 12188825"/>
              <a:gd name="connsiteX35" fmla="*/ 2954274 w 4703181"/>
              <a:gd name="connsiteY35" fmla="*/ 1799697 h 12188825"/>
              <a:gd name="connsiteX36" fmla="*/ 2796622 w 4703181"/>
              <a:gd name="connsiteY36" fmla="*/ 2597736 h 12188825"/>
              <a:gd name="connsiteX37" fmla="*/ 2548215 w 4703181"/>
              <a:gd name="connsiteY37" fmla="*/ 4055025 h 12188825"/>
              <a:gd name="connsiteX38" fmla="*/ 2492175 w 4703181"/>
              <a:gd name="connsiteY38" fmla="*/ 5200265 h 12188825"/>
              <a:gd name="connsiteX39" fmla="*/ 2374376 w 4703181"/>
              <a:gd name="connsiteY39" fmla="*/ 5294998 h 12188825"/>
              <a:gd name="connsiteX40" fmla="*/ 2412078 w 4703181"/>
              <a:gd name="connsiteY40" fmla="*/ 6358744 h 12188825"/>
              <a:gd name="connsiteX41" fmla="*/ 2948406 w 4703181"/>
              <a:gd name="connsiteY41" fmla="*/ 9727125 h 12188825"/>
              <a:gd name="connsiteX42" fmla="*/ 3205812 w 4703181"/>
              <a:gd name="connsiteY42" fmla="*/ 10403723 h 12188825"/>
              <a:gd name="connsiteX43" fmla="*/ 4245239 w 4703181"/>
              <a:gd name="connsiteY43" fmla="*/ 12093056 h 12188825"/>
              <a:gd name="connsiteX44" fmla="*/ 4329667 w 4703181"/>
              <a:gd name="connsiteY44" fmla="*/ 12188825 h 12188825"/>
              <a:gd name="connsiteX45" fmla="*/ 4346385 w 4703181"/>
              <a:gd name="connsiteY45" fmla="*/ 12188825 h 12188825"/>
              <a:gd name="connsiteX46" fmla="*/ 4252139 w 4703181"/>
              <a:gd name="connsiteY46" fmla="*/ 12081456 h 12188825"/>
              <a:gd name="connsiteX47" fmla="*/ 3214810 w 4703181"/>
              <a:gd name="connsiteY47" fmla="*/ 10396417 h 12188825"/>
              <a:gd name="connsiteX48" fmla="*/ 2960533 w 4703181"/>
              <a:gd name="connsiteY48" fmla="*/ 9719821 h 12188825"/>
              <a:gd name="connsiteX49" fmla="*/ 2424205 w 4703181"/>
              <a:gd name="connsiteY49" fmla="*/ 6360572 h 12188825"/>
              <a:gd name="connsiteX50" fmla="*/ 2439462 w 4703181"/>
              <a:gd name="connsiteY50" fmla="*/ 4148159 h 12188825"/>
              <a:gd name="connsiteX51" fmla="*/ 2687870 w 4703181"/>
              <a:gd name="connsiteY51" fmla="*/ 2682653 h 12188825"/>
              <a:gd name="connsiteX52" fmla="*/ 2839262 w 4703181"/>
              <a:gd name="connsiteY52" fmla="*/ 1888267 h 12188825"/>
              <a:gd name="connsiteX53" fmla="*/ 3039162 w 4703181"/>
              <a:gd name="connsiteY53" fmla="*/ 3653 h 12188825"/>
              <a:gd name="connsiteX54" fmla="*/ 3027035 w 4703181"/>
              <a:gd name="connsiteY54" fmla="*/ 3653 h 12188825"/>
              <a:gd name="connsiteX55" fmla="*/ 2824006 w 4703181"/>
              <a:gd name="connsiteY55" fmla="*/ 1881876 h 12188825"/>
              <a:gd name="connsiteX56" fmla="*/ 2672613 w 4703181"/>
              <a:gd name="connsiteY56" fmla="*/ 2676260 h 12188825"/>
              <a:gd name="connsiteX57" fmla="*/ 2427334 w 4703181"/>
              <a:gd name="connsiteY57" fmla="*/ 4146333 h 12188825"/>
              <a:gd name="connsiteX58" fmla="*/ 2374376 w 4703181"/>
              <a:gd name="connsiteY58" fmla="*/ 5294998 h 12188825"/>
              <a:gd name="connsiteX59" fmla="*/ 2257654 w 4703181"/>
              <a:gd name="connsiteY59" fmla="*/ 5387105 h 12188825"/>
              <a:gd name="connsiteX60" fmla="*/ 2297458 w 4703181"/>
              <a:gd name="connsiteY60" fmla="*/ 6454621 h 12188825"/>
              <a:gd name="connsiteX61" fmla="*/ 2845912 w 4703181"/>
              <a:gd name="connsiteY61" fmla="*/ 9822999 h 12188825"/>
              <a:gd name="connsiteX62" fmla="*/ 3106448 w 4703181"/>
              <a:gd name="connsiteY62" fmla="*/ 10499599 h 12188825"/>
              <a:gd name="connsiteX63" fmla="*/ 4153715 w 4703181"/>
              <a:gd name="connsiteY63" fmla="*/ 12187433 h 12188825"/>
              <a:gd name="connsiteX64" fmla="*/ 4154941 w 4703181"/>
              <a:gd name="connsiteY64" fmla="*/ 12188825 h 12188825"/>
              <a:gd name="connsiteX65" fmla="*/ 4172800 w 4703181"/>
              <a:gd name="connsiteY65" fmla="*/ 12188825 h 12188825"/>
              <a:gd name="connsiteX66" fmla="*/ 4160605 w 4703181"/>
              <a:gd name="connsiteY66" fmla="*/ 12174920 h 12188825"/>
              <a:gd name="connsiteX67" fmla="*/ 3118184 w 4703181"/>
              <a:gd name="connsiteY67" fmla="*/ 10491381 h 12188825"/>
              <a:gd name="connsiteX68" fmla="*/ 2857649 w 4703181"/>
              <a:gd name="connsiteY68" fmla="*/ 9814781 h 12188825"/>
              <a:gd name="connsiteX69" fmla="*/ 2312323 w 4703181"/>
              <a:gd name="connsiteY69" fmla="*/ 6455534 h 12188825"/>
              <a:gd name="connsiteX70" fmla="*/ 2318191 w 4703181"/>
              <a:gd name="connsiteY70" fmla="*/ 4239467 h 12188825"/>
              <a:gd name="connsiteX71" fmla="*/ 2560341 w 4703181"/>
              <a:gd name="connsiteY71" fmla="*/ 2760265 h 12188825"/>
              <a:gd name="connsiteX72" fmla="*/ 2708603 w 4703181"/>
              <a:gd name="connsiteY72" fmla="*/ 1965881 h 12188825"/>
              <a:gd name="connsiteX73" fmla="*/ 2911633 w 4703181"/>
              <a:gd name="connsiteY73" fmla="*/ 2740 h 12188825"/>
              <a:gd name="connsiteX74" fmla="*/ 2899506 w 4703181"/>
              <a:gd name="connsiteY74" fmla="*/ 2740 h 12188825"/>
              <a:gd name="connsiteX75" fmla="*/ 2696868 w 4703181"/>
              <a:gd name="connsiteY75" fmla="*/ 1960401 h 12188825"/>
              <a:gd name="connsiteX76" fmla="*/ 2548606 w 4703181"/>
              <a:gd name="connsiteY76" fmla="*/ 2754787 h 12188825"/>
              <a:gd name="connsiteX77" fmla="*/ 2306455 w 4703181"/>
              <a:gd name="connsiteY77" fmla="*/ 4233992 h 12188825"/>
              <a:gd name="connsiteX78" fmla="*/ 2257654 w 4703181"/>
              <a:gd name="connsiteY78" fmla="*/ 5387105 h 12188825"/>
              <a:gd name="connsiteX79" fmla="*/ 2140304 w 4703181"/>
              <a:gd name="connsiteY79" fmla="*/ 5197653 h 12188825"/>
              <a:gd name="connsiteX80" fmla="*/ 2184795 w 4703181"/>
              <a:gd name="connsiteY80" fmla="*/ 6550494 h 12188825"/>
              <a:gd name="connsiteX81" fmla="*/ 2744985 w 4703181"/>
              <a:gd name="connsiteY81" fmla="*/ 9918873 h 12188825"/>
              <a:gd name="connsiteX82" fmla="*/ 3005520 w 4703181"/>
              <a:gd name="connsiteY82" fmla="*/ 10595473 h 12188825"/>
              <a:gd name="connsiteX83" fmla="*/ 3881746 w 4703181"/>
              <a:gd name="connsiteY83" fmla="*/ 12060806 h 12188825"/>
              <a:gd name="connsiteX84" fmla="*/ 3985674 w 4703181"/>
              <a:gd name="connsiteY84" fmla="*/ 12188825 h 12188825"/>
              <a:gd name="connsiteX85" fmla="*/ 4004655 w 4703181"/>
              <a:gd name="connsiteY85" fmla="*/ 12188825 h 12188825"/>
              <a:gd name="connsiteX86" fmla="*/ 3890402 w 4703181"/>
              <a:gd name="connsiteY86" fmla="*/ 12048093 h 12188825"/>
              <a:gd name="connsiteX87" fmla="*/ 3017256 w 4703181"/>
              <a:gd name="connsiteY87" fmla="*/ 10587253 h 12188825"/>
              <a:gd name="connsiteX88" fmla="*/ 2756720 w 4703181"/>
              <a:gd name="connsiteY88" fmla="*/ 9910657 h 12188825"/>
              <a:gd name="connsiteX89" fmla="*/ 2196530 w 4703181"/>
              <a:gd name="connsiteY89" fmla="*/ 6546842 h 12188825"/>
              <a:gd name="connsiteX90" fmla="*/ 2196530 w 4703181"/>
              <a:gd name="connsiteY90" fmla="*/ 4330779 h 12188825"/>
              <a:gd name="connsiteX91" fmla="*/ 2435940 w 4703181"/>
              <a:gd name="connsiteY91" fmla="*/ 2838792 h 12188825"/>
              <a:gd name="connsiteX92" fmla="*/ 2581465 w 4703181"/>
              <a:gd name="connsiteY92" fmla="*/ 2048971 h 12188825"/>
              <a:gd name="connsiteX93" fmla="*/ 2781366 w 4703181"/>
              <a:gd name="connsiteY93" fmla="*/ 2740 h 12188825"/>
              <a:gd name="connsiteX94" fmla="*/ 2769238 w 4703181"/>
              <a:gd name="connsiteY94" fmla="*/ 2740 h 12188825"/>
              <a:gd name="connsiteX95" fmla="*/ 2569730 w 4703181"/>
              <a:gd name="connsiteY95" fmla="*/ 2043491 h 12188825"/>
              <a:gd name="connsiteX96" fmla="*/ 2424205 w 4703181"/>
              <a:gd name="connsiteY96" fmla="*/ 2833314 h 12188825"/>
              <a:gd name="connsiteX97" fmla="*/ 2184795 w 4703181"/>
              <a:gd name="connsiteY97" fmla="*/ 4325297 h 12188825"/>
              <a:gd name="connsiteX98" fmla="*/ 2140304 w 4703181"/>
              <a:gd name="connsiteY98" fmla="*/ 5197653 h 12188825"/>
              <a:gd name="connsiteX99" fmla="*/ 2021831 w 4703181"/>
              <a:gd name="connsiteY99" fmla="*/ 5292172 h 12188825"/>
              <a:gd name="connsiteX100" fmla="*/ 2069783 w 4703181"/>
              <a:gd name="connsiteY100" fmla="*/ 6646365 h 12188825"/>
              <a:gd name="connsiteX101" fmla="*/ 2642100 w 4703181"/>
              <a:gd name="connsiteY101" fmla="*/ 10014747 h 12188825"/>
              <a:gd name="connsiteX102" fmla="*/ 2908504 w 4703181"/>
              <a:gd name="connsiteY102" fmla="*/ 10691345 h 12188825"/>
              <a:gd name="connsiteX103" fmla="*/ 3787206 w 4703181"/>
              <a:gd name="connsiteY103" fmla="*/ 12152185 h 12188825"/>
              <a:gd name="connsiteX104" fmla="*/ 3816965 w 4703181"/>
              <a:gd name="connsiteY104" fmla="*/ 12188825 h 12188825"/>
              <a:gd name="connsiteX105" fmla="*/ 3837535 w 4703181"/>
              <a:gd name="connsiteY105" fmla="*/ 12188825 h 12188825"/>
              <a:gd name="connsiteX106" fmla="*/ 3795646 w 4703181"/>
              <a:gd name="connsiteY106" fmla="*/ 12137547 h 12188825"/>
              <a:gd name="connsiteX107" fmla="*/ 2917110 w 4703181"/>
              <a:gd name="connsiteY107" fmla="*/ 10683127 h 12188825"/>
              <a:gd name="connsiteX108" fmla="*/ 2653445 w 4703181"/>
              <a:gd name="connsiteY108" fmla="*/ 10006529 h 12188825"/>
              <a:gd name="connsiteX109" fmla="*/ 2081128 w 4703181"/>
              <a:gd name="connsiteY109" fmla="*/ 6642714 h 12188825"/>
              <a:gd name="connsiteX110" fmla="*/ 2077998 w 4703181"/>
              <a:gd name="connsiteY110" fmla="*/ 4422087 h 12188825"/>
              <a:gd name="connsiteX111" fmla="*/ 2311150 w 4703181"/>
              <a:gd name="connsiteY111" fmla="*/ 2912753 h 12188825"/>
              <a:gd name="connsiteX112" fmla="*/ 2453544 w 4703181"/>
              <a:gd name="connsiteY112" fmla="*/ 2132061 h 12188825"/>
              <a:gd name="connsiteX113" fmla="*/ 2653445 w 4703181"/>
              <a:gd name="connsiteY113" fmla="*/ 2740 h 12188825"/>
              <a:gd name="connsiteX114" fmla="*/ 2641318 w 4703181"/>
              <a:gd name="connsiteY114" fmla="*/ 2740 h 12188825"/>
              <a:gd name="connsiteX115" fmla="*/ 2442591 w 4703181"/>
              <a:gd name="connsiteY115" fmla="*/ 2126581 h 12188825"/>
              <a:gd name="connsiteX116" fmla="*/ 2300196 w 4703181"/>
              <a:gd name="connsiteY116" fmla="*/ 2907272 h 12188825"/>
              <a:gd name="connsiteX117" fmla="*/ 2063915 w 4703181"/>
              <a:gd name="connsiteY117" fmla="*/ 4416608 h 12188825"/>
              <a:gd name="connsiteX118" fmla="*/ 2021831 w 4703181"/>
              <a:gd name="connsiteY118" fmla="*/ 5292172 h 12188825"/>
              <a:gd name="connsiteX119" fmla="*/ 1904686 w 4703181"/>
              <a:gd name="connsiteY119" fmla="*/ 5400875 h 12188825"/>
              <a:gd name="connsiteX120" fmla="*/ 1958292 w 4703181"/>
              <a:gd name="connsiteY120" fmla="*/ 6739501 h 12188825"/>
              <a:gd name="connsiteX121" fmla="*/ 2542738 w 4703181"/>
              <a:gd name="connsiteY121" fmla="*/ 10112449 h 12188825"/>
              <a:gd name="connsiteX122" fmla="*/ 2809140 w 4703181"/>
              <a:gd name="connsiteY122" fmla="*/ 10789045 h 12188825"/>
              <a:gd name="connsiteX123" fmla="*/ 3523933 w 4703181"/>
              <a:gd name="connsiteY123" fmla="*/ 12019084 h 12188825"/>
              <a:gd name="connsiteX124" fmla="*/ 3651957 w 4703181"/>
              <a:gd name="connsiteY124" fmla="*/ 12188825 h 12188825"/>
              <a:gd name="connsiteX125" fmla="*/ 3669378 w 4703181"/>
              <a:gd name="connsiteY125" fmla="*/ 12188825 h 12188825"/>
              <a:gd name="connsiteX126" fmla="*/ 3532332 w 4703181"/>
              <a:gd name="connsiteY126" fmla="*/ 12006541 h 12188825"/>
              <a:gd name="connsiteX127" fmla="*/ 2821267 w 4703181"/>
              <a:gd name="connsiteY127" fmla="*/ 10780829 h 12188825"/>
              <a:gd name="connsiteX128" fmla="*/ 2551735 w 4703181"/>
              <a:gd name="connsiteY128" fmla="*/ 10104229 h 12188825"/>
              <a:gd name="connsiteX129" fmla="*/ 1970028 w 4703181"/>
              <a:gd name="connsiteY129" fmla="*/ 6740414 h 12188825"/>
              <a:gd name="connsiteX130" fmla="*/ 1957901 w 4703181"/>
              <a:gd name="connsiteY130" fmla="*/ 4510657 h 12188825"/>
              <a:gd name="connsiteX131" fmla="*/ 2187923 w 4703181"/>
              <a:gd name="connsiteY131" fmla="*/ 2992193 h 12188825"/>
              <a:gd name="connsiteX132" fmla="*/ 2327189 w 4703181"/>
              <a:gd name="connsiteY132" fmla="*/ 2215153 h 12188825"/>
              <a:gd name="connsiteX133" fmla="*/ 2523959 w 4703181"/>
              <a:gd name="connsiteY133" fmla="*/ 2740 h 12188825"/>
              <a:gd name="connsiteX134" fmla="*/ 2511832 w 4703181"/>
              <a:gd name="connsiteY134" fmla="*/ 2740 h 12188825"/>
              <a:gd name="connsiteX135" fmla="*/ 2312323 w 4703181"/>
              <a:gd name="connsiteY135" fmla="*/ 2209675 h 12188825"/>
              <a:gd name="connsiteX136" fmla="*/ 2176187 w 4703181"/>
              <a:gd name="connsiteY136" fmla="*/ 2986712 h 12188825"/>
              <a:gd name="connsiteX137" fmla="*/ 1946165 w 4703181"/>
              <a:gd name="connsiteY137" fmla="*/ 4509744 h 12188825"/>
              <a:gd name="connsiteX138" fmla="*/ 1904686 w 4703181"/>
              <a:gd name="connsiteY138" fmla="*/ 5400875 h 12188825"/>
              <a:gd name="connsiteX139" fmla="*/ 1787040 w 4703181"/>
              <a:gd name="connsiteY139" fmla="*/ 5492377 h 12188825"/>
              <a:gd name="connsiteX140" fmla="*/ 1843281 w 4703181"/>
              <a:gd name="connsiteY140" fmla="*/ 6834463 h 12188825"/>
              <a:gd name="connsiteX141" fmla="*/ 2439853 w 4703181"/>
              <a:gd name="connsiteY141" fmla="*/ 10207409 h 12188825"/>
              <a:gd name="connsiteX142" fmla="*/ 2709386 w 4703181"/>
              <a:gd name="connsiteY142" fmla="*/ 10884007 h 12188825"/>
              <a:gd name="connsiteX143" fmla="*/ 3427751 w 4703181"/>
              <a:gd name="connsiteY143" fmla="*/ 12110033 h 12188825"/>
              <a:gd name="connsiteX144" fmla="*/ 3487403 w 4703181"/>
              <a:gd name="connsiteY144" fmla="*/ 12188825 h 12188825"/>
              <a:gd name="connsiteX145" fmla="*/ 3507219 w 4703181"/>
              <a:gd name="connsiteY145" fmla="*/ 12188825 h 12188825"/>
              <a:gd name="connsiteX146" fmla="*/ 3436975 w 4703181"/>
              <a:gd name="connsiteY146" fmla="*/ 12096025 h 12188825"/>
              <a:gd name="connsiteX147" fmla="*/ 2721513 w 4703181"/>
              <a:gd name="connsiteY147" fmla="*/ 10870309 h 12188825"/>
              <a:gd name="connsiteX148" fmla="*/ 2451980 w 4703181"/>
              <a:gd name="connsiteY148" fmla="*/ 10198279 h 12188825"/>
              <a:gd name="connsiteX149" fmla="*/ 1855408 w 4703181"/>
              <a:gd name="connsiteY149" fmla="*/ 6834463 h 12188825"/>
              <a:gd name="connsiteX150" fmla="*/ 1837413 w 4703181"/>
              <a:gd name="connsiteY150" fmla="*/ 4601050 h 12188825"/>
              <a:gd name="connsiteX151" fmla="*/ 2064697 w 4703181"/>
              <a:gd name="connsiteY151" fmla="*/ 3069802 h 12188825"/>
              <a:gd name="connsiteX152" fmla="*/ 2198094 w 4703181"/>
              <a:gd name="connsiteY152" fmla="*/ 2292765 h 12188825"/>
              <a:gd name="connsiteX153" fmla="*/ 2397994 w 4703181"/>
              <a:gd name="connsiteY153" fmla="*/ 1828 h 12188825"/>
              <a:gd name="connsiteX154" fmla="*/ 2385867 w 4703181"/>
              <a:gd name="connsiteY154" fmla="*/ 1828 h 12188825"/>
              <a:gd name="connsiteX155" fmla="*/ 2185968 w 4703181"/>
              <a:gd name="connsiteY155" fmla="*/ 2288202 h 12188825"/>
              <a:gd name="connsiteX156" fmla="*/ 2052571 w 4703181"/>
              <a:gd name="connsiteY156" fmla="*/ 3065236 h 12188825"/>
              <a:gd name="connsiteX157" fmla="*/ 1825286 w 4703181"/>
              <a:gd name="connsiteY157" fmla="*/ 4601050 h 12188825"/>
              <a:gd name="connsiteX158" fmla="*/ 1787040 w 4703181"/>
              <a:gd name="connsiteY158" fmla="*/ 5492377 h 12188825"/>
              <a:gd name="connsiteX159" fmla="*/ 1667909 w 4703181"/>
              <a:gd name="connsiteY159" fmla="*/ 5586534 h 12188825"/>
              <a:gd name="connsiteX160" fmla="*/ 1727879 w 4703181"/>
              <a:gd name="connsiteY160" fmla="*/ 6931252 h 12188825"/>
              <a:gd name="connsiteX161" fmla="*/ 2339707 w 4703181"/>
              <a:gd name="connsiteY161" fmla="*/ 10304197 h 12188825"/>
              <a:gd name="connsiteX162" fmla="*/ 2612370 w 4703181"/>
              <a:gd name="connsiteY162" fmla="*/ 10980795 h 12188825"/>
              <a:gd name="connsiteX163" fmla="*/ 3169382 w 4703181"/>
              <a:gd name="connsiteY163" fmla="*/ 11968983 h 12188825"/>
              <a:gd name="connsiteX164" fmla="*/ 3323303 w 4703181"/>
              <a:gd name="connsiteY164" fmla="*/ 12188825 h 12188825"/>
              <a:gd name="connsiteX165" fmla="*/ 3342512 w 4703181"/>
              <a:gd name="connsiteY165" fmla="*/ 12188825 h 12188825"/>
              <a:gd name="connsiteX166" fmla="*/ 3179553 w 4703181"/>
              <a:gd name="connsiteY166" fmla="*/ 11956086 h 12188825"/>
              <a:gd name="connsiteX167" fmla="*/ 2621367 w 4703181"/>
              <a:gd name="connsiteY167" fmla="*/ 10966185 h 12188825"/>
              <a:gd name="connsiteX168" fmla="*/ 2348705 w 4703181"/>
              <a:gd name="connsiteY168" fmla="*/ 10294153 h 12188825"/>
              <a:gd name="connsiteX169" fmla="*/ 1740006 w 4703181"/>
              <a:gd name="connsiteY169" fmla="*/ 6925774 h 12188825"/>
              <a:gd name="connsiteX170" fmla="*/ 1715752 w 4703181"/>
              <a:gd name="connsiteY170" fmla="*/ 4692361 h 12188825"/>
              <a:gd name="connsiteX171" fmla="*/ 1939906 w 4703181"/>
              <a:gd name="connsiteY171" fmla="*/ 3147416 h 12188825"/>
              <a:gd name="connsiteX172" fmla="*/ 2070174 w 4703181"/>
              <a:gd name="connsiteY172" fmla="*/ 2374942 h 12188825"/>
              <a:gd name="connsiteX173" fmla="*/ 2266945 w 4703181"/>
              <a:gd name="connsiteY173" fmla="*/ 1828 h 12188825"/>
              <a:gd name="connsiteX174" fmla="*/ 2254818 w 4703181"/>
              <a:gd name="connsiteY174" fmla="*/ 1828 h 12188825"/>
              <a:gd name="connsiteX175" fmla="*/ 2058047 w 4703181"/>
              <a:gd name="connsiteY175" fmla="*/ 2371292 h 12188825"/>
              <a:gd name="connsiteX176" fmla="*/ 1927780 w 4703181"/>
              <a:gd name="connsiteY176" fmla="*/ 3143763 h 12188825"/>
              <a:gd name="connsiteX177" fmla="*/ 1703625 w 4703181"/>
              <a:gd name="connsiteY177" fmla="*/ 4688707 h 12188825"/>
              <a:gd name="connsiteX178" fmla="*/ 1667909 w 4703181"/>
              <a:gd name="connsiteY178" fmla="*/ 5586534 h 12188825"/>
              <a:gd name="connsiteX179" fmla="*/ 1550530 w 4703181"/>
              <a:gd name="connsiteY179" fmla="*/ 5681294 h 12188825"/>
              <a:gd name="connsiteX180" fmla="*/ 1615997 w 4703181"/>
              <a:gd name="connsiteY180" fmla="*/ 7027126 h 12188825"/>
              <a:gd name="connsiteX181" fmla="*/ 2236823 w 4703181"/>
              <a:gd name="connsiteY181" fmla="*/ 10400071 h 12188825"/>
              <a:gd name="connsiteX182" fmla="*/ 2512615 w 4703181"/>
              <a:gd name="connsiteY182" fmla="*/ 11076669 h 12188825"/>
              <a:gd name="connsiteX183" fmla="*/ 3074126 w 4703181"/>
              <a:gd name="connsiteY183" fmla="*/ 12061434 h 12188825"/>
              <a:gd name="connsiteX184" fmla="*/ 3163837 w 4703181"/>
              <a:gd name="connsiteY184" fmla="*/ 12188825 h 12188825"/>
              <a:gd name="connsiteX185" fmla="*/ 3182377 w 4703181"/>
              <a:gd name="connsiteY185" fmla="*/ 12188825 h 12188825"/>
              <a:gd name="connsiteX186" fmla="*/ 3083514 w 4703181"/>
              <a:gd name="connsiteY186" fmla="*/ 12048879 h 12188825"/>
              <a:gd name="connsiteX187" fmla="*/ 2524742 w 4703181"/>
              <a:gd name="connsiteY187" fmla="*/ 11062973 h 12188825"/>
              <a:gd name="connsiteX188" fmla="*/ 2248950 w 4703181"/>
              <a:gd name="connsiteY188" fmla="*/ 10390941 h 12188825"/>
              <a:gd name="connsiteX189" fmla="*/ 1628124 w 4703181"/>
              <a:gd name="connsiteY189" fmla="*/ 7022561 h 12188825"/>
              <a:gd name="connsiteX190" fmla="*/ 1594873 w 4703181"/>
              <a:gd name="connsiteY190" fmla="*/ 4784582 h 12188825"/>
              <a:gd name="connsiteX191" fmla="*/ 1815897 w 4703181"/>
              <a:gd name="connsiteY191" fmla="*/ 3222290 h 12188825"/>
              <a:gd name="connsiteX192" fmla="*/ 1943036 w 4703181"/>
              <a:gd name="connsiteY192" fmla="*/ 2458948 h 12188825"/>
              <a:gd name="connsiteX193" fmla="*/ 2137069 w 4703181"/>
              <a:gd name="connsiteY193" fmla="*/ 2740 h 12188825"/>
              <a:gd name="connsiteX194" fmla="*/ 2124941 w 4703181"/>
              <a:gd name="connsiteY194" fmla="*/ 2740 h 12188825"/>
              <a:gd name="connsiteX195" fmla="*/ 1930909 w 4703181"/>
              <a:gd name="connsiteY195" fmla="*/ 2454383 h 12188825"/>
              <a:gd name="connsiteX196" fmla="*/ 1803770 w 4703181"/>
              <a:gd name="connsiteY196" fmla="*/ 3217722 h 12188825"/>
              <a:gd name="connsiteX197" fmla="*/ 1582746 w 4703181"/>
              <a:gd name="connsiteY197" fmla="*/ 4780017 h 12188825"/>
              <a:gd name="connsiteX198" fmla="*/ 1550530 w 4703181"/>
              <a:gd name="connsiteY198" fmla="*/ 5681294 h 12188825"/>
              <a:gd name="connsiteX199" fmla="*/ 1431558 w 4703181"/>
              <a:gd name="connsiteY199" fmla="*/ 5774658 h 12188825"/>
              <a:gd name="connsiteX200" fmla="*/ 1500204 w 4703181"/>
              <a:gd name="connsiteY200" fmla="*/ 7117519 h 12188825"/>
              <a:gd name="connsiteX201" fmla="*/ 2133156 w 4703181"/>
              <a:gd name="connsiteY201" fmla="*/ 10494119 h 12188825"/>
              <a:gd name="connsiteX202" fmla="*/ 2411687 w 4703181"/>
              <a:gd name="connsiteY202" fmla="*/ 11170717 h 12188825"/>
              <a:gd name="connsiteX203" fmla="*/ 2976670 w 4703181"/>
              <a:gd name="connsiteY203" fmla="*/ 12150117 h 12188825"/>
              <a:gd name="connsiteX204" fmla="*/ 3004167 w 4703181"/>
              <a:gd name="connsiteY204" fmla="*/ 12188825 h 12188825"/>
              <a:gd name="connsiteX205" fmla="*/ 3021808 w 4703181"/>
              <a:gd name="connsiteY205" fmla="*/ 12188825 h 12188825"/>
              <a:gd name="connsiteX206" fmla="*/ 2986254 w 4703181"/>
              <a:gd name="connsiteY206" fmla="*/ 12138704 h 12188825"/>
              <a:gd name="connsiteX207" fmla="*/ 2424205 w 4703181"/>
              <a:gd name="connsiteY207" fmla="*/ 11157933 h 12188825"/>
              <a:gd name="connsiteX208" fmla="*/ 2145674 w 4703181"/>
              <a:gd name="connsiteY208" fmla="*/ 10490465 h 12188825"/>
              <a:gd name="connsiteX209" fmla="*/ 1512722 w 4703181"/>
              <a:gd name="connsiteY209" fmla="*/ 7117519 h 12188825"/>
              <a:gd name="connsiteX210" fmla="*/ 1476341 w 4703181"/>
              <a:gd name="connsiteY210" fmla="*/ 4870413 h 12188825"/>
              <a:gd name="connsiteX211" fmla="*/ 1691498 w 4703181"/>
              <a:gd name="connsiteY211" fmla="*/ 3299899 h 12188825"/>
              <a:gd name="connsiteX212" fmla="*/ 1815506 w 4703181"/>
              <a:gd name="connsiteY212" fmla="*/ 2541124 h 12188825"/>
              <a:gd name="connsiteX213" fmla="*/ 2006409 w 4703181"/>
              <a:gd name="connsiteY213" fmla="*/ 1828 h 12188825"/>
              <a:gd name="connsiteX214" fmla="*/ 1994282 w 4703181"/>
              <a:gd name="connsiteY214" fmla="*/ 1828 h 12188825"/>
              <a:gd name="connsiteX215" fmla="*/ 1800249 w 4703181"/>
              <a:gd name="connsiteY215" fmla="*/ 2536561 h 12188825"/>
              <a:gd name="connsiteX216" fmla="*/ 1678979 w 4703181"/>
              <a:gd name="connsiteY216" fmla="*/ 3295335 h 12188825"/>
              <a:gd name="connsiteX217" fmla="*/ 1460694 w 4703181"/>
              <a:gd name="connsiteY217" fmla="*/ 4870413 h 12188825"/>
              <a:gd name="connsiteX218" fmla="*/ 1431558 w 4703181"/>
              <a:gd name="connsiteY218" fmla="*/ 5774658 h 12188825"/>
              <a:gd name="connsiteX219" fmla="*/ 1316783 w 4703181"/>
              <a:gd name="connsiteY219" fmla="*/ 5983239 h 12188825"/>
              <a:gd name="connsiteX220" fmla="*/ 1385585 w 4703181"/>
              <a:gd name="connsiteY220" fmla="*/ 7212481 h 12188825"/>
              <a:gd name="connsiteX221" fmla="*/ 2033793 w 4703181"/>
              <a:gd name="connsiteY221" fmla="*/ 10593645 h 12188825"/>
              <a:gd name="connsiteX222" fmla="*/ 2315453 w 4703181"/>
              <a:gd name="connsiteY222" fmla="*/ 11261111 h 12188825"/>
              <a:gd name="connsiteX223" fmla="*/ 2725552 w 4703181"/>
              <a:gd name="connsiteY223" fmla="*/ 12002591 h 12188825"/>
              <a:gd name="connsiteX224" fmla="*/ 2848013 w 4703181"/>
              <a:gd name="connsiteY224" fmla="*/ 12188825 h 12188825"/>
              <a:gd name="connsiteX225" fmla="*/ 2864698 w 4703181"/>
              <a:gd name="connsiteY225" fmla="*/ 12188825 h 12188825"/>
              <a:gd name="connsiteX226" fmla="*/ 2734549 w 4703181"/>
              <a:gd name="connsiteY226" fmla="*/ 11991212 h 12188825"/>
              <a:gd name="connsiteX227" fmla="*/ 2324449 w 4703181"/>
              <a:gd name="connsiteY227" fmla="*/ 11252895 h 12188825"/>
              <a:gd name="connsiteX228" fmla="*/ 2045921 w 4703181"/>
              <a:gd name="connsiteY228" fmla="*/ 10585427 h 12188825"/>
              <a:gd name="connsiteX229" fmla="*/ 1400840 w 4703181"/>
              <a:gd name="connsiteY229" fmla="*/ 7212481 h 12188825"/>
              <a:gd name="connsiteX230" fmla="*/ 1355462 w 4703181"/>
              <a:gd name="connsiteY230" fmla="*/ 4960808 h 12188825"/>
              <a:gd name="connsiteX231" fmla="*/ 1567490 w 4703181"/>
              <a:gd name="connsiteY231" fmla="*/ 3372947 h 12188825"/>
              <a:gd name="connsiteX232" fmla="*/ 1685629 w 4703181"/>
              <a:gd name="connsiteY232" fmla="*/ 2617826 h 12188825"/>
              <a:gd name="connsiteX233" fmla="*/ 1876533 w 4703181"/>
              <a:gd name="connsiteY233" fmla="*/ 0 h 12188825"/>
              <a:gd name="connsiteX234" fmla="*/ 1864406 w 4703181"/>
              <a:gd name="connsiteY234" fmla="*/ 0 h 12188825"/>
              <a:gd name="connsiteX235" fmla="*/ 1673502 w 4703181"/>
              <a:gd name="connsiteY235" fmla="*/ 2617826 h 12188825"/>
              <a:gd name="connsiteX236" fmla="*/ 1555363 w 4703181"/>
              <a:gd name="connsiteY236" fmla="*/ 3368384 h 12188825"/>
              <a:gd name="connsiteX237" fmla="*/ 1343334 w 4703181"/>
              <a:gd name="connsiteY237" fmla="*/ 4960808 h 12188825"/>
              <a:gd name="connsiteX238" fmla="*/ 1316783 w 4703181"/>
              <a:gd name="connsiteY238" fmla="*/ 5983239 h 12188825"/>
              <a:gd name="connsiteX239" fmla="*/ 1197424 w 4703181"/>
              <a:gd name="connsiteY239" fmla="*/ 5940738 h 12188825"/>
              <a:gd name="connsiteX240" fmla="*/ 1273311 w 4703181"/>
              <a:gd name="connsiteY240" fmla="*/ 7308355 h 12188825"/>
              <a:gd name="connsiteX241" fmla="*/ 1930518 w 4703181"/>
              <a:gd name="connsiteY241" fmla="*/ 10689519 h 12188825"/>
              <a:gd name="connsiteX242" fmla="*/ 2215308 w 4703181"/>
              <a:gd name="connsiteY242" fmla="*/ 11356985 h 12188825"/>
              <a:gd name="connsiteX243" fmla="*/ 2626706 w 4703181"/>
              <a:gd name="connsiteY243" fmla="*/ 12095496 h 12188825"/>
              <a:gd name="connsiteX244" fmla="*/ 2688496 w 4703181"/>
              <a:gd name="connsiteY244" fmla="*/ 12188825 h 12188825"/>
              <a:gd name="connsiteX245" fmla="*/ 2705295 w 4703181"/>
              <a:gd name="connsiteY245" fmla="*/ 12188825 h 12188825"/>
              <a:gd name="connsiteX246" fmla="*/ 2636193 w 4703181"/>
              <a:gd name="connsiteY246" fmla="*/ 12084548 h 12188825"/>
              <a:gd name="connsiteX247" fmla="*/ 2227435 w 4703181"/>
              <a:gd name="connsiteY247" fmla="*/ 11349683 h 12188825"/>
              <a:gd name="connsiteX248" fmla="*/ 1942645 w 4703181"/>
              <a:gd name="connsiteY248" fmla="*/ 10682215 h 12188825"/>
              <a:gd name="connsiteX249" fmla="*/ 1285438 w 4703181"/>
              <a:gd name="connsiteY249" fmla="*/ 7305617 h 12188825"/>
              <a:gd name="connsiteX250" fmla="*/ 1233801 w 4703181"/>
              <a:gd name="connsiteY250" fmla="*/ 5053943 h 12188825"/>
              <a:gd name="connsiteX251" fmla="*/ 1442698 w 4703181"/>
              <a:gd name="connsiteY251" fmla="*/ 3452387 h 12188825"/>
              <a:gd name="connsiteX252" fmla="*/ 1557710 w 4703181"/>
              <a:gd name="connsiteY252" fmla="*/ 2701828 h 12188825"/>
              <a:gd name="connsiteX253" fmla="*/ 1745483 w 4703181"/>
              <a:gd name="connsiteY253" fmla="*/ 915 h 12188825"/>
              <a:gd name="connsiteX254" fmla="*/ 1733356 w 4703181"/>
              <a:gd name="connsiteY254" fmla="*/ 915 h 12188825"/>
              <a:gd name="connsiteX255" fmla="*/ 1545583 w 4703181"/>
              <a:gd name="connsiteY255" fmla="*/ 2697263 h 12188825"/>
              <a:gd name="connsiteX256" fmla="*/ 1430572 w 4703181"/>
              <a:gd name="connsiteY256" fmla="*/ 3447819 h 12188825"/>
              <a:gd name="connsiteX257" fmla="*/ 1221675 w 4703181"/>
              <a:gd name="connsiteY257" fmla="*/ 5053030 h 12188825"/>
              <a:gd name="connsiteX258" fmla="*/ 1199101 w 4703181"/>
              <a:gd name="connsiteY258" fmla="*/ 5547053 h 12188825"/>
              <a:gd name="connsiteX259" fmla="*/ 1197424 w 4703181"/>
              <a:gd name="connsiteY259" fmla="*/ 5940738 h 12188825"/>
              <a:gd name="connsiteX260" fmla="*/ 1078828 w 4703181"/>
              <a:gd name="connsiteY260" fmla="*/ 6036519 h 12188825"/>
              <a:gd name="connsiteX261" fmla="*/ 1157909 w 4703181"/>
              <a:gd name="connsiteY261" fmla="*/ 7406058 h 12188825"/>
              <a:gd name="connsiteX262" fmla="*/ 1830372 w 4703181"/>
              <a:gd name="connsiteY262" fmla="*/ 10787217 h 12188825"/>
              <a:gd name="connsiteX263" fmla="*/ 2115162 w 4703181"/>
              <a:gd name="connsiteY263" fmla="*/ 11454687 h 12188825"/>
              <a:gd name="connsiteX264" fmla="*/ 2381296 w 4703181"/>
              <a:gd name="connsiteY264" fmla="*/ 11948440 h 12188825"/>
              <a:gd name="connsiteX265" fmla="*/ 2529188 w 4703181"/>
              <a:gd name="connsiteY265" fmla="*/ 12188825 h 12188825"/>
              <a:gd name="connsiteX266" fmla="*/ 2547321 w 4703181"/>
              <a:gd name="connsiteY266" fmla="*/ 12188825 h 12188825"/>
              <a:gd name="connsiteX267" fmla="*/ 2539574 w 4703181"/>
              <a:gd name="connsiteY267" fmla="*/ 12177213 h 12188825"/>
              <a:gd name="connsiteX268" fmla="*/ 2127288 w 4703181"/>
              <a:gd name="connsiteY268" fmla="*/ 11445557 h 12188825"/>
              <a:gd name="connsiteX269" fmla="*/ 1842499 w 4703181"/>
              <a:gd name="connsiteY269" fmla="*/ 10778089 h 12188825"/>
              <a:gd name="connsiteX270" fmla="*/ 1170035 w 4703181"/>
              <a:gd name="connsiteY270" fmla="*/ 7401491 h 12188825"/>
              <a:gd name="connsiteX271" fmla="*/ 1112530 w 4703181"/>
              <a:gd name="connsiteY271" fmla="*/ 5146165 h 12188825"/>
              <a:gd name="connsiteX272" fmla="*/ 1318690 w 4703181"/>
              <a:gd name="connsiteY272" fmla="*/ 3527258 h 12188825"/>
              <a:gd name="connsiteX273" fmla="*/ 1430572 w 4703181"/>
              <a:gd name="connsiteY273" fmla="*/ 2785833 h 12188825"/>
              <a:gd name="connsiteX274" fmla="*/ 1612477 w 4703181"/>
              <a:gd name="connsiteY274" fmla="*/ 1828 h 12188825"/>
              <a:gd name="connsiteX275" fmla="*/ 1600350 w 4703181"/>
              <a:gd name="connsiteY275" fmla="*/ 1828 h 12188825"/>
              <a:gd name="connsiteX276" fmla="*/ 1418445 w 4703181"/>
              <a:gd name="connsiteY276" fmla="*/ 2781267 h 12188825"/>
              <a:gd name="connsiteX277" fmla="*/ 1306563 w 4703181"/>
              <a:gd name="connsiteY277" fmla="*/ 3522695 h 12188825"/>
              <a:gd name="connsiteX278" fmla="*/ 1100403 w 4703181"/>
              <a:gd name="connsiteY278" fmla="*/ 5141598 h 12188825"/>
              <a:gd name="connsiteX279" fmla="*/ 1079627 w 4703181"/>
              <a:gd name="connsiteY279" fmla="*/ 5640773 h 12188825"/>
              <a:gd name="connsiteX280" fmla="*/ 1078828 w 4703181"/>
              <a:gd name="connsiteY280" fmla="*/ 6036519 h 12188825"/>
              <a:gd name="connsiteX281" fmla="*/ 959287 w 4703181"/>
              <a:gd name="connsiteY281" fmla="*/ 5865907 h 12188825"/>
              <a:gd name="connsiteX282" fmla="*/ 1043290 w 4703181"/>
              <a:gd name="connsiteY282" fmla="*/ 7499191 h 12188825"/>
              <a:gd name="connsiteX283" fmla="*/ 1727879 w 4703181"/>
              <a:gd name="connsiteY283" fmla="*/ 10884919 h 12188825"/>
              <a:gd name="connsiteX284" fmla="*/ 2018536 w 4703181"/>
              <a:gd name="connsiteY284" fmla="*/ 11552387 h 12188825"/>
              <a:gd name="connsiteX285" fmla="*/ 2284769 w 4703181"/>
              <a:gd name="connsiteY285" fmla="*/ 12042929 h 12188825"/>
              <a:gd name="connsiteX286" fmla="*/ 2375119 w 4703181"/>
              <a:gd name="connsiteY286" fmla="*/ 12188825 h 12188825"/>
              <a:gd name="connsiteX287" fmla="*/ 2392293 w 4703181"/>
              <a:gd name="connsiteY287" fmla="*/ 12188825 h 12188825"/>
              <a:gd name="connsiteX288" fmla="*/ 2293718 w 4703181"/>
              <a:gd name="connsiteY288" fmla="*/ 12030174 h 12188825"/>
              <a:gd name="connsiteX289" fmla="*/ 2027534 w 4703181"/>
              <a:gd name="connsiteY289" fmla="*/ 11542343 h 12188825"/>
              <a:gd name="connsiteX290" fmla="*/ 1739615 w 4703181"/>
              <a:gd name="connsiteY290" fmla="*/ 10874877 h 12188825"/>
              <a:gd name="connsiteX291" fmla="*/ 1058154 w 4703181"/>
              <a:gd name="connsiteY291" fmla="*/ 7498278 h 12188825"/>
              <a:gd name="connsiteX292" fmla="*/ 991652 w 4703181"/>
              <a:gd name="connsiteY292" fmla="*/ 5238385 h 12188825"/>
              <a:gd name="connsiteX293" fmla="*/ 1194681 w 4703181"/>
              <a:gd name="connsiteY293" fmla="*/ 3602132 h 12188825"/>
              <a:gd name="connsiteX294" fmla="*/ 1303825 w 4703181"/>
              <a:gd name="connsiteY294" fmla="*/ 2868924 h 12188825"/>
              <a:gd name="connsiteX295" fmla="*/ 1482601 w 4703181"/>
              <a:gd name="connsiteY295" fmla="*/ 2740 h 12188825"/>
              <a:gd name="connsiteX296" fmla="*/ 1470474 w 4703181"/>
              <a:gd name="connsiteY296" fmla="*/ 2740 h 12188825"/>
              <a:gd name="connsiteX297" fmla="*/ 1288567 w 4703181"/>
              <a:gd name="connsiteY297" fmla="*/ 2865272 h 12188825"/>
              <a:gd name="connsiteX298" fmla="*/ 1182554 w 4703181"/>
              <a:gd name="connsiteY298" fmla="*/ 3598481 h 12188825"/>
              <a:gd name="connsiteX299" fmla="*/ 979525 w 4703181"/>
              <a:gd name="connsiteY299" fmla="*/ 5234734 h 12188825"/>
              <a:gd name="connsiteX300" fmla="*/ 959287 w 4703181"/>
              <a:gd name="connsiteY300" fmla="*/ 5865907 h 12188825"/>
              <a:gd name="connsiteX301" fmla="*/ 840186 w 4703181"/>
              <a:gd name="connsiteY301" fmla="*/ 5825530 h 12188825"/>
              <a:gd name="connsiteX302" fmla="*/ 930625 w 4703181"/>
              <a:gd name="connsiteY302" fmla="*/ 7594154 h 12188825"/>
              <a:gd name="connsiteX303" fmla="*/ 1627342 w 4703181"/>
              <a:gd name="connsiteY303" fmla="*/ 10979883 h 12188825"/>
              <a:gd name="connsiteX304" fmla="*/ 1917999 w 4703181"/>
              <a:gd name="connsiteY304" fmla="*/ 11647349 h 12188825"/>
              <a:gd name="connsiteX305" fmla="*/ 2186524 w 4703181"/>
              <a:gd name="connsiteY305" fmla="*/ 12137948 h 12188825"/>
              <a:gd name="connsiteX306" fmla="*/ 2218239 w 4703181"/>
              <a:gd name="connsiteY306" fmla="*/ 12188825 h 12188825"/>
              <a:gd name="connsiteX307" fmla="*/ 2235959 w 4703181"/>
              <a:gd name="connsiteY307" fmla="*/ 12188825 h 12188825"/>
              <a:gd name="connsiteX308" fmla="*/ 2196903 w 4703181"/>
              <a:gd name="connsiteY308" fmla="*/ 12126177 h 12188825"/>
              <a:gd name="connsiteX309" fmla="*/ 1930127 w 4703181"/>
              <a:gd name="connsiteY309" fmla="*/ 11638217 h 12188825"/>
              <a:gd name="connsiteX310" fmla="*/ 1636339 w 4703181"/>
              <a:gd name="connsiteY310" fmla="*/ 10970751 h 12188825"/>
              <a:gd name="connsiteX311" fmla="*/ 942752 w 4703181"/>
              <a:gd name="connsiteY311" fmla="*/ 7589586 h 12188825"/>
              <a:gd name="connsiteX312" fmla="*/ 873120 w 4703181"/>
              <a:gd name="connsiteY312" fmla="*/ 5325130 h 12188825"/>
              <a:gd name="connsiteX313" fmla="*/ 1069890 w 4703181"/>
              <a:gd name="connsiteY313" fmla="*/ 3676093 h 12188825"/>
              <a:gd name="connsiteX314" fmla="*/ 1172775 w 4703181"/>
              <a:gd name="connsiteY314" fmla="*/ 2947449 h 12188825"/>
              <a:gd name="connsiteX315" fmla="*/ 1351550 w 4703181"/>
              <a:gd name="connsiteY315" fmla="*/ 2740 h 12188825"/>
              <a:gd name="connsiteX316" fmla="*/ 1336294 w 4703181"/>
              <a:gd name="connsiteY316" fmla="*/ 2740 h 12188825"/>
              <a:gd name="connsiteX317" fmla="*/ 1160646 w 4703181"/>
              <a:gd name="connsiteY317" fmla="*/ 2947449 h 12188825"/>
              <a:gd name="connsiteX318" fmla="*/ 1057764 w 4703181"/>
              <a:gd name="connsiteY318" fmla="*/ 3671527 h 12188825"/>
              <a:gd name="connsiteX319" fmla="*/ 857863 w 4703181"/>
              <a:gd name="connsiteY319" fmla="*/ 5325130 h 12188825"/>
              <a:gd name="connsiteX320" fmla="*/ 840186 w 4703181"/>
              <a:gd name="connsiteY320" fmla="*/ 5825530 h 12188825"/>
              <a:gd name="connsiteX321" fmla="*/ 722094 w 4703181"/>
              <a:gd name="connsiteY321" fmla="*/ 5919464 h 12188825"/>
              <a:gd name="connsiteX322" fmla="*/ 815614 w 4703181"/>
              <a:gd name="connsiteY322" fmla="*/ 7689116 h 12188825"/>
              <a:gd name="connsiteX323" fmla="*/ 1524458 w 4703181"/>
              <a:gd name="connsiteY323" fmla="*/ 11074841 h 12188825"/>
              <a:gd name="connsiteX324" fmla="*/ 1821373 w 4703181"/>
              <a:gd name="connsiteY324" fmla="*/ 11742309 h 12188825"/>
              <a:gd name="connsiteX325" fmla="*/ 1950186 w 4703181"/>
              <a:gd name="connsiteY325" fmla="*/ 11988534 h 12188825"/>
              <a:gd name="connsiteX326" fmla="*/ 2065263 w 4703181"/>
              <a:gd name="connsiteY326" fmla="*/ 12188825 h 12188825"/>
              <a:gd name="connsiteX327" fmla="*/ 2081369 w 4703181"/>
              <a:gd name="connsiteY327" fmla="*/ 12188825 h 12188825"/>
              <a:gd name="connsiteX328" fmla="*/ 1959970 w 4703181"/>
              <a:gd name="connsiteY328" fmla="*/ 11978801 h 12188825"/>
              <a:gd name="connsiteX329" fmla="*/ 1830372 w 4703181"/>
              <a:gd name="connsiteY329" fmla="*/ 11734091 h 12188825"/>
              <a:gd name="connsiteX330" fmla="*/ 1536586 w 4703181"/>
              <a:gd name="connsiteY330" fmla="*/ 11066623 h 12188825"/>
              <a:gd name="connsiteX331" fmla="*/ 827740 w 4703181"/>
              <a:gd name="connsiteY331" fmla="*/ 7685460 h 12188825"/>
              <a:gd name="connsiteX332" fmla="*/ 751848 w 4703181"/>
              <a:gd name="connsiteY332" fmla="*/ 5416439 h 12188825"/>
              <a:gd name="connsiteX333" fmla="*/ 945882 w 4703181"/>
              <a:gd name="connsiteY333" fmla="*/ 3750052 h 12188825"/>
              <a:gd name="connsiteX334" fmla="*/ 1046028 w 4703181"/>
              <a:gd name="connsiteY334" fmla="*/ 3030539 h 12188825"/>
              <a:gd name="connsiteX335" fmla="*/ 1218545 w 4703181"/>
              <a:gd name="connsiteY335" fmla="*/ 2740 h 12188825"/>
              <a:gd name="connsiteX336" fmla="*/ 1206418 w 4703181"/>
              <a:gd name="connsiteY336" fmla="*/ 2740 h 12188825"/>
              <a:gd name="connsiteX337" fmla="*/ 1033901 w 4703181"/>
              <a:gd name="connsiteY337" fmla="*/ 3025976 h 12188825"/>
              <a:gd name="connsiteX338" fmla="*/ 933753 w 4703181"/>
              <a:gd name="connsiteY338" fmla="*/ 3750052 h 12188825"/>
              <a:gd name="connsiteX339" fmla="*/ 739722 w 4703181"/>
              <a:gd name="connsiteY339" fmla="*/ 5416439 h 12188825"/>
              <a:gd name="connsiteX340" fmla="*/ 722094 w 4703181"/>
              <a:gd name="connsiteY340" fmla="*/ 5919464 h 12188825"/>
              <a:gd name="connsiteX341" fmla="*/ 603508 w 4703181"/>
              <a:gd name="connsiteY341" fmla="*/ 6013313 h 12188825"/>
              <a:gd name="connsiteX342" fmla="*/ 700603 w 4703181"/>
              <a:gd name="connsiteY342" fmla="*/ 7786812 h 12188825"/>
              <a:gd name="connsiteX343" fmla="*/ 1424703 w 4703181"/>
              <a:gd name="connsiteY343" fmla="*/ 11172543 h 12188825"/>
              <a:gd name="connsiteX344" fmla="*/ 1721620 w 4703181"/>
              <a:gd name="connsiteY344" fmla="*/ 11840011 h 12188825"/>
              <a:gd name="connsiteX345" fmla="*/ 1851477 w 4703181"/>
              <a:gd name="connsiteY345" fmla="*/ 12084841 h 12188825"/>
              <a:gd name="connsiteX346" fmla="*/ 1911933 w 4703181"/>
              <a:gd name="connsiteY346" fmla="*/ 12188825 h 12188825"/>
              <a:gd name="connsiteX347" fmla="*/ 1927592 w 4703181"/>
              <a:gd name="connsiteY347" fmla="*/ 12188825 h 12188825"/>
              <a:gd name="connsiteX348" fmla="*/ 1860469 w 4703181"/>
              <a:gd name="connsiteY348" fmla="*/ 12073940 h 12188825"/>
              <a:gd name="connsiteX349" fmla="*/ 1730618 w 4703181"/>
              <a:gd name="connsiteY349" fmla="*/ 11830879 h 12188825"/>
              <a:gd name="connsiteX350" fmla="*/ 1433702 w 4703181"/>
              <a:gd name="connsiteY350" fmla="*/ 11163411 h 12188825"/>
              <a:gd name="connsiteX351" fmla="*/ 715859 w 4703181"/>
              <a:gd name="connsiteY351" fmla="*/ 7782246 h 12188825"/>
              <a:gd name="connsiteX352" fmla="*/ 630971 w 4703181"/>
              <a:gd name="connsiteY352" fmla="*/ 5509573 h 12188825"/>
              <a:gd name="connsiteX353" fmla="*/ 821873 w 4703181"/>
              <a:gd name="connsiteY353" fmla="*/ 3829491 h 12188825"/>
              <a:gd name="connsiteX354" fmla="*/ 918889 w 4703181"/>
              <a:gd name="connsiteY354" fmla="*/ 3113632 h 12188825"/>
              <a:gd name="connsiteX355" fmla="*/ 1088668 w 4703181"/>
              <a:gd name="connsiteY355" fmla="*/ 2740 h 12188825"/>
              <a:gd name="connsiteX356" fmla="*/ 1073411 w 4703181"/>
              <a:gd name="connsiteY356" fmla="*/ 2740 h 12188825"/>
              <a:gd name="connsiteX357" fmla="*/ 906763 w 4703181"/>
              <a:gd name="connsiteY357" fmla="*/ 3109066 h 12188825"/>
              <a:gd name="connsiteX358" fmla="*/ 806616 w 4703181"/>
              <a:gd name="connsiteY358" fmla="*/ 3824928 h 12188825"/>
              <a:gd name="connsiteX359" fmla="*/ 618843 w 4703181"/>
              <a:gd name="connsiteY359" fmla="*/ 5505008 h 12188825"/>
              <a:gd name="connsiteX360" fmla="*/ 603508 w 4703181"/>
              <a:gd name="connsiteY360" fmla="*/ 6013313 h 12188825"/>
              <a:gd name="connsiteX361" fmla="*/ 484138 w 4703181"/>
              <a:gd name="connsiteY361" fmla="*/ 6104622 h 12188825"/>
              <a:gd name="connsiteX362" fmla="*/ 588330 w 4703181"/>
              <a:gd name="connsiteY362" fmla="*/ 7878123 h 12188825"/>
              <a:gd name="connsiteX363" fmla="*/ 1321429 w 4703181"/>
              <a:gd name="connsiteY363" fmla="*/ 11268417 h 12188825"/>
              <a:gd name="connsiteX364" fmla="*/ 1621474 w 4703181"/>
              <a:gd name="connsiteY364" fmla="*/ 11935885 h 12188825"/>
              <a:gd name="connsiteX365" fmla="*/ 1752247 w 4703181"/>
              <a:gd name="connsiteY365" fmla="*/ 12177898 h 12188825"/>
              <a:gd name="connsiteX366" fmla="*/ 1758681 w 4703181"/>
              <a:gd name="connsiteY366" fmla="*/ 12188825 h 12188825"/>
              <a:gd name="connsiteX367" fmla="*/ 1777889 w 4703181"/>
              <a:gd name="connsiteY367" fmla="*/ 12188825 h 12188825"/>
              <a:gd name="connsiteX368" fmla="*/ 1763464 w 4703181"/>
              <a:gd name="connsiteY368" fmla="*/ 12164202 h 12188825"/>
              <a:gd name="connsiteX369" fmla="*/ 1633601 w 4703181"/>
              <a:gd name="connsiteY369" fmla="*/ 11922189 h 12188825"/>
              <a:gd name="connsiteX370" fmla="*/ 1333556 w 4703181"/>
              <a:gd name="connsiteY370" fmla="*/ 11259285 h 12188825"/>
              <a:gd name="connsiteX371" fmla="*/ 600457 w 4703181"/>
              <a:gd name="connsiteY371" fmla="*/ 7878123 h 12188825"/>
              <a:gd name="connsiteX372" fmla="*/ 509699 w 4703181"/>
              <a:gd name="connsiteY372" fmla="*/ 5600881 h 12188825"/>
              <a:gd name="connsiteX373" fmla="*/ 694343 w 4703181"/>
              <a:gd name="connsiteY373" fmla="*/ 3898887 h 12188825"/>
              <a:gd name="connsiteX374" fmla="*/ 791360 w 4703181"/>
              <a:gd name="connsiteY374" fmla="*/ 3196721 h 12188825"/>
              <a:gd name="connsiteX375" fmla="*/ 954878 w 4703181"/>
              <a:gd name="connsiteY375" fmla="*/ 2740 h 12188825"/>
              <a:gd name="connsiteX376" fmla="*/ 942752 w 4703181"/>
              <a:gd name="connsiteY376" fmla="*/ 2740 h 12188825"/>
              <a:gd name="connsiteX377" fmla="*/ 776104 w 4703181"/>
              <a:gd name="connsiteY377" fmla="*/ 3192156 h 12188825"/>
              <a:gd name="connsiteX378" fmla="*/ 682216 w 4703181"/>
              <a:gd name="connsiteY378" fmla="*/ 3898887 h 12188825"/>
              <a:gd name="connsiteX379" fmla="*/ 497572 w 4703181"/>
              <a:gd name="connsiteY379" fmla="*/ 5596316 h 12188825"/>
              <a:gd name="connsiteX380" fmla="*/ 484138 w 4703181"/>
              <a:gd name="connsiteY380" fmla="*/ 6104622 h 12188825"/>
              <a:gd name="connsiteX381" fmla="*/ 365502 w 4703181"/>
              <a:gd name="connsiteY381" fmla="*/ 6198056 h 12188825"/>
              <a:gd name="connsiteX382" fmla="*/ 473711 w 4703181"/>
              <a:gd name="connsiteY382" fmla="*/ 7973996 h 12188825"/>
              <a:gd name="connsiteX383" fmla="*/ 1218935 w 4703181"/>
              <a:gd name="connsiteY383" fmla="*/ 11364293 h 12188825"/>
              <a:gd name="connsiteX384" fmla="*/ 1524850 w 4703181"/>
              <a:gd name="connsiteY384" fmla="*/ 12031759 h 12188825"/>
              <a:gd name="connsiteX385" fmla="*/ 1609825 w 4703181"/>
              <a:gd name="connsiteY385" fmla="*/ 12188825 h 12188825"/>
              <a:gd name="connsiteX386" fmla="*/ 1626613 w 4703181"/>
              <a:gd name="connsiteY386" fmla="*/ 12188825 h 12188825"/>
              <a:gd name="connsiteX387" fmla="*/ 1533847 w 4703181"/>
              <a:gd name="connsiteY387" fmla="*/ 12017149 h 12188825"/>
              <a:gd name="connsiteX388" fmla="*/ 1231062 w 4703181"/>
              <a:gd name="connsiteY388" fmla="*/ 11354247 h 12188825"/>
              <a:gd name="connsiteX389" fmla="*/ 485837 w 4703181"/>
              <a:gd name="connsiteY389" fmla="*/ 7968518 h 12188825"/>
              <a:gd name="connsiteX390" fmla="*/ 388820 w 4703181"/>
              <a:gd name="connsiteY390" fmla="*/ 5686713 h 12188825"/>
              <a:gd name="connsiteX391" fmla="*/ 570726 w 4703181"/>
              <a:gd name="connsiteY391" fmla="*/ 3971935 h 12188825"/>
              <a:gd name="connsiteX392" fmla="*/ 661483 w 4703181"/>
              <a:gd name="connsiteY392" fmla="*/ 3277986 h 12188825"/>
              <a:gd name="connsiteX393" fmla="*/ 821873 w 4703181"/>
              <a:gd name="connsiteY393" fmla="*/ 1828 h 12188825"/>
              <a:gd name="connsiteX394" fmla="*/ 809747 w 4703181"/>
              <a:gd name="connsiteY394" fmla="*/ 1828 h 12188825"/>
              <a:gd name="connsiteX395" fmla="*/ 649356 w 4703181"/>
              <a:gd name="connsiteY395" fmla="*/ 3274335 h 12188825"/>
              <a:gd name="connsiteX396" fmla="*/ 558599 w 4703181"/>
              <a:gd name="connsiteY396" fmla="*/ 3968280 h 12188825"/>
              <a:gd name="connsiteX397" fmla="*/ 376694 w 4703181"/>
              <a:gd name="connsiteY397" fmla="*/ 5687625 h 12188825"/>
              <a:gd name="connsiteX398" fmla="*/ 365502 w 4703181"/>
              <a:gd name="connsiteY398" fmla="*/ 6198056 h 12188825"/>
              <a:gd name="connsiteX399" fmla="*/ 246359 w 4703181"/>
              <a:gd name="connsiteY399" fmla="*/ 6291090 h 12188825"/>
              <a:gd name="connsiteX400" fmla="*/ 361829 w 4703181"/>
              <a:gd name="connsiteY400" fmla="*/ 8068958 h 12188825"/>
              <a:gd name="connsiteX401" fmla="*/ 1119180 w 4703181"/>
              <a:gd name="connsiteY401" fmla="*/ 11459251 h 12188825"/>
              <a:gd name="connsiteX402" fmla="*/ 1425096 w 4703181"/>
              <a:gd name="connsiteY402" fmla="*/ 12126717 h 12188825"/>
              <a:gd name="connsiteX403" fmla="*/ 1459172 w 4703181"/>
              <a:gd name="connsiteY403" fmla="*/ 12188825 h 12188825"/>
              <a:gd name="connsiteX404" fmla="*/ 1475636 w 4703181"/>
              <a:gd name="connsiteY404" fmla="*/ 12188825 h 12188825"/>
              <a:gd name="connsiteX405" fmla="*/ 1434092 w 4703181"/>
              <a:gd name="connsiteY405" fmla="*/ 12113023 h 12188825"/>
              <a:gd name="connsiteX406" fmla="*/ 1131307 w 4703181"/>
              <a:gd name="connsiteY406" fmla="*/ 11450123 h 12188825"/>
              <a:gd name="connsiteX407" fmla="*/ 373956 w 4703181"/>
              <a:gd name="connsiteY407" fmla="*/ 8064394 h 12188825"/>
              <a:gd name="connsiteX408" fmla="*/ 271072 w 4703181"/>
              <a:gd name="connsiteY408" fmla="*/ 5778021 h 12188825"/>
              <a:gd name="connsiteX409" fmla="*/ 446717 w 4703181"/>
              <a:gd name="connsiteY409" fmla="*/ 4045894 h 12188825"/>
              <a:gd name="connsiteX410" fmla="*/ 534736 w 4703181"/>
              <a:gd name="connsiteY410" fmla="*/ 3356513 h 12188825"/>
              <a:gd name="connsiteX411" fmla="*/ 692388 w 4703181"/>
              <a:gd name="connsiteY411" fmla="*/ 1828 h 12188825"/>
              <a:gd name="connsiteX412" fmla="*/ 677130 w 4703181"/>
              <a:gd name="connsiteY412" fmla="*/ 1828 h 12188825"/>
              <a:gd name="connsiteX413" fmla="*/ 522609 w 4703181"/>
              <a:gd name="connsiteY413" fmla="*/ 3356513 h 12188825"/>
              <a:gd name="connsiteX414" fmla="*/ 434590 w 4703181"/>
              <a:gd name="connsiteY414" fmla="*/ 4041328 h 12188825"/>
              <a:gd name="connsiteX415" fmla="*/ 255815 w 4703181"/>
              <a:gd name="connsiteY415" fmla="*/ 5778021 h 12188825"/>
              <a:gd name="connsiteX416" fmla="*/ 246359 w 4703181"/>
              <a:gd name="connsiteY416" fmla="*/ 6291090 h 12188825"/>
              <a:gd name="connsiteX417" fmla="*/ 126714 w 4703181"/>
              <a:gd name="connsiteY417" fmla="*/ 6383042 h 12188825"/>
              <a:gd name="connsiteX418" fmla="*/ 246035 w 4703181"/>
              <a:gd name="connsiteY418" fmla="*/ 8160267 h 12188825"/>
              <a:gd name="connsiteX419" fmla="*/ 1015514 w 4703181"/>
              <a:gd name="connsiteY419" fmla="*/ 11554213 h 12188825"/>
              <a:gd name="connsiteX420" fmla="*/ 1163142 w 4703181"/>
              <a:gd name="connsiteY420" fmla="*/ 11894453 h 12188825"/>
              <a:gd name="connsiteX421" fmla="*/ 1308351 w 4703181"/>
              <a:gd name="connsiteY421" fmla="*/ 12188825 h 12188825"/>
              <a:gd name="connsiteX422" fmla="*/ 1326652 w 4703181"/>
              <a:gd name="connsiteY422" fmla="*/ 12188825 h 12188825"/>
              <a:gd name="connsiteX423" fmla="*/ 1174242 w 4703181"/>
              <a:gd name="connsiteY423" fmla="*/ 11883952 h 12188825"/>
              <a:gd name="connsiteX424" fmla="*/ 1027641 w 4703181"/>
              <a:gd name="connsiteY424" fmla="*/ 11545997 h 12188825"/>
              <a:gd name="connsiteX425" fmla="*/ 258162 w 4703181"/>
              <a:gd name="connsiteY425" fmla="*/ 8160267 h 12188825"/>
              <a:gd name="connsiteX426" fmla="*/ 149019 w 4703181"/>
              <a:gd name="connsiteY426" fmla="*/ 5869330 h 12188825"/>
              <a:gd name="connsiteX427" fmla="*/ 321534 w 4703181"/>
              <a:gd name="connsiteY427" fmla="*/ 4119855 h 12188825"/>
              <a:gd name="connsiteX428" fmla="*/ 406424 w 4703181"/>
              <a:gd name="connsiteY428" fmla="*/ 3439603 h 12188825"/>
              <a:gd name="connsiteX429" fmla="*/ 557818 w 4703181"/>
              <a:gd name="connsiteY429" fmla="*/ 1828 h 12188825"/>
              <a:gd name="connsiteX430" fmla="*/ 545691 w 4703181"/>
              <a:gd name="connsiteY430" fmla="*/ 1828 h 12188825"/>
              <a:gd name="connsiteX431" fmla="*/ 394297 w 4703181"/>
              <a:gd name="connsiteY431" fmla="*/ 3435039 h 12188825"/>
              <a:gd name="connsiteX432" fmla="*/ 309407 w 4703181"/>
              <a:gd name="connsiteY432" fmla="*/ 4115287 h 12188825"/>
              <a:gd name="connsiteX433" fmla="*/ 136890 w 4703181"/>
              <a:gd name="connsiteY433" fmla="*/ 5869330 h 12188825"/>
              <a:gd name="connsiteX434" fmla="*/ 126714 w 4703181"/>
              <a:gd name="connsiteY434" fmla="*/ 6383042 h 12188825"/>
              <a:gd name="connsiteX435" fmla="*/ 7913 w 4703181"/>
              <a:gd name="connsiteY435" fmla="*/ 6475962 h 12188825"/>
              <a:gd name="connsiteX436" fmla="*/ 131415 w 4703181"/>
              <a:gd name="connsiteY436" fmla="*/ 8256141 h 12188825"/>
              <a:gd name="connsiteX437" fmla="*/ 915760 w 4703181"/>
              <a:gd name="connsiteY437" fmla="*/ 11650087 h 12188825"/>
              <a:gd name="connsiteX438" fmla="*/ 1063778 w 4703181"/>
              <a:gd name="connsiteY438" fmla="*/ 11990327 h 12188825"/>
              <a:gd name="connsiteX439" fmla="*/ 1163355 w 4703181"/>
              <a:gd name="connsiteY439" fmla="*/ 12188825 h 12188825"/>
              <a:gd name="connsiteX440" fmla="*/ 1179133 w 4703181"/>
              <a:gd name="connsiteY440" fmla="*/ 12188825 h 12188825"/>
              <a:gd name="connsiteX441" fmla="*/ 1074096 w 4703181"/>
              <a:gd name="connsiteY441" fmla="*/ 11978115 h 12188825"/>
              <a:gd name="connsiteX442" fmla="*/ 924758 w 4703181"/>
              <a:gd name="connsiteY442" fmla="*/ 11641871 h 12188825"/>
              <a:gd name="connsiteX443" fmla="*/ 143150 w 4703181"/>
              <a:gd name="connsiteY443" fmla="*/ 8256141 h 12188825"/>
              <a:gd name="connsiteX444" fmla="*/ 28140 w 4703181"/>
              <a:gd name="connsiteY444" fmla="*/ 5961553 h 12188825"/>
              <a:gd name="connsiteX445" fmla="*/ 197919 w 4703181"/>
              <a:gd name="connsiteY445" fmla="*/ 4190161 h 12188825"/>
              <a:gd name="connsiteX446" fmla="*/ 279678 w 4703181"/>
              <a:gd name="connsiteY446" fmla="*/ 3522695 h 12188825"/>
              <a:gd name="connsiteX447" fmla="*/ 425203 w 4703181"/>
              <a:gd name="connsiteY447" fmla="*/ 1828 h 12188825"/>
              <a:gd name="connsiteX448" fmla="*/ 413074 w 4703181"/>
              <a:gd name="connsiteY448" fmla="*/ 1828 h 12188825"/>
              <a:gd name="connsiteX449" fmla="*/ 264813 w 4703181"/>
              <a:gd name="connsiteY449" fmla="*/ 3518129 h 12188825"/>
              <a:gd name="connsiteX450" fmla="*/ 186181 w 4703181"/>
              <a:gd name="connsiteY450" fmla="*/ 4190161 h 12188825"/>
              <a:gd name="connsiteX451" fmla="*/ 16403 w 4703181"/>
              <a:gd name="connsiteY451" fmla="*/ 5956988 h 12188825"/>
              <a:gd name="connsiteX452" fmla="*/ 7913 w 4703181"/>
              <a:gd name="connsiteY452" fmla="*/ 6475962 h 12188825"/>
              <a:gd name="connsiteX453" fmla="*/ 0 w 4703181"/>
              <a:gd name="connsiteY453" fmla="*/ 12143747 h 12188825"/>
              <a:gd name="connsiteX454" fmla="*/ 0 w 4703181"/>
              <a:gd name="connsiteY454" fmla="*/ 12180859 h 12188825"/>
              <a:gd name="connsiteX455" fmla="*/ 3313 w 4703181"/>
              <a:gd name="connsiteY455" fmla="*/ 12188825 h 12188825"/>
              <a:gd name="connsiteX456" fmla="*/ 18829 w 4703181"/>
              <a:gd name="connsiteY456" fmla="*/ 12188825 h 12188825"/>
              <a:gd name="connsiteX457" fmla="*/ 0 w 4703181"/>
              <a:gd name="connsiteY457" fmla="*/ 11770999 h 12188825"/>
              <a:gd name="connsiteX458" fmla="*/ 0 w 4703181"/>
              <a:gd name="connsiteY458" fmla="*/ 11814171 h 12188825"/>
              <a:gd name="connsiteX459" fmla="*/ 60618 w 4703181"/>
              <a:gd name="connsiteY459" fmla="*/ 11981565 h 12188825"/>
              <a:gd name="connsiteX460" fmla="*/ 146370 w 4703181"/>
              <a:gd name="connsiteY460" fmla="*/ 12188825 h 12188825"/>
              <a:gd name="connsiteX461" fmla="*/ 162634 w 4703181"/>
              <a:gd name="connsiteY461" fmla="*/ 12188825 h 12188825"/>
              <a:gd name="connsiteX462" fmla="*/ 73136 w 4703181"/>
              <a:gd name="connsiteY462" fmla="*/ 11972637 h 12188825"/>
              <a:gd name="connsiteX463" fmla="*/ 0 w 4703181"/>
              <a:gd name="connsiteY463" fmla="*/ 11369071 h 12188825"/>
              <a:gd name="connsiteX464" fmla="*/ 0 w 4703181"/>
              <a:gd name="connsiteY464" fmla="*/ 11418249 h 12188825"/>
              <a:gd name="connsiteX465" fmla="*/ 32033 w 4703181"/>
              <a:gd name="connsiteY465" fmla="*/ 11521001 h 12188825"/>
              <a:gd name="connsiteX466" fmla="*/ 162467 w 4703181"/>
              <a:gd name="connsiteY466" fmla="*/ 11885886 h 12188825"/>
              <a:gd name="connsiteX467" fmla="*/ 286040 w 4703181"/>
              <a:gd name="connsiteY467" fmla="*/ 12188825 h 12188825"/>
              <a:gd name="connsiteX468" fmla="*/ 302282 w 4703181"/>
              <a:gd name="connsiteY468" fmla="*/ 12188825 h 12188825"/>
              <a:gd name="connsiteX469" fmla="*/ 174974 w 4703181"/>
              <a:gd name="connsiteY469" fmla="*/ 11876763 h 12188825"/>
              <a:gd name="connsiteX470" fmla="*/ 44539 w 4703181"/>
              <a:gd name="connsiteY470" fmla="*/ 11511941 h 12188825"/>
              <a:gd name="connsiteX471" fmla="*/ 0 w 4703181"/>
              <a:gd name="connsiteY471" fmla="*/ 10915801 h 12188825"/>
              <a:gd name="connsiteX472" fmla="*/ 0 w 4703181"/>
              <a:gd name="connsiteY472" fmla="*/ 10968869 h 12188825"/>
              <a:gd name="connsiteX473" fmla="*/ 18605 w 4703181"/>
              <a:gd name="connsiteY473" fmla="*/ 11038443 h 12188825"/>
              <a:gd name="connsiteX474" fmla="*/ 406816 w 4703181"/>
              <a:gd name="connsiteY474" fmla="*/ 12134939 h 12188825"/>
              <a:gd name="connsiteX475" fmla="*/ 431731 w 4703181"/>
              <a:gd name="connsiteY475" fmla="*/ 12188825 h 12188825"/>
              <a:gd name="connsiteX476" fmla="*/ 447977 w 4703181"/>
              <a:gd name="connsiteY476" fmla="*/ 12188825 h 12188825"/>
              <a:gd name="connsiteX477" fmla="*/ 418943 w 4703181"/>
              <a:gd name="connsiteY477" fmla="*/ 12125805 h 12188825"/>
              <a:gd name="connsiteX478" fmla="*/ 30732 w 4703181"/>
              <a:gd name="connsiteY478" fmla="*/ 11030513 h 12188825"/>
              <a:gd name="connsiteX479" fmla="*/ 0 w 4703181"/>
              <a:gd name="connsiteY479" fmla="*/ 10393437 h 12188825"/>
              <a:gd name="connsiteX480" fmla="*/ 0 w 4703181"/>
              <a:gd name="connsiteY480" fmla="*/ 10453311 h 12188825"/>
              <a:gd name="connsiteX481" fmla="*/ 18311 w 4703181"/>
              <a:gd name="connsiteY481" fmla="*/ 10534067 h 12188825"/>
              <a:gd name="connsiteX482" fmla="*/ 509699 w 4703181"/>
              <a:gd name="connsiteY482" fmla="*/ 12039063 h 12188825"/>
              <a:gd name="connsiteX483" fmla="*/ 577788 w 4703181"/>
              <a:gd name="connsiteY483" fmla="*/ 12188825 h 12188825"/>
              <a:gd name="connsiteX484" fmla="*/ 592107 w 4703181"/>
              <a:gd name="connsiteY484" fmla="*/ 12188825 h 12188825"/>
              <a:gd name="connsiteX485" fmla="*/ 519088 w 4703181"/>
              <a:gd name="connsiteY485" fmla="*/ 12029931 h 12188825"/>
              <a:gd name="connsiteX486" fmla="*/ 30241 w 4703181"/>
              <a:gd name="connsiteY486" fmla="*/ 10526875 h 12188825"/>
              <a:gd name="connsiteX487" fmla="*/ 0 w 4703181"/>
              <a:gd name="connsiteY487" fmla="*/ 9782675 h 12188825"/>
              <a:gd name="connsiteX488" fmla="*/ 0 w 4703181"/>
              <a:gd name="connsiteY488" fmla="*/ 9857953 h 12188825"/>
              <a:gd name="connsiteX489" fmla="*/ 28505 w 4703181"/>
              <a:gd name="connsiteY489" fmla="*/ 10006729 h 12188825"/>
              <a:gd name="connsiteX490" fmla="*/ 609455 w 4703181"/>
              <a:gd name="connsiteY490" fmla="*/ 11943189 h 12188825"/>
              <a:gd name="connsiteX491" fmla="*/ 721132 w 4703181"/>
              <a:gd name="connsiteY491" fmla="*/ 12188825 h 12188825"/>
              <a:gd name="connsiteX492" fmla="*/ 736965 w 4703181"/>
              <a:gd name="connsiteY492" fmla="*/ 12188825 h 12188825"/>
              <a:gd name="connsiteX493" fmla="*/ 621973 w 4703181"/>
              <a:gd name="connsiteY493" fmla="*/ 11934059 h 12188825"/>
              <a:gd name="connsiteX494" fmla="*/ 41519 w 4703181"/>
              <a:gd name="connsiteY494" fmla="*/ 9999829 h 12188825"/>
              <a:gd name="connsiteX495" fmla="*/ 0 w 4703181"/>
              <a:gd name="connsiteY495" fmla="*/ 9049167 h 12188825"/>
              <a:gd name="connsiteX496" fmla="*/ 0 w 4703181"/>
              <a:gd name="connsiteY496" fmla="*/ 9129723 h 12188825"/>
              <a:gd name="connsiteX497" fmla="*/ 51764 w 4703181"/>
              <a:gd name="connsiteY497" fmla="*/ 9453627 h 12188825"/>
              <a:gd name="connsiteX498" fmla="*/ 712731 w 4703181"/>
              <a:gd name="connsiteY498" fmla="*/ 11847315 h 12188825"/>
              <a:gd name="connsiteX499" fmla="*/ 862264 w 4703181"/>
              <a:gd name="connsiteY499" fmla="*/ 12183103 h 12188825"/>
              <a:gd name="connsiteX500" fmla="*/ 865190 w 4703181"/>
              <a:gd name="connsiteY500" fmla="*/ 12188825 h 12188825"/>
              <a:gd name="connsiteX501" fmla="*/ 882725 w 4703181"/>
              <a:gd name="connsiteY501" fmla="*/ 12188825 h 12188825"/>
              <a:gd name="connsiteX502" fmla="*/ 874391 w 4703181"/>
              <a:gd name="connsiteY502" fmla="*/ 12172488 h 12188825"/>
              <a:gd name="connsiteX503" fmla="*/ 722119 w 4703181"/>
              <a:gd name="connsiteY503" fmla="*/ 11834531 h 12188825"/>
              <a:gd name="connsiteX504" fmla="*/ 63904 w 4703181"/>
              <a:gd name="connsiteY504" fmla="*/ 9448935 h 12188825"/>
              <a:gd name="connsiteX505" fmla="*/ 0 w 4703181"/>
              <a:gd name="connsiteY505" fmla="*/ 8077111 h 12188825"/>
              <a:gd name="connsiteX506" fmla="*/ 0 w 4703181"/>
              <a:gd name="connsiteY506" fmla="*/ 8185701 h 12188825"/>
              <a:gd name="connsiteX507" fmla="*/ 19143 w 4703181"/>
              <a:gd name="connsiteY507" fmla="*/ 8352928 h 12188825"/>
              <a:gd name="connsiteX508" fmla="*/ 812876 w 4703181"/>
              <a:gd name="connsiteY508" fmla="*/ 11751441 h 12188825"/>
              <a:gd name="connsiteX509" fmla="*/ 962410 w 4703181"/>
              <a:gd name="connsiteY509" fmla="*/ 12087684 h 12188825"/>
              <a:gd name="connsiteX510" fmla="*/ 1013614 w 4703181"/>
              <a:gd name="connsiteY510" fmla="*/ 12188825 h 12188825"/>
              <a:gd name="connsiteX511" fmla="*/ 1031131 w 4703181"/>
              <a:gd name="connsiteY511" fmla="*/ 12188825 h 12188825"/>
              <a:gd name="connsiteX512" fmla="*/ 974341 w 4703181"/>
              <a:gd name="connsiteY512" fmla="*/ 12074901 h 12188825"/>
              <a:gd name="connsiteX513" fmla="*/ 825003 w 4703181"/>
              <a:gd name="connsiteY513" fmla="*/ 11738659 h 12188825"/>
              <a:gd name="connsiteX514" fmla="*/ 31269 w 4703181"/>
              <a:gd name="connsiteY514" fmla="*/ 8348363 h 12188825"/>
              <a:gd name="connsiteX515" fmla="*/ 0 w 4703181"/>
              <a:gd name="connsiteY515" fmla="*/ 4775048 h 12188825"/>
              <a:gd name="connsiteX516" fmla="*/ 0 w 4703181"/>
              <a:gd name="connsiteY516" fmla="*/ 4887079 h 12188825"/>
              <a:gd name="connsiteX517" fmla="*/ 20145 w 4703181"/>
              <a:gd name="connsiteY517" fmla="*/ 4703802 h 12188825"/>
              <a:gd name="connsiteX518" fmla="*/ 73910 w 4703181"/>
              <a:gd name="connsiteY518" fmla="*/ 4265036 h 12188825"/>
              <a:gd name="connsiteX519" fmla="*/ 149800 w 4703181"/>
              <a:gd name="connsiteY519" fmla="*/ 3605785 h 12188825"/>
              <a:gd name="connsiteX520" fmla="*/ 292196 w 4703181"/>
              <a:gd name="connsiteY520" fmla="*/ 1828 h 12188825"/>
              <a:gd name="connsiteX521" fmla="*/ 280069 w 4703181"/>
              <a:gd name="connsiteY521" fmla="*/ 1828 h 12188825"/>
              <a:gd name="connsiteX522" fmla="*/ 137674 w 4703181"/>
              <a:gd name="connsiteY522" fmla="*/ 3601219 h 12188825"/>
              <a:gd name="connsiteX523" fmla="*/ 61784 w 4703181"/>
              <a:gd name="connsiteY523" fmla="*/ 4260470 h 12188825"/>
              <a:gd name="connsiteX524" fmla="*/ 8018 w 4703181"/>
              <a:gd name="connsiteY524" fmla="*/ 4701876 h 12188825"/>
              <a:gd name="connsiteX525" fmla="*/ 0 w 4703181"/>
              <a:gd name="connsiteY525" fmla="*/ 3771216 h 12188825"/>
              <a:gd name="connsiteX526" fmla="*/ 0 w 4703181"/>
              <a:gd name="connsiteY526" fmla="*/ 3885405 h 12188825"/>
              <a:gd name="connsiteX527" fmla="*/ 22272 w 4703181"/>
              <a:gd name="connsiteY527" fmla="*/ 3684311 h 12188825"/>
              <a:gd name="connsiteX528" fmla="*/ 158407 w 4703181"/>
              <a:gd name="connsiteY528" fmla="*/ 1828 h 12188825"/>
              <a:gd name="connsiteX529" fmla="*/ 146280 w 4703181"/>
              <a:gd name="connsiteY529" fmla="*/ 1828 h 12188825"/>
              <a:gd name="connsiteX530" fmla="*/ 10144 w 4703181"/>
              <a:gd name="connsiteY530" fmla="*/ 3684311 h 12188825"/>
              <a:gd name="connsiteX531" fmla="*/ 0 w 4703181"/>
              <a:gd name="connsiteY531" fmla="*/ 2184485 h 12188825"/>
              <a:gd name="connsiteX532" fmla="*/ 0 w 4703181"/>
              <a:gd name="connsiteY532" fmla="*/ 2456148 h 12188825"/>
              <a:gd name="connsiteX533" fmla="*/ 7103 w 4703181"/>
              <a:gd name="connsiteY533" fmla="*/ 2339528 h 12188825"/>
              <a:gd name="connsiteX534" fmla="*/ 28532 w 4703181"/>
              <a:gd name="connsiteY534" fmla="*/ 1828 h 12188825"/>
              <a:gd name="connsiteX535" fmla="*/ 13275 w 4703181"/>
              <a:gd name="connsiteY535" fmla="*/ 1828 h 12188825"/>
              <a:gd name="connsiteX536" fmla="*/ 14008 w 4703181"/>
              <a:gd name="connsiteY536" fmla="*/ 1862814 h 12188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</a:cxnLst>
            <a:rect l="l" t="t" r="r" b="b"/>
            <a:pathLst>
              <a:path w="4703181" h="12188825">
                <a:moveTo>
                  <a:pt x="2608751" y="5105305"/>
                </a:moveTo>
                <a:cubicBezTo>
                  <a:pt x="2608359" y="5478986"/>
                  <a:pt x="2622736" y="5840113"/>
                  <a:pt x="2639362" y="6171565"/>
                </a:cubicBezTo>
                <a:cubicBezTo>
                  <a:pt x="2691000" y="7144914"/>
                  <a:pt x="2797013" y="8409541"/>
                  <a:pt x="3151435" y="9535377"/>
                </a:cubicBezTo>
                <a:cubicBezTo>
                  <a:pt x="3339209" y="10133449"/>
                  <a:pt x="3599744" y="10695911"/>
                  <a:pt x="3923653" y="11210893"/>
                </a:cubicBezTo>
                <a:cubicBezTo>
                  <a:pt x="4079740" y="11457426"/>
                  <a:pt x="4248639" y="11689807"/>
                  <a:pt x="4428881" y="11906322"/>
                </a:cubicBezTo>
                <a:lnTo>
                  <a:pt x="4680688" y="12188825"/>
                </a:lnTo>
                <a:lnTo>
                  <a:pt x="4703181" y="12188825"/>
                </a:lnTo>
                <a:lnTo>
                  <a:pt x="4426466" y="11877318"/>
                </a:lnTo>
                <a:cubicBezTo>
                  <a:pt x="3876881" y="11212833"/>
                  <a:pt x="3438475" y="10400298"/>
                  <a:pt x="3163562" y="9527159"/>
                </a:cubicBezTo>
                <a:cubicBezTo>
                  <a:pt x="2809140" y="8401321"/>
                  <a:pt x="2703127" y="7140349"/>
                  <a:pt x="2654618" y="6167910"/>
                </a:cubicBezTo>
                <a:cubicBezTo>
                  <a:pt x="2618238" y="5508662"/>
                  <a:pt x="2593983" y="4727970"/>
                  <a:pt x="2682002" y="3969193"/>
                </a:cubicBezTo>
                <a:cubicBezTo>
                  <a:pt x="2736378" y="3474299"/>
                  <a:pt x="2836133" y="2990362"/>
                  <a:pt x="2936278" y="2523777"/>
                </a:cubicBezTo>
                <a:cubicBezTo>
                  <a:pt x="2990654" y="2261721"/>
                  <a:pt x="3045422" y="1991445"/>
                  <a:pt x="3093930" y="1721172"/>
                </a:cubicBezTo>
                <a:cubicBezTo>
                  <a:pt x="3194075" y="1158709"/>
                  <a:pt x="3260577" y="582551"/>
                  <a:pt x="3293830" y="1828"/>
                </a:cubicBezTo>
                <a:lnTo>
                  <a:pt x="3281703" y="1828"/>
                </a:lnTo>
                <a:cubicBezTo>
                  <a:pt x="3248451" y="577988"/>
                  <a:pt x="3181557" y="1153231"/>
                  <a:pt x="3081803" y="1716605"/>
                </a:cubicBezTo>
                <a:cubicBezTo>
                  <a:pt x="3033295" y="1986881"/>
                  <a:pt x="2978918" y="2258068"/>
                  <a:pt x="2924151" y="2519212"/>
                </a:cubicBezTo>
                <a:cubicBezTo>
                  <a:pt x="2824006" y="2985799"/>
                  <a:pt x="2724252" y="3470649"/>
                  <a:pt x="2666745" y="3963715"/>
                </a:cubicBezTo>
                <a:cubicBezTo>
                  <a:pt x="2624300" y="4345387"/>
                  <a:pt x="2609142" y="4731622"/>
                  <a:pt x="2608751" y="5105305"/>
                </a:cubicBezTo>
                <a:close/>
                <a:moveTo>
                  <a:pt x="2492175" y="5200265"/>
                </a:moveTo>
                <a:cubicBezTo>
                  <a:pt x="2492957" y="5574402"/>
                  <a:pt x="2508898" y="5935529"/>
                  <a:pt x="2527089" y="6267436"/>
                </a:cubicBezTo>
                <a:cubicBezTo>
                  <a:pt x="2581465" y="7240788"/>
                  <a:pt x="2687479" y="8500849"/>
                  <a:pt x="3048160" y="9631249"/>
                </a:cubicBezTo>
                <a:cubicBezTo>
                  <a:pt x="3124052" y="9862263"/>
                  <a:pt x="3208550" y="10089623"/>
                  <a:pt x="3302436" y="10307849"/>
                </a:cubicBezTo>
                <a:cubicBezTo>
                  <a:pt x="3572849" y="10934228"/>
                  <a:pt x="3922033" y="11503282"/>
                  <a:pt x="4337932" y="12000941"/>
                </a:cubicBezTo>
                <a:lnTo>
                  <a:pt x="4501908" y="12188825"/>
                </a:lnTo>
                <a:lnTo>
                  <a:pt x="4522453" y="12188825"/>
                </a:lnTo>
                <a:lnTo>
                  <a:pt x="4347456" y="11988315"/>
                </a:lnTo>
                <a:cubicBezTo>
                  <a:pt x="3932155" y="11491354"/>
                  <a:pt x="3585368" y="10925095"/>
                  <a:pt x="3314954" y="10298717"/>
                </a:cubicBezTo>
                <a:cubicBezTo>
                  <a:pt x="3221069" y="10080491"/>
                  <a:pt x="3136179" y="9854045"/>
                  <a:pt x="3060679" y="9622121"/>
                </a:cubicBezTo>
                <a:cubicBezTo>
                  <a:pt x="2703127" y="8496283"/>
                  <a:pt x="2594374" y="7235309"/>
                  <a:pt x="2539607" y="6262871"/>
                </a:cubicBezTo>
                <a:cubicBezTo>
                  <a:pt x="2503226" y="5603622"/>
                  <a:pt x="2475842" y="4822930"/>
                  <a:pt x="2560732" y="4059590"/>
                </a:cubicBezTo>
                <a:cubicBezTo>
                  <a:pt x="2615108" y="3561957"/>
                  <a:pt x="2715253" y="3073458"/>
                  <a:pt x="2812269" y="2602301"/>
                </a:cubicBezTo>
                <a:cubicBezTo>
                  <a:pt x="2863908" y="2340246"/>
                  <a:pt x="2918283" y="2069971"/>
                  <a:pt x="2966791" y="1804263"/>
                </a:cubicBezTo>
                <a:cubicBezTo>
                  <a:pt x="3069675" y="1210755"/>
                  <a:pt x="3136570" y="609029"/>
                  <a:pt x="3166692" y="2740"/>
                </a:cubicBezTo>
                <a:lnTo>
                  <a:pt x="3154565" y="2740"/>
                </a:lnTo>
                <a:cubicBezTo>
                  <a:pt x="3124052" y="608117"/>
                  <a:pt x="3057548" y="1210755"/>
                  <a:pt x="2954274" y="1799697"/>
                </a:cubicBezTo>
                <a:cubicBezTo>
                  <a:pt x="2905766" y="2065406"/>
                  <a:pt x="2851389" y="2336593"/>
                  <a:pt x="2796622" y="2597736"/>
                </a:cubicBezTo>
                <a:cubicBezTo>
                  <a:pt x="2702736" y="3068889"/>
                  <a:pt x="2602590" y="3557391"/>
                  <a:pt x="2548215" y="4055025"/>
                </a:cubicBezTo>
                <a:cubicBezTo>
                  <a:pt x="2505769" y="4438978"/>
                  <a:pt x="2491392" y="4826128"/>
                  <a:pt x="2492175" y="5200265"/>
                </a:cubicBezTo>
                <a:close/>
                <a:moveTo>
                  <a:pt x="2374376" y="5294998"/>
                </a:moveTo>
                <a:cubicBezTo>
                  <a:pt x="2375892" y="5669136"/>
                  <a:pt x="2392518" y="6029120"/>
                  <a:pt x="2412078" y="6358744"/>
                </a:cubicBezTo>
                <a:cubicBezTo>
                  <a:pt x="2469583" y="7335748"/>
                  <a:pt x="2581856" y="8596723"/>
                  <a:pt x="2948406" y="9727125"/>
                </a:cubicBezTo>
                <a:cubicBezTo>
                  <a:pt x="3024297" y="9958135"/>
                  <a:pt x="3108795" y="10185495"/>
                  <a:pt x="3205812" y="10403723"/>
                </a:cubicBezTo>
                <a:cubicBezTo>
                  <a:pt x="3476225" y="11030102"/>
                  <a:pt x="3825409" y="11595660"/>
                  <a:pt x="4245239" y="12093056"/>
                </a:cubicBezTo>
                <a:lnTo>
                  <a:pt x="4329667" y="12188825"/>
                </a:lnTo>
                <a:lnTo>
                  <a:pt x="4346385" y="12188825"/>
                </a:lnTo>
                <a:lnTo>
                  <a:pt x="4252139" y="12081456"/>
                </a:lnTo>
                <a:cubicBezTo>
                  <a:pt x="3834706" y="11584558"/>
                  <a:pt x="3487619" y="11018803"/>
                  <a:pt x="3214810" y="10396417"/>
                </a:cubicBezTo>
                <a:cubicBezTo>
                  <a:pt x="3120922" y="10178191"/>
                  <a:pt x="3032904" y="9951745"/>
                  <a:pt x="2960533" y="9719821"/>
                </a:cubicBezTo>
                <a:cubicBezTo>
                  <a:pt x="2593983" y="8593985"/>
                  <a:pt x="2482101" y="7333009"/>
                  <a:pt x="2424205" y="6360572"/>
                </a:cubicBezTo>
                <a:cubicBezTo>
                  <a:pt x="2387825" y="5697668"/>
                  <a:pt x="2357702" y="4920633"/>
                  <a:pt x="2439462" y="4148159"/>
                </a:cubicBezTo>
                <a:cubicBezTo>
                  <a:pt x="2491099" y="3650527"/>
                  <a:pt x="2590855" y="3157459"/>
                  <a:pt x="2687870" y="2682653"/>
                </a:cubicBezTo>
                <a:cubicBezTo>
                  <a:pt x="2739508" y="2420598"/>
                  <a:pt x="2790754" y="2154889"/>
                  <a:pt x="2839262" y="1888267"/>
                </a:cubicBezTo>
                <a:cubicBezTo>
                  <a:pt x="2945276" y="1268282"/>
                  <a:pt x="3011779" y="640075"/>
                  <a:pt x="3039162" y="3653"/>
                </a:cubicBezTo>
                <a:lnTo>
                  <a:pt x="3027035" y="3653"/>
                </a:lnTo>
                <a:cubicBezTo>
                  <a:pt x="2999652" y="634597"/>
                  <a:pt x="2930018" y="1262803"/>
                  <a:pt x="2824006" y="1881876"/>
                </a:cubicBezTo>
                <a:cubicBezTo>
                  <a:pt x="2778627" y="2147586"/>
                  <a:pt x="2726990" y="2414206"/>
                  <a:pt x="2672613" y="2676260"/>
                </a:cubicBezTo>
                <a:cubicBezTo>
                  <a:pt x="2578727" y="3151979"/>
                  <a:pt x="2478581" y="3645049"/>
                  <a:pt x="2427334" y="4146333"/>
                </a:cubicBezTo>
                <a:cubicBezTo>
                  <a:pt x="2386455" y="4532571"/>
                  <a:pt x="2372860" y="4920861"/>
                  <a:pt x="2374376" y="5294998"/>
                </a:cubicBezTo>
                <a:close/>
                <a:moveTo>
                  <a:pt x="2257654" y="5387105"/>
                </a:moveTo>
                <a:cubicBezTo>
                  <a:pt x="2260294" y="5762270"/>
                  <a:pt x="2277703" y="6123169"/>
                  <a:pt x="2297458" y="6454621"/>
                </a:cubicBezTo>
                <a:cubicBezTo>
                  <a:pt x="2358094" y="7427973"/>
                  <a:pt x="2476233" y="8692597"/>
                  <a:pt x="2845912" y="9822999"/>
                </a:cubicBezTo>
                <a:cubicBezTo>
                  <a:pt x="2921805" y="10054009"/>
                  <a:pt x="3009432" y="10281369"/>
                  <a:pt x="3106448" y="10499599"/>
                </a:cubicBezTo>
                <a:cubicBezTo>
                  <a:pt x="3379599" y="11121981"/>
                  <a:pt x="3731221" y="11687040"/>
                  <a:pt x="4153715" y="12187433"/>
                </a:cubicBezTo>
                <a:lnTo>
                  <a:pt x="4154941" y="12188825"/>
                </a:lnTo>
                <a:lnTo>
                  <a:pt x="4172800" y="12188825"/>
                </a:lnTo>
                <a:lnTo>
                  <a:pt x="4160605" y="12174920"/>
                </a:lnTo>
                <a:cubicBezTo>
                  <a:pt x="3740176" y="11675027"/>
                  <a:pt x="3388597" y="11109768"/>
                  <a:pt x="3118184" y="10491381"/>
                </a:cubicBezTo>
                <a:cubicBezTo>
                  <a:pt x="3021168" y="10273151"/>
                  <a:pt x="2933541" y="10046705"/>
                  <a:pt x="2857649" y="9814781"/>
                </a:cubicBezTo>
                <a:cubicBezTo>
                  <a:pt x="2487970" y="8688945"/>
                  <a:pt x="2372958" y="7427973"/>
                  <a:pt x="2312323" y="6455534"/>
                </a:cubicBezTo>
                <a:cubicBezTo>
                  <a:pt x="2270075" y="5792630"/>
                  <a:pt x="2239561" y="5015591"/>
                  <a:pt x="2318191" y="4239467"/>
                </a:cubicBezTo>
                <a:cubicBezTo>
                  <a:pt x="2369830" y="3737270"/>
                  <a:pt x="2466454" y="3240551"/>
                  <a:pt x="2560341" y="2760265"/>
                </a:cubicBezTo>
                <a:cubicBezTo>
                  <a:pt x="2611978" y="2498209"/>
                  <a:pt x="2666353" y="2232501"/>
                  <a:pt x="2708603" y="1965881"/>
                </a:cubicBezTo>
                <a:cubicBezTo>
                  <a:pt x="2817746" y="1320326"/>
                  <a:pt x="2884250" y="665643"/>
                  <a:pt x="2911633" y="2740"/>
                </a:cubicBezTo>
                <a:lnTo>
                  <a:pt x="2899506" y="2740"/>
                </a:lnTo>
                <a:cubicBezTo>
                  <a:pt x="2872514" y="661078"/>
                  <a:pt x="2806010" y="1319413"/>
                  <a:pt x="2696868" y="1960401"/>
                </a:cubicBezTo>
                <a:cubicBezTo>
                  <a:pt x="2651489" y="2226110"/>
                  <a:pt x="2599851" y="2492731"/>
                  <a:pt x="2548606" y="2754787"/>
                </a:cubicBezTo>
                <a:cubicBezTo>
                  <a:pt x="2454718" y="3235073"/>
                  <a:pt x="2357702" y="3731792"/>
                  <a:pt x="2306455" y="4233992"/>
                </a:cubicBezTo>
                <a:cubicBezTo>
                  <a:pt x="2267140" y="4622509"/>
                  <a:pt x="2255013" y="5011940"/>
                  <a:pt x="2257654" y="5387105"/>
                </a:cubicBezTo>
                <a:close/>
                <a:moveTo>
                  <a:pt x="2140304" y="5197653"/>
                </a:moveTo>
                <a:cubicBezTo>
                  <a:pt x="2135345" y="5675498"/>
                  <a:pt x="2158388" y="6136181"/>
                  <a:pt x="2184795" y="6550494"/>
                </a:cubicBezTo>
                <a:cubicBezTo>
                  <a:pt x="2248559" y="7523843"/>
                  <a:pt x="2369438" y="8783905"/>
                  <a:pt x="2744985" y="9918873"/>
                </a:cubicBezTo>
                <a:cubicBezTo>
                  <a:pt x="2820876" y="10149885"/>
                  <a:pt x="2908504" y="10377245"/>
                  <a:pt x="3005520" y="10595473"/>
                </a:cubicBezTo>
                <a:cubicBezTo>
                  <a:pt x="3241703" y="11125519"/>
                  <a:pt x="3535979" y="11616532"/>
                  <a:pt x="3881746" y="12060806"/>
                </a:cubicBezTo>
                <a:lnTo>
                  <a:pt x="3985674" y="12188825"/>
                </a:lnTo>
                <a:lnTo>
                  <a:pt x="4004655" y="12188825"/>
                </a:lnTo>
                <a:lnTo>
                  <a:pt x="3890402" y="12048093"/>
                </a:lnTo>
                <a:cubicBezTo>
                  <a:pt x="3544782" y="11604032"/>
                  <a:pt x="3251092" y="11113876"/>
                  <a:pt x="3017256" y="10587253"/>
                </a:cubicBezTo>
                <a:cubicBezTo>
                  <a:pt x="2920240" y="10369025"/>
                  <a:pt x="2832611" y="10142579"/>
                  <a:pt x="2756720" y="9910657"/>
                </a:cubicBezTo>
                <a:cubicBezTo>
                  <a:pt x="2381174" y="8780251"/>
                  <a:pt x="2259903" y="7520194"/>
                  <a:pt x="2196530" y="6546842"/>
                </a:cubicBezTo>
                <a:cubicBezTo>
                  <a:pt x="2154280" y="5887591"/>
                  <a:pt x="2120638" y="5106902"/>
                  <a:pt x="2196530" y="4330779"/>
                </a:cubicBezTo>
                <a:cubicBezTo>
                  <a:pt x="2248168" y="3824928"/>
                  <a:pt x="2344792" y="3322729"/>
                  <a:pt x="2435940" y="2838792"/>
                </a:cubicBezTo>
                <a:cubicBezTo>
                  <a:pt x="2487578" y="2581299"/>
                  <a:pt x="2538825" y="2315593"/>
                  <a:pt x="2581465" y="2048971"/>
                </a:cubicBezTo>
                <a:cubicBezTo>
                  <a:pt x="2693347" y="1376939"/>
                  <a:pt x="2760240" y="692124"/>
                  <a:pt x="2781366" y="2740"/>
                </a:cubicBezTo>
                <a:lnTo>
                  <a:pt x="2769238" y="2740"/>
                </a:lnTo>
                <a:cubicBezTo>
                  <a:pt x="2748504" y="691209"/>
                  <a:pt x="2681611" y="1371459"/>
                  <a:pt x="2569730" y="2043491"/>
                </a:cubicBezTo>
                <a:cubicBezTo>
                  <a:pt x="2527481" y="2309202"/>
                  <a:pt x="2475842" y="2575821"/>
                  <a:pt x="2424205" y="2833314"/>
                </a:cubicBezTo>
                <a:cubicBezTo>
                  <a:pt x="2333448" y="3317248"/>
                  <a:pt x="2236432" y="3819448"/>
                  <a:pt x="2184795" y="4325297"/>
                </a:cubicBezTo>
                <a:cubicBezTo>
                  <a:pt x="2156335" y="4618056"/>
                  <a:pt x="2143279" y="4910944"/>
                  <a:pt x="2140304" y="5197653"/>
                </a:cubicBezTo>
                <a:close/>
                <a:moveTo>
                  <a:pt x="2021831" y="5292172"/>
                </a:moveTo>
                <a:cubicBezTo>
                  <a:pt x="2017797" y="5770944"/>
                  <a:pt x="2041421" y="6231483"/>
                  <a:pt x="2069783" y="6646365"/>
                </a:cubicBezTo>
                <a:cubicBezTo>
                  <a:pt x="2136286" y="7619717"/>
                  <a:pt x="2260686" y="8879779"/>
                  <a:pt x="2642100" y="10014747"/>
                </a:cubicBezTo>
                <a:cubicBezTo>
                  <a:pt x="2720731" y="10245759"/>
                  <a:pt x="2808749" y="10473119"/>
                  <a:pt x="2908504" y="10691345"/>
                </a:cubicBezTo>
                <a:cubicBezTo>
                  <a:pt x="3144687" y="11217968"/>
                  <a:pt x="3438963" y="11705557"/>
                  <a:pt x="3787206" y="12152185"/>
                </a:cubicBezTo>
                <a:lnTo>
                  <a:pt x="3816965" y="12188825"/>
                </a:lnTo>
                <a:lnTo>
                  <a:pt x="3837535" y="12188825"/>
                </a:lnTo>
                <a:lnTo>
                  <a:pt x="3795646" y="12137547"/>
                </a:lnTo>
                <a:cubicBezTo>
                  <a:pt x="3447349" y="11693059"/>
                  <a:pt x="3153293" y="11206327"/>
                  <a:pt x="2917110" y="10683127"/>
                </a:cubicBezTo>
                <a:cubicBezTo>
                  <a:pt x="2820093" y="10464901"/>
                  <a:pt x="2732467" y="10238455"/>
                  <a:pt x="2653445" y="10006529"/>
                </a:cubicBezTo>
                <a:cubicBezTo>
                  <a:pt x="2271639" y="8876127"/>
                  <a:pt x="2147630" y="7616067"/>
                  <a:pt x="2081128" y="6642714"/>
                </a:cubicBezTo>
                <a:cubicBezTo>
                  <a:pt x="2038879" y="5983464"/>
                  <a:pt x="2002498" y="5202776"/>
                  <a:pt x="2077998" y="4422087"/>
                </a:cubicBezTo>
                <a:cubicBezTo>
                  <a:pt x="2126506" y="3911670"/>
                  <a:pt x="2220393" y="3405819"/>
                  <a:pt x="2311150" y="2912753"/>
                </a:cubicBezTo>
                <a:cubicBezTo>
                  <a:pt x="2359659" y="2659826"/>
                  <a:pt x="2411296" y="2393204"/>
                  <a:pt x="2453544" y="2132061"/>
                </a:cubicBezTo>
                <a:cubicBezTo>
                  <a:pt x="2565427" y="1429898"/>
                  <a:pt x="2632321" y="718602"/>
                  <a:pt x="2653445" y="2740"/>
                </a:cubicBezTo>
                <a:lnTo>
                  <a:pt x="2641318" y="2740"/>
                </a:lnTo>
                <a:cubicBezTo>
                  <a:pt x="2621367" y="717687"/>
                  <a:pt x="2554473" y="1428071"/>
                  <a:pt x="2442591" y="2126581"/>
                </a:cubicBezTo>
                <a:cubicBezTo>
                  <a:pt x="2400342" y="2388641"/>
                  <a:pt x="2348705" y="2654348"/>
                  <a:pt x="2300196" y="2907272"/>
                </a:cubicBezTo>
                <a:cubicBezTo>
                  <a:pt x="2209439" y="3400340"/>
                  <a:pt x="2112423" y="3906192"/>
                  <a:pt x="2063915" y="4416608"/>
                </a:cubicBezTo>
                <a:cubicBezTo>
                  <a:pt x="2036629" y="4711079"/>
                  <a:pt x="2024252" y="5004908"/>
                  <a:pt x="2021831" y="5292172"/>
                </a:cubicBezTo>
                <a:close/>
                <a:moveTo>
                  <a:pt x="1904686" y="5400875"/>
                </a:moveTo>
                <a:cubicBezTo>
                  <a:pt x="1902639" y="5888191"/>
                  <a:pt x="1929931" y="6352011"/>
                  <a:pt x="1958292" y="6739501"/>
                </a:cubicBezTo>
                <a:cubicBezTo>
                  <a:pt x="2024795" y="7712854"/>
                  <a:pt x="2155063" y="8977479"/>
                  <a:pt x="2542738" y="10112449"/>
                </a:cubicBezTo>
                <a:cubicBezTo>
                  <a:pt x="2621367" y="10343459"/>
                  <a:pt x="2709386" y="10570817"/>
                  <a:pt x="2809140" y="10789045"/>
                </a:cubicBezTo>
                <a:cubicBezTo>
                  <a:pt x="3007916" y="11225615"/>
                  <a:pt x="3246880" y="11636148"/>
                  <a:pt x="3523933" y="12019084"/>
                </a:cubicBezTo>
                <a:lnTo>
                  <a:pt x="3651957" y="12188825"/>
                </a:lnTo>
                <a:lnTo>
                  <a:pt x="3669378" y="12188825"/>
                </a:lnTo>
                <a:lnTo>
                  <a:pt x="3532332" y="12006541"/>
                </a:lnTo>
                <a:cubicBezTo>
                  <a:pt x="3256319" y="11624007"/>
                  <a:pt x="3018087" y="11214544"/>
                  <a:pt x="2821267" y="10780829"/>
                </a:cubicBezTo>
                <a:cubicBezTo>
                  <a:pt x="2721122" y="10562601"/>
                  <a:pt x="2630364" y="10336157"/>
                  <a:pt x="2551735" y="10104229"/>
                </a:cubicBezTo>
                <a:cubicBezTo>
                  <a:pt x="2167190" y="8973827"/>
                  <a:pt x="2039661" y="7713766"/>
                  <a:pt x="1970028" y="6740414"/>
                </a:cubicBezTo>
                <a:cubicBezTo>
                  <a:pt x="1924650" y="6116776"/>
                  <a:pt x="1885140" y="5305041"/>
                  <a:pt x="1957901" y="4510657"/>
                </a:cubicBezTo>
                <a:cubicBezTo>
                  <a:pt x="2003280" y="3995673"/>
                  <a:pt x="2097166" y="3485258"/>
                  <a:pt x="2187923" y="2992193"/>
                </a:cubicBezTo>
                <a:cubicBezTo>
                  <a:pt x="2236431" y="2739265"/>
                  <a:pt x="2284940" y="2477209"/>
                  <a:pt x="2327189" y="2215153"/>
                </a:cubicBezTo>
                <a:cubicBezTo>
                  <a:pt x="2442200" y="1486508"/>
                  <a:pt x="2509094" y="745082"/>
                  <a:pt x="2523959" y="2740"/>
                </a:cubicBezTo>
                <a:lnTo>
                  <a:pt x="2511832" y="2740"/>
                </a:lnTo>
                <a:cubicBezTo>
                  <a:pt x="2496967" y="743255"/>
                  <a:pt x="2430465" y="1481029"/>
                  <a:pt x="2312323" y="2209675"/>
                </a:cubicBezTo>
                <a:cubicBezTo>
                  <a:pt x="2272813" y="2471731"/>
                  <a:pt x="2224305" y="2732874"/>
                  <a:pt x="2176187" y="2986712"/>
                </a:cubicBezTo>
                <a:cubicBezTo>
                  <a:pt x="2085430" y="3479778"/>
                  <a:pt x="1991544" y="3994760"/>
                  <a:pt x="1946165" y="4509744"/>
                </a:cubicBezTo>
                <a:cubicBezTo>
                  <a:pt x="1917706" y="4807638"/>
                  <a:pt x="1905915" y="5108485"/>
                  <a:pt x="1904686" y="5400875"/>
                </a:cubicBezTo>
                <a:close/>
                <a:moveTo>
                  <a:pt x="1787040" y="5492377"/>
                </a:moveTo>
                <a:cubicBezTo>
                  <a:pt x="1786558" y="5980014"/>
                  <a:pt x="1814919" y="6444689"/>
                  <a:pt x="1843281" y="6834463"/>
                </a:cubicBezTo>
                <a:cubicBezTo>
                  <a:pt x="1916044" y="7807817"/>
                  <a:pt x="2049441" y="9072441"/>
                  <a:pt x="2439853" y="10207409"/>
                </a:cubicBezTo>
                <a:cubicBezTo>
                  <a:pt x="2518483" y="10438421"/>
                  <a:pt x="2609631" y="10665781"/>
                  <a:pt x="2709386" y="10884007"/>
                </a:cubicBezTo>
                <a:cubicBezTo>
                  <a:pt x="2908162" y="11314870"/>
                  <a:pt x="3148349" y="11725403"/>
                  <a:pt x="3427751" y="12110033"/>
                </a:cubicBezTo>
                <a:lnTo>
                  <a:pt x="3487403" y="12188825"/>
                </a:lnTo>
                <a:lnTo>
                  <a:pt x="3507219" y="12188825"/>
                </a:lnTo>
                <a:lnTo>
                  <a:pt x="3436975" y="12096025"/>
                </a:lnTo>
                <a:cubicBezTo>
                  <a:pt x="3159253" y="11713491"/>
                  <a:pt x="2920289" y="11304028"/>
                  <a:pt x="2721513" y="10870309"/>
                </a:cubicBezTo>
                <a:cubicBezTo>
                  <a:pt x="2621367" y="10656647"/>
                  <a:pt x="2530610" y="10429289"/>
                  <a:pt x="2451980" y="10198279"/>
                </a:cubicBezTo>
                <a:cubicBezTo>
                  <a:pt x="2061177" y="9064225"/>
                  <a:pt x="1927780" y="7803250"/>
                  <a:pt x="1855408" y="6834463"/>
                </a:cubicBezTo>
                <a:cubicBezTo>
                  <a:pt x="1810029" y="6210825"/>
                  <a:pt x="1767390" y="5399088"/>
                  <a:pt x="1837413" y="4601050"/>
                </a:cubicBezTo>
                <a:cubicBezTo>
                  <a:pt x="1882792" y="4081503"/>
                  <a:pt x="1976679" y="3567435"/>
                  <a:pt x="2064697" y="3069802"/>
                </a:cubicBezTo>
                <a:cubicBezTo>
                  <a:pt x="2110076" y="2816877"/>
                  <a:pt x="2158584" y="2554821"/>
                  <a:pt x="2198094" y="2292765"/>
                </a:cubicBezTo>
                <a:cubicBezTo>
                  <a:pt x="2316235" y="1537641"/>
                  <a:pt x="2382738" y="774301"/>
                  <a:pt x="2397994" y="1828"/>
                </a:cubicBezTo>
                <a:lnTo>
                  <a:pt x="2385867" y="1828"/>
                </a:lnTo>
                <a:cubicBezTo>
                  <a:pt x="2370611" y="769733"/>
                  <a:pt x="2304109" y="1537641"/>
                  <a:pt x="2185968" y="2288202"/>
                </a:cubicBezTo>
                <a:cubicBezTo>
                  <a:pt x="2146456" y="2550255"/>
                  <a:pt x="2097949" y="2811401"/>
                  <a:pt x="2052571" y="3065236"/>
                </a:cubicBezTo>
                <a:cubicBezTo>
                  <a:pt x="1964551" y="3562872"/>
                  <a:pt x="1870665" y="4077850"/>
                  <a:pt x="1825286" y="4601050"/>
                </a:cubicBezTo>
                <a:cubicBezTo>
                  <a:pt x="1798001" y="4898946"/>
                  <a:pt x="1787329" y="5199793"/>
                  <a:pt x="1787040" y="5492377"/>
                </a:cubicBezTo>
                <a:close/>
                <a:moveTo>
                  <a:pt x="1667909" y="5586534"/>
                </a:moveTo>
                <a:cubicBezTo>
                  <a:pt x="1668466" y="6076445"/>
                  <a:pt x="1697561" y="6541477"/>
                  <a:pt x="1727879" y="6931252"/>
                </a:cubicBezTo>
                <a:cubicBezTo>
                  <a:pt x="1803770" y="7904604"/>
                  <a:pt x="1939906" y="9164663"/>
                  <a:pt x="2339707" y="10304197"/>
                </a:cubicBezTo>
                <a:cubicBezTo>
                  <a:pt x="2418337" y="10535207"/>
                  <a:pt x="2509485" y="10762567"/>
                  <a:pt x="2612370" y="10980795"/>
                </a:cubicBezTo>
                <a:cubicBezTo>
                  <a:pt x="2771390" y="11323203"/>
                  <a:pt x="2957696" y="11653740"/>
                  <a:pt x="3169382" y="11968983"/>
                </a:cubicBezTo>
                <a:lnTo>
                  <a:pt x="3323303" y="12188825"/>
                </a:lnTo>
                <a:lnTo>
                  <a:pt x="3342512" y="12188825"/>
                </a:lnTo>
                <a:lnTo>
                  <a:pt x="3179553" y="11956086"/>
                </a:lnTo>
                <a:cubicBezTo>
                  <a:pt x="2968259" y="11641413"/>
                  <a:pt x="2781952" y="11310876"/>
                  <a:pt x="2621367" y="10966185"/>
                </a:cubicBezTo>
                <a:cubicBezTo>
                  <a:pt x="2521221" y="10752523"/>
                  <a:pt x="2430465" y="10525165"/>
                  <a:pt x="2348705" y="10294153"/>
                </a:cubicBezTo>
                <a:cubicBezTo>
                  <a:pt x="1952033" y="9160099"/>
                  <a:pt x="1815506" y="7899123"/>
                  <a:pt x="1740006" y="6925774"/>
                </a:cubicBezTo>
                <a:cubicBezTo>
                  <a:pt x="1694627" y="6305788"/>
                  <a:pt x="1649249" y="5490399"/>
                  <a:pt x="1715752" y="4692361"/>
                </a:cubicBezTo>
                <a:cubicBezTo>
                  <a:pt x="1761130" y="4169161"/>
                  <a:pt x="1851887" y="3649615"/>
                  <a:pt x="1939906" y="3147416"/>
                </a:cubicBezTo>
                <a:cubicBezTo>
                  <a:pt x="1985285" y="2894491"/>
                  <a:pt x="2030663" y="2632435"/>
                  <a:pt x="2070174" y="2374942"/>
                </a:cubicBezTo>
                <a:cubicBezTo>
                  <a:pt x="2191444" y="1594253"/>
                  <a:pt x="2254818" y="799867"/>
                  <a:pt x="2266945" y="1828"/>
                </a:cubicBezTo>
                <a:lnTo>
                  <a:pt x="2254818" y="1828"/>
                </a:lnTo>
                <a:cubicBezTo>
                  <a:pt x="2242691" y="796214"/>
                  <a:pt x="2176187" y="1589687"/>
                  <a:pt x="2058047" y="2371292"/>
                </a:cubicBezTo>
                <a:cubicBezTo>
                  <a:pt x="2018536" y="2628780"/>
                  <a:pt x="1973157" y="2890836"/>
                  <a:pt x="1927780" y="3143763"/>
                </a:cubicBezTo>
                <a:cubicBezTo>
                  <a:pt x="1839760" y="3645049"/>
                  <a:pt x="1749003" y="4164595"/>
                  <a:pt x="1703625" y="4688707"/>
                </a:cubicBezTo>
                <a:cubicBezTo>
                  <a:pt x="1677513" y="4989685"/>
                  <a:pt x="1667574" y="5292586"/>
                  <a:pt x="1667909" y="5586534"/>
                </a:cubicBezTo>
                <a:close/>
                <a:moveTo>
                  <a:pt x="1550530" y="5681294"/>
                </a:moveTo>
                <a:cubicBezTo>
                  <a:pt x="1553009" y="6172319"/>
                  <a:pt x="1583969" y="6637352"/>
                  <a:pt x="1615997" y="7027126"/>
                </a:cubicBezTo>
                <a:cubicBezTo>
                  <a:pt x="1691889" y="7995910"/>
                  <a:pt x="1834284" y="9260537"/>
                  <a:pt x="2236823" y="10400071"/>
                </a:cubicBezTo>
                <a:cubicBezTo>
                  <a:pt x="2318582" y="10631081"/>
                  <a:pt x="2409340" y="10858441"/>
                  <a:pt x="2512615" y="11076669"/>
                </a:cubicBezTo>
                <a:cubicBezTo>
                  <a:pt x="2673200" y="11416794"/>
                  <a:pt x="2860974" y="11746190"/>
                  <a:pt x="3074126" y="12061434"/>
                </a:cubicBezTo>
                <a:lnTo>
                  <a:pt x="3163837" y="12188825"/>
                </a:lnTo>
                <a:lnTo>
                  <a:pt x="3182377" y="12188825"/>
                </a:lnTo>
                <a:lnTo>
                  <a:pt x="3083514" y="12048879"/>
                </a:lnTo>
                <a:cubicBezTo>
                  <a:pt x="2870753" y="11734777"/>
                  <a:pt x="2683763" y="11405381"/>
                  <a:pt x="2524742" y="11062973"/>
                </a:cubicBezTo>
                <a:cubicBezTo>
                  <a:pt x="2421857" y="10849309"/>
                  <a:pt x="2330709" y="10621951"/>
                  <a:pt x="2248950" y="10390941"/>
                </a:cubicBezTo>
                <a:cubicBezTo>
                  <a:pt x="1846019" y="9256885"/>
                  <a:pt x="1703625" y="7995910"/>
                  <a:pt x="1628124" y="7022561"/>
                </a:cubicBezTo>
                <a:cubicBezTo>
                  <a:pt x="1576487" y="6402575"/>
                  <a:pt x="1531109" y="5587186"/>
                  <a:pt x="1594873" y="4784582"/>
                </a:cubicBezTo>
                <a:cubicBezTo>
                  <a:pt x="1637121" y="4256817"/>
                  <a:pt x="1728270" y="3729053"/>
                  <a:pt x="1815897" y="3222290"/>
                </a:cubicBezTo>
                <a:cubicBezTo>
                  <a:pt x="1858146" y="2973928"/>
                  <a:pt x="1903916" y="2716437"/>
                  <a:pt x="1943036" y="2458948"/>
                </a:cubicBezTo>
                <a:cubicBezTo>
                  <a:pt x="2064306" y="1647212"/>
                  <a:pt x="2127679" y="827260"/>
                  <a:pt x="2137069" y="2740"/>
                </a:cubicBezTo>
                <a:lnTo>
                  <a:pt x="2124941" y="2740"/>
                </a:lnTo>
                <a:cubicBezTo>
                  <a:pt x="2115944" y="827260"/>
                  <a:pt x="2052180" y="1647212"/>
                  <a:pt x="1930909" y="2454383"/>
                </a:cubicBezTo>
                <a:cubicBezTo>
                  <a:pt x="1891399" y="2711872"/>
                  <a:pt x="1846019" y="2969362"/>
                  <a:pt x="1803770" y="3217722"/>
                </a:cubicBezTo>
                <a:cubicBezTo>
                  <a:pt x="1715752" y="3728139"/>
                  <a:pt x="1624994" y="4251338"/>
                  <a:pt x="1582746" y="4780017"/>
                </a:cubicBezTo>
                <a:cubicBezTo>
                  <a:pt x="1557807" y="5082705"/>
                  <a:pt x="1549042" y="5386677"/>
                  <a:pt x="1550530" y="5681294"/>
                </a:cubicBezTo>
                <a:close/>
                <a:moveTo>
                  <a:pt x="1431558" y="5774658"/>
                </a:moveTo>
                <a:cubicBezTo>
                  <a:pt x="1435657" y="6266210"/>
                  <a:pt x="1467931" y="6730030"/>
                  <a:pt x="1500204" y="7117519"/>
                </a:cubicBezTo>
                <a:cubicBezTo>
                  <a:pt x="1621474" y="8562025"/>
                  <a:pt x="1815115" y="9604771"/>
                  <a:pt x="2133156" y="10494119"/>
                </a:cubicBezTo>
                <a:cubicBezTo>
                  <a:pt x="2218046" y="10725129"/>
                  <a:pt x="2311932" y="10952487"/>
                  <a:pt x="2411687" y="11170717"/>
                </a:cubicBezTo>
                <a:cubicBezTo>
                  <a:pt x="2573837" y="11509016"/>
                  <a:pt x="2762393" y="11836129"/>
                  <a:pt x="2976670" y="12150117"/>
                </a:cubicBezTo>
                <a:lnTo>
                  <a:pt x="3004167" y="12188825"/>
                </a:lnTo>
                <a:lnTo>
                  <a:pt x="3021808" y="12188825"/>
                </a:lnTo>
                <a:lnTo>
                  <a:pt x="2986254" y="12138704"/>
                </a:lnTo>
                <a:cubicBezTo>
                  <a:pt x="2772662" y="11825173"/>
                  <a:pt x="2584791" y="11498059"/>
                  <a:pt x="2424205" y="11157933"/>
                </a:cubicBezTo>
                <a:cubicBezTo>
                  <a:pt x="2321321" y="10944271"/>
                  <a:pt x="2227435" y="10716911"/>
                  <a:pt x="2145674" y="10490465"/>
                </a:cubicBezTo>
                <a:cubicBezTo>
                  <a:pt x="1827633" y="9600205"/>
                  <a:pt x="1633601" y="8557461"/>
                  <a:pt x="1512722" y="7117519"/>
                </a:cubicBezTo>
                <a:cubicBezTo>
                  <a:pt x="1461085" y="6497536"/>
                  <a:pt x="1409839" y="5682148"/>
                  <a:pt x="1476341" y="4870413"/>
                </a:cubicBezTo>
                <a:cubicBezTo>
                  <a:pt x="1515851" y="4338081"/>
                  <a:pt x="1606609" y="3810316"/>
                  <a:pt x="1691498" y="3299899"/>
                </a:cubicBezTo>
                <a:cubicBezTo>
                  <a:pt x="1733747" y="3051541"/>
                  <a:pt x="1776387" y="2794049"/>
                  <a:pt x="1815506" y="2541124"/>
                </a:cubicBezTo>
                <a:cubicBezTo>
                  <a:pt x="1936777" y="1703823"/>
                  <a:pt x="2000150" y="852825"/>
                  <a:pt x="2006409" y="1828"/>
                </a:cubicBezTo>
                <a:lnTo>
                  <a:pt x="1994282" y="1828"/>
                </a:lnTo>
                <a:cubicBezTo>
                  <a:pt x="1988414" y="852825"/>
                  <a:pt x="1924650" y="1699258"/>
                  <a:pt x="1800249" y="2536561"/>
                </a:cubicBezTo>
                <a:cubicBezTo>
                  <a:pt x="1763869" y="2789484"/>
                  <a:pt x="1721620" y="3046976"/>
                  <a:pt x="1678979" y="3295335"/>
                </a:cubicBezTo>
                <a:cubicBezTo>
                  <a:pt x="1590961" y="3805753"/>
                  <a:pt x="1503334" y="4338081"/>
                  <a:pt x="1460694" y="4870413"/>
                </a:cubicBezTo>
                <a:cubicBezTo>
                  <a:pt x="1436782" y="5174814"/>
                  <a:pt x="1429099" y="5479728"/>
                  <a:pt x="1431558" y="5774658"/>
                </a:cubicBezTo>
                <a:close/>
                <a:moveTo>
                  <a:pt x="1316783" y="5983239"/>
                </a:moveTo>
                <a:cubicBezTo>
                  <a:pt x="1323580" y="6351441"/>
                  <a:pt x="1346269" y="6754112"/>
                  <a:pt x="1385585" y="7212481"/>
                </a:cubicBezTo>
                <a:cubicBezTo>
                  <a:pt x="1509593" y="8656987"/>
                  <a:pt x="1709885" y="9699733"/>
                  <a:pt x="2033793" y="10593645"/>
                </a:cubicBezTo>
                <a:cubicBezTo>
                  <a:pt x="2115553" y="10820091"/>
                  <a:pt x="2212569" y="11047449"/>
                  <a:pt x="2315453" y="11261111"/>
                </a:cubicBezTo>
                <a:cubicBezTo>
                  <a:pt x="2437066" y="11514836"/>
                  <a:pt x="2573972" y="11762269"/>
                  <a:pt x="2725552" y="12002591"/>
                </a:cubicBezTo>
                <a:lnTo>
                  <a:pt x="2848013" y="12188825"/>
                </a:lnTo>
                <a:lnTo>
                  <a:pt x="2864698" y="12188825"/>
                </a:lnTo>
                <a:lnTo>
                  <a:pt x="2734549" y="11991212"/>
                </a:lnTo>
                <a:cubicBezTo>
                  <a:pt x="2582968" y="11751398"/>
                  <a:pt x="2446062" y="11504907"/>
                  <a:pt x="2324449" y="11252895"/>
                </a:cubicBezTo>
                <a:cubicBezTo>
                  <a:pt x="2221567" y="11039233"/>
                  <a:pt x="2127679" y="10811873"/>
                  <a:pt x="2045921" y="10585427"/>
                </a:cubicBezTo>
                <a:cubicBezTo>
                  <a:pt x="1721620" y="9695167"/>
                  <a:pt x="1521720" y="8652419"/>
                  <a:pt x="1400840" y="7212481"/>
                </a:cubicBezTo>
                <a:cubicBezTo>
                  <a:pt x="1322210" y="6296655"/>
                  <a:pt x="1306954" y="5602710"/>
                  <a:pt x="1355462" y="4960808"/>
                </a:cubicBezTo>
                <a:cubicBezTo>
                  <a:pt x="1394973" y="4423911"/>
                  <a:pt x="1482601" y="3891583"/>
                  <a:pt x="1567490" y="3372947"/>
                </a:cubicBezTo>
                <a:cubicBezTo>
                  <a:pt x="1607000" y="3128241"/>
                  <a:pt x="1649249" y="2871662"/>
                  <a:pt x="1685629" y="2617826"/>
                </a:cubicBezTo>
                <a:cubicBezTo>
                  <a:pt x="1809638" y="1754044"/>
                  <a:pt x="1873404" y="876566"/>
                  <a:pt x="1876533" y="0"/>
                </a:cubicBezTo>
                <a:lnTo>
                  <a:pt x="1864406" y="0"/>
                </a:lnTo>
                <a:cubicBezTo>
                  <a:pt x="1861276" y="876566"/>
                  <a:pt x="1797902" y="1754044"/>
                  <a:pt x="1673502" y="2617826"/>
                </a:cubicBezTo>
                <a:cubicBezTo>
                  <a:pt x="1637121" y="2866186"/>
                  <a:pt x="1594873" y="3123676"/>
                  <a:pt x="1555363" y="3368384"/>
                </a:cubicBezTo>
                <a:cubicBezTo>
                  <a:pt x="1470474" y="3887928"/>
                  <a:pt x="1382847" y="4420260"/>
                  <a:pt x="1343334" y="4960808"/>
                </a:cubicBezTo>
                <a:cubicBezTo>
                  <a:pt x="1319081" y="5281303"/>
                  <a:pt x="1309986" y="5615037"/>
                  <a:pt x="1316783" y="5983239"/>
                </a:cubicBezTo>
                <a:close/>
                <a:moveTo>
                  <a:pt x="1197424" y="5940738"/>
                </a:moveTo>
                <a:cubicBezTo>
                  <a:pt x="1202374" y="6346811"/>
                  <a:pt x="1227321" y="6793204"/>
                  <a:pt x="1273311" y="7308355"/>
                </a:cubicBezTo>
                <a:cubicBezTo>
                  <a:pt x="1400449" y="8752861"/>
                  <a:pt x="1603479" y="9795609"/>
                  <a:pt x="1930518" y="10689519"/>
                </a:cubicBezTo>
                <a:cubicBezTo>
                  <a:pt x="2015406" y="10915965"/>
                  <a:pt x="2112423" y="11143325"/>
                  <a:pt x="2215308" y="11356985"/>
                </a:cubicBezTo>
                <a:cubicBezTo>
                  <a:pt x="2336920" y="11608998"/>
                  <a:pt x="2474266" y="11855489"/>
                  <a:pt x="2626706" y="12095496"/>
                </a:cubicBezTo>
                <a:lnTo>
                  <a:pt x="2688496" y="12188825"/>
                </a:lnTo>
                <a:lnTo>
                  <a:pt x="2705295" y="12188825"/>
                </a:lnTo>
                <a:lnTo>
                  <a:pt x="2636193" y="12084548"/>
                </a:lnTo>
                <a:cubicBezTo>
                  <a:pt x="2484248" y="11845403"/>
                  <a:pt x="2347728" y="11599983"/>
                  <a:pt x="2227435" y="11349683"/>
                </a:cubicBezTo>
                <a:cubicBezTo>
                  <a:pt x="2121420" y="11136021"/>
                  <a:pt x="2027534" y="10908661"/>
                  <a:pt x="1942645" y="10682215"/>
                </a:cubicBezTo>
                <a:cubicBezTo>
                  <a:pt x="1615606" y="9787387"/>
                  <a:pt x="1412576" y="8749207"/>
                  <a:pt x="1285438" y="7305617"/>
                </a:cubicBezTo>
                <a:cubicBezTo>
                  <a:pt x="1203679" y="6393443"/>
                  <a:pt x="1188423" y="5695841"/>
                  <a:pt x="1233801" y="5053943"/>
                </a:cubicBezTo>
                <a:cubicBezTo>
                  <a:pt x="1273311" y="4512482"/>
                  <a:pt x="1357809" y="3971935"/>
                  <a:pt x="1442698" y="3452387"/>
                </a:cubicBezTo>
                <a:cubicBezTo>
                  <a:pt x="1482210" y="3207680"/>
                  <a:pt x="1521328" y="2954754"/>
                  <a:pt x="1557710" y="2701828"/>
                </a:cubicBezTo>
                <a:cubicBezTo>
                  <a:pt x="1684847" y="1811566"/>
                  <a:pt x="1745483" y="903959"/>
                  <a:pt x="1745483" y="915"/>
                </a:cubicBezTo>
                <a:lnTo>
                  <a:pt x="1733356" y="915"/>
                </a:lnTo>
                <a:cubicBezTo>
                  <a:pt x="1733356" y="903959"/>
                  <a:pt x="1669591" y="1807003"/>
                  <a:pt x="1545583" y="2697263"/>
                </a:cubicBezTo>
                <a:cubicBezTo>
                  <a:pt x="1509201" y="2950189"/>
                  <a:pt x="1469691" y="3203114"/>
                  <a:pt x="1430572" y="3447819"/>
                </a:cubicBezTo>
                <a:cubicBezTo>
                  <a:pt x="1345682" y="3967367"/>
                  <a:pt x="1260793" y="4507919"/>
                  <a:pt x="1221675" y="5053030"/>
                </a:cubicBezTo>
                <a:cubicBezTo>
                  <a:pt x="1210330" y="5213277"/>
                  <a:pt x="1202775" y="5377119"/>
                  <a:pt x="1199101" y="5547053"/>
                </a:cubicBezTo>
                <a:cubicBezTo>
                  <a:pt x="1196346" y="5674503"/>
                  <a:pt x="1195774" y="5805381"/>
                  <a:pt x="1197424" y="5940738"/>
                </a:cubicBezTo>
                <a:close/>
                <a:moveTo>
                  <a:pt x="1078828" y="6036519"/>
                </a:moveTo>
                <a:cubicBezTo>
                  <a:pt x="1084564" y="6444062"/>
                  <a:pt x="1110159" y="6890391"/>
                  <a:pt x="1157909" y="7406058"/>
                </a:cubicBezTo>
                <a:cubicBezTo>
                  <a:pt x="1291307" y="8850559"/>
                  <a:pt x="1497074" y="9893309"/>
                  <a:pt x="1830372" y="10787217"/>
                </a:cubicBezTo>
                <a:cubicBezTo>
                  <a:pt x="1915261" y="11013665"/>
                  <a:pt x="2012277" y="11241023"/>
                  <a:pt x="2115162" y="11454687"/>
                </a:cubicBezTo>
                <a:cubicBezTo>
                  <a:pt x="2196922" y="11621554"/>
                  <a:pt x="2285698" y="11786252"/>
                  <a:pt x="2381296" y="11948440"/>
                </a:cubicBezTo>
                <a:lnTo>
                  <a:pt x="2529188" y="12188825"/>
                </a:lnTo>
                <a:lnTo>
                  <a:pt x="2547321" y="12188825"/>
                </a:lnTo>
                <a:lnTo>
                  <a:pt x="2539574" y="12177213"/>
                </a:lnTo>
                <a:cubicBezTo>
                  <a:pt x="2386632" y="11938496"/>
                  <a:pt x="2248901" y="11694145"/>
                  <a:pt x="2127288" y="11445557"/>
                </a:cubicBezTo>
                <a:cubicBezTo>
                  <a:pt x="2021274" y="11231895"/>
                  <a:pt x="1927388" y="11004535"/>
                  <a:pt x="1842499" y="10778089"/>
                </a:cubicBezTo>
                <a:cubicBezTo>
                  <a:pt x="1509201" y="9883263"/>
                  <a:pt x="1303433" y="8840517"/>
                  <a:pt x="1170035" y="7401491"/>
                </a:cubicBezTo>
                <a:cubicBezTo>
                  <a:pt x="1088277" y="6489317"/>
                  <a:pt x="1069890" y="5791717"/>
                  <a:pt x="1112530" y="5146165"/>
                </a:cubicBezTo>
                <a:cubicBezTo>
                  <a:pt x="1152042" y="4596487"/>
                  <a:pt x="1236539" y="4055025"/>
                  <a:pt x="1318690" y="3527258"/>
                </a:cubicBezTo>
                <a:cubicBezTo>
                  <a:pt x="1358200" y="3282552"/>
                  <a:pt x="1394582" y="3034192"/>
                  <a:pt x="1430572" y="2785833"/>
                </a:cubicBezTo>
                <a:cubicBezTo>
                  <a:pt x="1557710" y="1865440"/>
                  <a:pt x="1618344" y="931350"/>
                  <a:pt x="1612477" y="1828"/>
                </a:cubicBezTo>
                <a:lnTo>
                  <a:pt x="1600350" y="1828"/>
                </a:lnTo>
                <a:cubicBezTo>
                  <a:pt x="1606218" y="931350"/>
                  <a:pt x="1545974" y="1860874"/>
                  <a:pt x="1418445" y="2781267"/>
                </a:cubicBezTo>
                <a:cubicBezTo>
                  <a:pt x="1382064" y="3029627"/>
                  <a:pt x="1342552" y="3278900"/>
                  <a:pt x="1306563" y="3522695"/>
                </a:cubicBezTo>
                <a:cubicBezTo>
                  <a:pt x="1224804" y="4050457"/>
                  <a:pt x="1136784" y="4595574"/>
                  <a:pt x="1100403" y="5141598"/>
                </a:cubicBezTo>
                <a:cubicBezTo>
                  <a:pt x="1089841" y="5304128"/>
                  <a:pt x="1082848" y="5469626"/>
                  <a:pt x="1079627" y="5640773"/>
                </a:cubicBezTo>
                <a:cubicBezTo>
                  <a:pt x="1077211" y="5769133"/>
                  <a:pt x="1076916" y="5900671"/>
                  <a:pt x="1078828" y="6036519"/>
                </a:cubicBezTo>
                <a:close/>
                <a:moveTo>
                  <a:pt x="959287" y="5865907"/>
                </a:moveTo>
                <a:cubicBezTo>
                  <a:pt x="957471" y="6488917"/>
                  <a:pt x="1004562" y="7073921"/>
                  <a:pt x="1043290" y="7499191"/>
                </a:cubicBezTo>
                <a:cubicBezTo>
                  <a:pt x="1182554" y="8943695"/>
                  <a:pt x="1391453" y="9986441"/>
                  <a:pt x="1727879" y="10884919"/>
                </a:cubicBezTo>
                <a:cubicBezTo>
                  <a:pt x="1815897" y="11111365"/>
                  <a:pt x="1912523" y="11338725"/>
                  <a:pt x="2018536" y="11552387"/>
                </a:cubicBezTo>
                <a:cubicBezTo>
                  <a:pt x="2100296" y="11718113"/>
                  <a:pt x="2189073" y="11881669"/>
                  <a:pt x="2284769" y="12042929"/>
                </a:cubicBezTo>
                <a:lnTo>
                  <a:pt x="2375119" y="12188825"/>
                </a:lnTo>
                <a:lnTo>
                  <a:pt x="2392293" y="12188825"/>
                </a:lnTo>
                <a:lnTo>
                  <a:pt x="2293718" y="12030174"/>
                </a:lnTo>
                <a:cubicBezTo>
                  <a:pt x="2198071" y="11869628"/>
                  <a:pt x="2109294" y="11706927"/>
                  <a:pt x="2027534" y="11542343"/>
                </a:cubicBezTo>
                <a:cubicBezTo>
                  <a:pt x="1921520" y="11328679"/>
                  <a:pt x="1824504" y="11101323"/>
                  <a:pt x="1739615" y="10874877"/>
                </a:cubicBezTo>
                <a:cubicBezTo>
                  <a:pt x="1403580" y="9980053"/>
                  <a:pt x="1194291" y="8937305"/>
                  <a:pt x="1058154" y="7498278"/>
                </a:cubicBezTo>
                <a:cubicBezTo>
                  <a:pt x="970136" y="6595236"/>
                  <a:pt x="952141" y="5879376"/>
                  <a:pt x="991652" y="5238385"/>
                </a:cubicBezTo>
                <a:cubicBezTo>
                  <a:pt x="1028033" y="4684142"/>
                  <a:pt x="1112922" y="4134464"/>
                  <a:pt x="1194681" y="3602132"/>
                </a:cubicBezTo>
                <a:cubicBezTo>
                  <a:pt x="1231062" y="3361992"/>
                  <a:pt x="1270574" y="3113632"/>
                  <a:pt x="1303825" y="2868924"/>
                </a:cubicBezTo>
                <a:cubicBezTo>
                  <a:pt x="1430963" y="1917486"/>
                  <a:pt x="1491597" y="957830"/>
                  <a:pt x="1482601" y="2740"/>
                </a:cubicBezTo>
                <a:lnTo>
                  <a:pt x="1470474" y="2740"/>
                </a:lnTo>
                <a:cubicBezTo>
                  <a:pt x="1479471" y="957830"/>
                  <a:pt x="1418836" y="1918399"/>
                  <a:pt x="1288567" y="2865272"/>
                </a:cubicBezTo>
                <a:cubicBezTo>
                  <a:pt x="1255317" y="3109979"/>
                  <a:pt x="1218935" y="3358338"/>
                  <a:pt x="1182554" y="3598481"/>
                </a:cubicBezTo>
                <a:cubicBezTo>
                  <a:pt x="1100795" y="4130810"/>
                  <a:pt x="1015905" y="4680490"/>
                  <a:pt x="979525" y="5234734"/>
                </a:cubicBezTo>
                <a:cubicBezTo>
                  <a:pt x="965931" y="5446343"/>
                  <a:pt x="959892" y="5658236"/>
                  <a:pt x="959287" y="5865907"/>
                </a:cubicBezTo>
                <a:close/>
                <a:moveTo>
                  <a:pt x="840186" y="5825530"/>
                </a:moveTo>
                <a:cubicBezTo>
                  <a:pt x="834464" y="6343678"/>
                  <a:pt x="864611" y="6919607"/>
                  <a:pt x="930625" y="7594154"/>
                </a:cubicBezTo>
                <a:cubicBezTo>
                  <a:pt x="1018644" y="8488979"/>
                  <a:pt x="1184901" y="9814781"/>
                  <a:pt x="1627342" y="10979883"/>
                </a:cubicBezTo>
                <a:cubicBezTo>
                  <a:pt x="1712231" y="11206327"/>
                  <a:pt x="1811985" y="11433687"/>
                  <a:pt x="1917999" y="11647349"/>
                </a:cubicBezTo>
                <a:cubicBezTo>
                  <a:pt x="2001324" y="11814216"/>
                  <a:pt x="2090687" y="11977544"/>
                  <a:pt x="2186524" y="12137948"/>
                </a:cubicBezTo>
                <a:lnTo>
                  <a:pt x="2218239" y="12188825"/>
                </a:lnTo>
                <a:lnTo>
                  <a:pt x="2235959" y="12188825"/>
                </a:lnTo>
                <a:lnTo>
                  <a:pt x="2196903" y="12126177"/>
                </a:lnTo>
                <a:cubicBezTo>
                  <a:pt x="2101470" y="11966415"/>
                  <a:pt x="2012669" y="11803943"/>
                  <a:pt x="1930127" y="11638217"/>
                </a:cubicBezTo>
                <a:cubicBezTo>
                  <a:pt x="1820982" y="11424555"/>
                  <a:pt x="1723967" y="11197195"/>
                  <a:pt x="1636339" y="10970751"/>
                </a:cubicBezTo>
                <a:cubicBezTo>
                  <a:pt x="1197029" y="9810215"/>
                  <a:pt x="1030380" y="8483499"/>
                  <a:pt x="942752" y="7589586"/>
                </a:cubicBezTo>
                <a:cubicBezTo>
                  <a:pt x="854733" y="6691109"/>
                  <a:pt x="833609" y="5970683"/>
                  <a:pt x="873120" y="5325130"/>
                </a:cubicBezTo>
                <a:cubicBezTo>
                  <a:pt x="906372" y="4770887"/>
                  <a:pt x="988130" y="4212990"/>
                  <a:pt x="1069890" y="3676093"/>
                </a:cubicBezTo>
                <a:cubicBezTo>
                  <a:pt x="1106272" y="3440515"/>
                  <a:pt x="1142652" y="3192156"/>
                  <a:pt x="1172775" y="2947449"/>
                </a:cubicBezTo>
                <a:cubicBezTo>
                  <a:pt x="1303042" y="1970445"/>
                  <a:pt x="1360548" y="984309"/>
                  <a:pt x="1351550" y="2740"/>
                </a:cubicBezTo>
                <a:lnTo>
                  <a:pt x="1336294" y="2740"/>
                </a:lnTo>
                <a:cubicBezTo>
                  <a:pt x="1348421" y="984309"/>
                  <a:pt x="1290916" y="1970445"/>
                  <a:pt x="1160646" y="2947449"/>
                </a:cubicBezTo>
                <a:cubicBezTo>
                  <a:pt x="1130526" y="3192156"/>
                  <a:pt x="1091016" y="3435952"/>
                  <a:pt x="1057764" y="3671527"/>
                </a:cubicBezTo>
                <a:cubicBezTo>
                  <a:pt x="976004" y="4212990"/>
                  <a:pt x="894245" y="4766320"/>
                  <a:pt x="857863" y="5325130"/>
                </a:cubicBezTo>
                <a:cubicBezTo>
                  <a:pt x="847985" y="5486519"/>
                  <a:pt x="842093" y="5652814"/>
                  <a:pt x="840186" y="5825530"/>
                </a:cubicBezTo>
                <a:close/>
                <a:moveTo>
                  <a:pt x="722094" y="5919464"/>
                </a:moveTo>
                <a:cubicBezTo>
                  <a:pt x="716520" y="6439497"/>
                  <a:pt x="747253" y="7015256"/>
                  <a:pt x="815614" y="7689116"/>
                </a:cubicBezTo>
                <a:cubicBezTo>
                  <a:pt x="958009" y="9111705"/>
                  <a:pt x="1185292" y="10189147"/>
                  <a:pt x="1524458" y="11074841"/>
                </a:cubicBezTo>
                <a:cubicBezTo>
                  <a:pt x="1612477" y="11301289"/>
                  <a:pt x="1712231" y="11528647"/>
                  <a:pt x="1821373" y="11742309"/>
                </a:cubicBezTo>
                <a:cubicBezTo>
                  <a:pt x="1862644" y="11825172"/>
                  <a:pt x="1905572" y="11907221"/>
                  <a:pt x="1950186" y="11988534"/>
                </a:cubicBezTo>
                <a:lnTo>
                  <a:pt x="2065263" y="12188825"/>
                </a:lnTo>
                <a:lnTo>
                  <a:pt x="2081369" y="12188825"/>
                </a:lnTo>
                <a:lnTo>
                  <a:pt x="1959970" y="11978801"/>
                </a:lnTo>
                <a:cubicBezTo>
                  <a:pt x="1915212" y="11897933"/>
                  <a:pt x="1872034" y="11816383"/>
                  <a:pt x="1830372" y="11734091"/>
                </a:cubicBezTo>
                <a:cubicBezTo>
                  <a:pt x="1721229" y="11520429"/>
                  <a:pt x="1624212" y="11293069"/>
                  <a:pt x="1536586" y="11066623"/>
                </a:cubicBezTo>
                <a:cubicBezTo>
                  <a:pt x="1197419" y="10180929"/>
                  <a:pt x="973265" y="9108051"/>
                  <a:pt x="827740" y="7685460"/>
                </a:cubicBezTo>
                <a:cubicBezTo>
                  <a:pt x="739722" y="6786983"/>
                  <a:pt x="712731" y="6066558"/>
                  <a:pt x="751848" y="5416439"/>
                </a:cubicBezTo>
                <a:cubicBezTo>
                  <a:pt x="785100" y="4853977"/>
                  <a:pt x="866861" y="4295169"/>
                  <a:pt x="945882" y="3750052"/>
                </a:cubicBezTo>
                <a:cubicBezTo>
                  <a:pt x="979134" y="3514476"/>
                  <a:pt x="1015514" y="3274335"/>
                  <a:pt x="1046028" y="3030539"/>
                </a:cubicBezTo>
                <a:cubicBezTo>
                  <a:pt x="1176295" y="2027056"/>
                  <a:pt x="1233801" y="1010789"/>
                  <a:pt x="1218545" y="2740"/>
                </a:cubicBezTo>
                <a:lnTo>
                  <a:pt x="1206418" y="2740"/>
                </a:lnTo>
                <a:cubicBezTo>
                  <a:pt x="1221675" y="1006224"/>
                  <a:pt x="1164168" y="2022491"/>
                  <a:pt x="1033901" y="3025976"/>
                </a:cubicBezTo>
                <a:cubicBezTo>
                  <a:pt x="1003777" y="3270683"/>
                  <a:pt x="967398" y="3514476"/>
                  <a:pt x="933753" y="3750052"/>
                </a:cubicBezTo>
                <a:cubicBezTo>
                  <a:pt x="851995" y="4291514"/>
                  <a:pt x="770235" y="4853977"/>
                  <a:pt x="739722" y="5416439"/>
                </a:cubicBezTo>
                <a:cubicBezTo>
                  <a:pt x="729844" y="5578969"/>
                  <a:pt x="723952" y="5746120"/>
                  <a:pt x="722094" y="5919464"/>
                </a:cubicBezTo>
                <a:close/>
                <a:moveTo>
                  <a:pt x="603508" y="6013313"/>
                </a:moveTo>
                <a:cubicBezTo>
                  <a:pt x="600115" y="6537196"/>
                  <a:pt x="632535" y="7112954"/>
                  <a:pt x="700603" y="7786812"/>
                </a:cubicBezTo>
                <a:cubicBezTo>
                  <a:pt x="848865" y="9209407"/>
                  <a:pt x="1079279" y="10286849"/>
                  <a:pt x="1424703" y="11172543"/>
                </a:cubicBezTo>
                <a:cubicBezTo>
                  <a:pt x="1512722" y="11398989"/>
                  <a:pt x="1612477" y="11626349"/>
                  <a:pt x="1721620" y="11840011"/>
                </a:cubicBezTo>
                <a:cubicBezTo>
                  <a:pt x="1763282" y="11922417"/>
                  <a:pt x="1806552" y="12003995"/>
                  <a:pt x="1851477" y="12084841"/>
                </a:cubicBezTo>
                <a:lnTo>
                  <a:pt x="1911933" y="12188825"/>
                </a:lnTo>
                <a:lnTo>
                  <a:pt x="1927592" y="12188825"/>
                </a:lnTo>
                <a:lnTo>
                  <a:pt x="1860469" y="12073940"/>
                </a:lnTo>
                <a:cubicBezTo>
                  <a:pt x="1815550" y="11993594"/>
                  <a:pt x="1772280" y="11912600"/>
                  <a:pt x="1730618" y="11830879"/>
                </a:cubicBezTo>
                <a:cubicBezTo>
                  <a:pt x="1621474" y="11617215"/>
                  <a:pt x="1521720" y="11389857"/>
                  <a:pt x="1433702" y="11163411"/>
                </a:cubicBezTo>
                <a:cubicBezTo>
                  <a:pt x="1091406" y="10277717"/>
                  <a:pt x="861384" y="9204839"/>
                  <a:pt x="715859" y="7782246"/>
                </a:cubicBezTo>
                <a:cubicBezTo>
                  <a:pt x="621973" y="6883770"/>
                  <a:pt x="594590" y="6163343"/>
                  <a:pt x="630971" y="5509573"/>
                </a:cubicBezTo>
                <a:cubicBezTo>
                  <a:pt x="661092" y="4942545"/>
                  <a:pt x="742852" y="4375518"/>
                  <a:pt x="821873" y="3829491"/>
                </a:cubicBezTo>
                <a:cubicBezTo>
                  <a:pt x="855124" y="3593913"/>
                  <a:pt x="888377" y="3353773"/>
                  <a:pt x="918889" y="3113632"/>
                </a:cubicBezTo>
                <a:cubicBezTo>
                  <a:pt x="1049158" y="2080017"/>
                  <a:pt x="1106663" y="1037269"/>
                  <a:pt x="1088668" y="2740"/>
                </a:cubicBezTo>
                <a:lnTo>
                  <a:pt x="1073411" y="2740"/>
                </a:lnTo>
                <a:cubicBezTo>
                  <a:pt x="1091406" y="1032702"/>
                  <a:pt x="1037031" y="2075449"/>
                  <a:pt x="906763" y="3109066"/>
                </a:cubicBezTo>
                <a:cubicBezTo>
                  <a:pt x="876640" y="3349208"/>
                  <a:pt x="840259" y="3589348"/>
                  <a:pt x="806616" y="3824928"/>
                </a:cubicBezTo>
                <a:cubicBezTo>
                  <a:pt x="730725" y="4370039"/>
                  <a:pt x="648966" y="4937067"/>
                  <a:pt x="618843" y="5505008"/>
                </a:cubicBezTo>
                <a:cubicBezTo>
                  <a:pt x="609748" y="5669820"/>
                  <a:pt x="604638" y="5838685"/>
                  <a:pt x="603508" y="6013313"/>
                </a:cubicBezTo>
                <a:close/>
                <a:moveTo>
                  <a:pt x="484138" y="6104622"/>
                </a:moveTo>
                <a:cubicBezTo>
                  <a:pt x="482341" y="6628504"/>
                  <a:pt x="515862" y="7204265"/>
                  <a:pt x="588330" y="7878123"/>
                </a:cubicBezTo>
                <a:cubicBezTo>
                  <a:pt x="739722" y="9304365"/>
                  <a:pt x="972874" y="10378157"/>
                  <a:pt x="1321429" y="11268417"/>
                </a:cubicBezTo>
                <a:cubicBezTo>
                  <a:pt x="1412186" y="11499429"/>
                  <a:pt x="1512330" y="11722223"/>
                  <a:pt x="1621474" y="11935885"/>
                </a:cubicBezTo>
                <a:cubicBezTo>
                  <a:pt x="1663479" y="12017150"/>
                  <a:pt x="1707048" y="12097801"/>
                  <a:pt x="1752247" y="12177898"/>
                </a:cubicBezTo>
                <a:lnTo>
                  <a:pt x="1758681" y="12188825"/>
                </a:lnTo>
                <a:lnTo>
                  <a:pt x="1777889" y="12188825"/>
                </a:lnTo>
                <a:lnTo>
                  <a:pt x="1763464" y="12164202"/>
                </a:lnTo>
                <a:cubicBezTo>
                  <a:pt x="1718533" y="12084105"/>
                  <a:pt x="1675263" y="12003454"/>
                  <a:pt x="1633601" y="11922189"/>
                </a:cubicBezTo>
                <a:cubicBezTo>
                  <a:pt x="1524458" y="11713091"/>
                  <a:pt x="1421575" y="11485733"/>
                  <a:pt x="1333556" y="11259285"/>
                </a:cubicBezTo>
                <a:cubicBezTo>
                  <a:pt x="985392" y="10373591"/>
                  <a:pt x="751848" y="9296147"/>
                  <a:pt x="600457" y="7878123"/>
                </a:cubicBezTo>
                <a:cubicBezTo>
                  <a:pt x="506570" y="6979644"/>
                  <a:pt x="476448" y="6254652"/>
                  <a:pt x="509699" y="5600881"/>
                </a:cubicBezTo>
                <a:cubicBezTo>
                  <a:pt x="539823" y="5024723"/>
                  <a:pt x="618843" y="4453129"/>
                  <a:pt x="694343" y="3898887"/>
                </a:cubicBezTo>
                <a:cubicBezTo>
                  <a:pt x="727595" y="3672440"/>
                  <a:pt x="760848" y="3432300"/>
                  <a:pt x="791360" y="3196721"/>
                </a:cubicBezTo>
                <a:cubicBezTo>
                  <a:pt x="921627" y="2132061"/>
                  <a:pt x="976004" y="1059182"/>
                  <a:pt x="954878" y="2740"/>
                </a:cubicBezTo>
                <a:lnTo>
                  <a:pt x="942752" y="2740"/>
                </a:lnTo>
                <a:cubicBezTo>
                  <a:pt x="963876" y="1058270"/>
                  <a:pt x="909500" y="2127499"/>
                  <a:pt x="776104" y="3192156"/>
                </a:cubicBezTo>
                <a:cubicBezTo>
                  <a:pt x="748719" y="3427732"/>
                  <a:pt x="715468" y="3667874"/>
                  <a:pt x="682216" y="3898887"/>
                </a:cubicBezTo>
                <a:cubicBezTo>
                  <a:pt x="606326" y="4448566"/>
                  <a:pt x="527695" y="5024723"/>
                  <a:pt x="497572" y="5596316"/>
                </a:cubicBezTo>
                <a:cubicBezTo>
                  <a:pt x="489260" y="5761128"/>
                  <a:pt x="484737" y="5929993"/>
                  <a:pt x="484138" y="6104622"/>
                </a:cubicBezTo>
                <a:close/>
                <a:moveTo>
                  <a:pt x="365502" y="6198056"/>
                </a:moveTo>
                <a:cubicBezTo>
                  <a:pt x="365814" y="6723525"/>
                  <a:pt x="400948" y="7299453"/>
                  <a:pt x="473711" y="7973996"/>
                </a:cubicBezTo>
                <a:cubicBezTo>
                  <a:pt x="631362" y="9396587"/>
                  <a:pt x="867643" y="10474031"/>
                  <a:pt x="1218935" y="11364293"/>
                </a:cubicBezTo>
                <a:cubicBezTo>
                  <a:pt x="1309693" y="11595303"/>
                  <a:pt x="1412967" y="11818095"/>
                  <a:pt x="1524850" y="12031759"/>
                </a:cubicBezTo>
                <a:lnTo>
                  <a:pt x="1609825" y="12188825"/>
                </a:lnTo>
                <a:lnTo>
                  <a:pt x="1626613" y="12188825"/>
                </a:lnTo>
                <a:lnTo>
                  <a:pt x="1533847" y="12017149"/>
                </a:lnTo>
                <a:cubicBezTo>
                  <a:pt x="1424703" y="11808053"/>
                  <a:pt x="1321820" y="11580693"/>
                  <a:pt x="1231062" y="11354247"/>
                </a:cubicBezTo>
                <a:cubicBezTo>
                  <a:pt x="879771" y="10468553"/>
                  <a:pt x="643489" y="9391111"/>
                  <a:pt x="485837" y="7968518"/>
                </a:cubicBezTo>
                <a:cubicBezTo>
                  <a:pt x="388820" y="7073693"/>
                  <a:pt x="358699" y="6349614"/>
                  <a:pt x="388820" y="5686713"/>
                </a:cubicBezTo>
                <a:cubicBezTo>
                  <a:pt x="418943" y="5110553"/>
                  <a:pt x="494835" y="4530744"/>
                  <a:pt x="570726" y="3971935"/>
                </a:cubicBezTo>
                <a:cubicBezTo>
                  <a:pt x="603977" y="3745489"/>
                  <a:pt x="634491" y="3509911"/>
                  <a:pt x="661483" y="3277986"/>
                </a:cubicBezTo>
                <a:cubicBezTo>
                  <a:pt x="794881" y="2183195"/>
                  <a:pt x="849256" y="1083837"/>
                  <a:pt x="821873" y="1828"/>
                </a:cubicBezTo>
                <a:lnTo>
                  <a:pt x="809747" y="1828"/>
                </a:lnTo>
                <a:cubicBezTo>
                  <a:pt x="834000" y="1083837"/>
                  <a:pt x="782362" y="2178629"/>
                  <a:pt x="649356" y="3274335"/>
                </a:cubicBezTo>
                <a:cubicBezTo>
                  <a:pt x="621973" y="3505345"/>
                  <a:pt x="588721" y="3740924"/>
                  <a:pt x="558599" y="3968280"/>
                </a:cubicBezTo>
                <a:cubicBezTo>
                  <a:pt x="482708" y="4530744"/>
                  <a:pt x="404079" y="5106902"/>
                  <a:pt x="376694" y="5687625"/>
                </a:cubicBezTo>
                <a:cubicBezTo>
                  <a:pt x="369163" y="5853352"/>
                  <a:pt x="365398" y="6022901"/>
                  <a:pt x="365502" y="6198056"/>
                </a:cubicBezTo>
                <a:close/>
                <a:moveTo>
                  <a:pt x="246359" y="6291090"/>
                </a:moveTo>
                <a:cubicBezTo>
                  <a:pt x="248211" y="6818483"/>
                  <a:pt x="284666" y="7394413"/>
                  <a:pt x="361829" y="8068958"/>
                </a:cubicBezTo>
                <a:cubicBezTo>
                  <a:pt x="519480" y="9491549"/>
                  <a:pt x="761629" y="10568991"/>
                  <a:pt x="1119180" y="11459251"/>
                </a:cubicBezTo>
                <a:cubicBezTo>
                  <a:pt x="1209939" y="11690263"/>
                  <a:pt x="1313214" y="11913055"/>
                  <a:pt x="1425096" y="12126717"/>
                </a:cubicBezTo>
                <a:lnTo>
                  <a:pt x="1459172" y="12188825"/>
                </a:lnTo>
                <a:lnTo>
                  <a:pt x="1475636" y="12188825"/>
                </a:lnTo>
                <a:lnTo>
                  <a:pt x="1434092" y="12113023"/>
                </a:lnTo>
                <a:cubicBezTo>
                  <a:pt x="1324949" y="11903927"/>
                  <a:pt x="1222066" y="11676567"/>
                  <a:pt x="1131307" y="11450123"/>
                </a:cubicBezTo>
                <a:cubicBezTo>
                  <a:pt x="773756" y="10559861"/>
                  <a:pt x="531607" y="9486985"/>
                  <a:pt x="373956" y="8064394"/>
                </a:cubicBezTo>
                <a:cubicBezTo>
                  <a:pt x="273809" y="7169564"/>
                  <a:pt x="240557" y="6445487"/>
                  <a:pt x="271072" y="5778021"/>
                </a:cubicBezTo>
                <a:cubicBezTo>
                  <a:pt x="295325" y="5193645"/>
                  <a:pt x="373956" y="4608355"/>
                  <a:pt x="446717" y="4045894"/>
                </a:cubicBezTo>
                <a:cubicBezTo>
                  <a:pt x="476839" y="3819448"/>
                  <a:pt x="507352" y="3587524"/>
                  <a:pt x="534736" y="3356513"/>
                </a:cubicBezTo>
                <a:cubicBezTo>
                  <a:pt x="668133" y="2235241"/>
                  <a:pt x="719380" y="1109403"/>
                  <a:pt x="692388" y="1828"/>
                </a:cubicBezTo>
                <a:lnTo>
                  <a:pt x="677130" y="1828"/>
                </a:lnTo>
                <a:cubicBezTo>
                  <a:pt x="707253" y="1105750"/>
                  <a:pt x="656007" y="2231589"/>
                  <a:pt x="522609" y="3356513"/>
                </a:cubicBezTo>
                <a:cubicBezTo>
                  <a:pt x="495226" y="3582959"/>
                  <a:pt x="465103" y="3818535"/>
                  <a:pt x="434590" y="4041328"/>
                </a:cubicBezTo>
                <a:cubicBezTo>
                  <a:pt x="361829" y="4608355"/>
                  <a:pt x="283198" y="5192732"/>
                  <a:pt x="255815" y="5778021"/>
                </a:cubicBezTo>
                <a:cubicBezTo>
                  <a:pt x="248969" y="5944887"/>
                  <a:pt x="245742" y="6115293"/>
                  <a:pt x="246359" y="6291090"/>
                </a:cubicBezTo>
                <a:close/>
                <a:moveTo>
                  <a:pt x="126714" y="6383042"/>
                </a:moveTo>
                <a:cubicBezTo>
                  <a:pt x="128970" y="6911506"/>
                  <a:pt x="168578" y="7489148"/>
                  <a:pt x="246035" y="8160267"/>
                </a:cubicBezTo>
                <a:cubicBezTo>
                  <a:pt x="409553" y="9586509"/>
                  <a:pt x="654833" y="10664867"/>
                  <a:pt x="1015514" y="11554213"/>
                </a:cubicBezTo>
                <a:cubicBezTo>
                  <a:pt x="1062458" y="11669718"/>
                  <a:pt x="1111651" y="11783169"/>
                  <a:pt x="1163142" y="11894453"/>
                </a:cubicBezTo>
                <a:lnTo>
                  <a:pt x="1308351" y="12188825"/>
                </a:lnTo>
                <a:lnTo>
                  <a:pt x="1326652" y="12188825"/>
                </a:lnTo>
                <a:lnTo>
                  <a:pt x="1174242" y="11883952"/>
                </a:lnTo>
                <a:cubicBezTo>
                  <a:pt x="1122311" y="11772670"/>
                  <a:pt x="1073020" y="11659219"/>
                  <a:pt x="1027641" y="11545997"/>
                </a:cubicBezTo>
                <a:cubicBezTo>
                  <a:pt x="667351" y="10655735"/>
                  <a:pt x="421682" y="9578293"/>
                  <a:pt x="258162" y="8160267"/>
                </a:cubicBezTo>
                <a:cubicBezTo>
                  <a:pt x="155278" y="7265443"/>
                  <a:pt x="122026" y="6536798"/>
                  <a:pt x="149019" y="5869330"/>
                </a:cubicBezTo>
                <a:cubicBezTo>
                  <a:pt x="173273" y="5280389"/>
                  <a:pt x="249165" y="4686883"/>
                  <a:pt x="321534" y="4119855"/>
                </a:cubicBezTo>
                <a:cubicBezTo>
                  <a:pt x="348919" y="3897059"/>
                  <a:pt x="379042" y="3666049"/>
                  <a:pt x="406424" y="3439603"/>
                </a:cubicBezTo>
                <a:cubicBezTo>
                  <a:pt x="539823" y="2288202"/>
                  <a:pt x="588330" y="1131316"/>
                  <a:pt x="557818" y="1828"/>
                </a:cubicBezTo>
                <a:lnTo>
                  <a:pt x="545691" y="1828"/>
                </a:lnTo>
                <a:cubicBezTo>
                  <a:pt x="575811" y="1132231"/>
                  <a:pt x="524565" y="2283634"/>
                  <a:pt x="394297" y="3435039"/>
                </a:cubicBezTo>
                <a:cubicBezTo>
                  <a:pt x="366915" y="3661484"/>
                  <a:pt x="336792" y="3893408"/>
                  <a:pt x="309407" y="4115287"/>
                </a:cubicBezTo>
                <a:cubicBezTo>
                  <a:pt x="236646" y="4686883"/>
                  <a:pt x="161146" y="5275824"/>
                  <a:pt x="136890" y="5869330"/>
                </a:cubicBezTo>
                <a:cubicBezTo>
                  <a:pt x="129360" y="6036197"/>
                  <a:pt x="125962" y="6206888"/>
                  <a:pt x="126714" y="6383042"/>
                </a:cubicBezTo>
                <a:close/>
                <a:moveTo>
                  <a:pt x="7913" y="6475962"/>
                </a:moveTo>
                <a:cubicBezTo>
                  <a:pt x="11562" y="7008234"/>
                  <a:pt x="51905" y="7585706"/>
                  <a:pt x="131415" y="8256141"/>
                </a:cubicBezTo>
                <a:cubicBezTo>
                  <a:pt x="301194" y="9678731"/>
                  <a:pt x="549602" y="10760741"/>
                  <a:pt x="915760" y="11650087"/>
                </a:cubicBezTo>
                <a:cubicBezTo>
                  <a:pt x="962703" y="11765593"/>
                  <a:pt x="1011896" y="11879044"/>
                  <a:pt x="1063778" y="11990327"/>
                </a:cubicBezTo>
                <a:lnTo>
                  <a:pt x="1163355" y="12188825"/>
                </a:lnTo>
                <a:lnTo>
                  <a:pt x="1179133" y="12188825"/>
                </a:lnTo>
                <a:lnTo>
                  <a:pt x="1074096" y="11978115"/>
                </a:lnTo>
                <a:cubicBezTo>
                  <a:pt x="1021774" y="11867404"/>
                  <a:pt x="971701" y="11755094"/>
                  <a:pt x="924758" y="11641871"/>
                </a:cubicBezTo>
                <a:cubicBezTo>
                  <a:pt x="561338" y="10751611"/>
                  <a:pt x="312930" y="9674167"/>
                  <a:pt x="143150" y="8256141"/>
                </a:cubicBezTo>
                <a:cubicBezTo>
                  <a:pt x="40267" y="7361314"/>
                  <a:pt x="3886" y="6632672"/>
                  <a:pt x="28140" y="5961553"/>
                </a:cubicBezTo>
                <a:cubicBezTo>
                  <a:pt x="52394" y="5363480"/>
                  <a:pt x="125155" y="4766320"/>
                  <a:pt x="197919" y="4190161"/>
                </a:cubicBezTo>
                <a:cubicBezTo>
                  <a:pt x="225302" y="3971935"/>
                  <a:pt x="252295" y="3745489"/>
                  <a:pt x="279678" y="3522695"/>
                </a:cubicBezTo>
                <a:cubicBezTo>
                  <a:pt x="409947" y="2340246"/>
                  <a:pt x="461583" y="1157796"/>
                  <a:pt x="425203" y="1828"/>
                </a:cubicBezTo>
                <a:lnTo>
                  <a:pt x="413074" y="1828"/>
                </a:lnTo>
                <a:cubicBezTo>
                  <a:pt x="446326" y="1153231"/>
                  <a:pt x="397818" y="2335680"/>
                  <a:pt x="264813" y="3518129"/>
                </a:cubicBezTo>
                <a:cubicBezTo>
                  <a:pt x="240557" y="3740924"/>
                  <a:pt x="213175" y="3967367"/>
                  <a:pt x="186181" y="4190161"/>
                </a:cubicBezTo>
                <a:cubicBezTo>
                  <a:pt x="113420" y="4766320"/>
                  <a:pt x="37919" y="5359827"/>
                  <a:pt x="16403" y="5956988"/>
                </a:cubicBezTo>
                <a:cubicBezTo>
                  <a:pt x="9557" y="6126137"/>
                  <a:pt x="6696" y="6298539"/>
                  <a:pt x="7913" y="6475962"/>
                </a:cubicBezTo>
                <a:close/>
                <a:moveTo>
                  <a:pt x="0" y="12143747"/>
                </a:moveTo>
                <a:lnTo>
                  <a:pt x="0" y="12180859"/>
                </a:lnTo>
                <a:lnTo>
                  <a:pt x="3313" y="12188825"/>
                </a:lnTo>
                <a:lnTo>
                  <a:pt x="18829" y="12188825"/>
                </a:lnTo>
                <a:close/>
                <a:moveTo>
                  <a:pt x="0" y="11770999"/>
                </a:moveTo>
                <a:lnTo>
                  <a:pt x="0" y="11814171"/>
                </a:lnTo>
                <a:lnTo>
                  <a:pt x="60618" y="11981565"/>
                </a:lnTo>
                <a:lnTo>
                  <a:pt x="146370" y="12188825"/>
                </a:lnTo>
                <a:lnTo>
                  <a:pt x="162634" y="12188825"/>
                </a:lnTo>
                <a:lnTo>
                  <a:pt x="73136" y="11972637"/>
                </a:lnTo>
                <a:close/>
                <a:moveTo>
                  <a:pt x="0" y="11369071"/>
                </a:moveTo>
                <a:lnTo>
                  <a:pt x="0" y="11418249"/>
                </a:lnTo>
                <a:lnTo>
                  <a:pt x="32033" y="11521001"/>
                </a:lnTo>
                <a:cubicBezTo>
                  <a:pt x="73790" y="11646008"/>
                  <a:pt x="117242" y="11767535"/>
                  <a:pt x="162467" y="11885886"/>
                </a:cubicBezTo>
                <a:lnTo>
                  <a:pt x="286040" y="12188825"/>
                </a:lnTo>
                <a:lnTo>
                  <a:pt x="302282" y="12188825"/>
                </a:lnTo>
                <a:lnTo>
                  <a:pt x="174974" y="11876763"/>
                </a:lnTo>
                <a:cubicBezTo>
                  <a:pt x="129745" y="11758420"/>
                  <a:pt x="86290" y="11636912"/>
                  <a:pt x="44539" y="11511941"/>
                </a:cubicBezTo>
                <a:close/>
                <a:moveTo>
                  <a:pt x="0" y="10915801"/>
                </a:moveTo>
                <a:lnTo>
                  <a:pt x="0" y="10968869"/>
                </a:lnTo>
                <a:lnTo>
                  <a:pt x="18605" y="11038443"/>
                </a:lnTo>
                <a:cubicBezTo>
                  <a:pt x="132674" y="11435271"/>
                  <a:pt x="261438" y="11798011"/>
                  <a:pt x="406816" y="12134939"/>
                </a:cubicBezTo>
                <a:lnTo>
                  <a:pt x="431731" y="12188825"/>
                </a:lnTo>
                <a:lnTo>
                  <a:pt x="447977" y="12188825"/>
                </a:lnTo>
                <a:lnTo>
                  <a:pt x="418943" y="12125805"/>
                </a:lnTo>
                <a:cubicBezTo>
                  <a:pt x="273565" y="11788877"/>
                  <a:pt x="144801" y="11426651"/>
                  <a:pt x="30732" y="11030513"/>
                </a:cubicBezTo>
                <a:close/>
                <a:moveTo>
                  <a:pt x="0" y="10393437"/>
                </a:moveTo>
                <a:lnTo>
                  <a:pt x="0" y="10453311"/>
                </a:lnTo>
                <a:lnTo>
                  <a:pt x="18311" y="10534067"/>
                </a:lnTo>
                <a:cubicBezTo>
                  <a:pt x="155375" y="11094703"/>
                  <a:pt x="317427" y="11589825"/>
                  <a:pt x="509699" y="12039063"/>
                </a:cubicBezTo>
                <a:lnTo>
                  <a:pt x="577788" y="12188825"/>
                </a:lnTo>
                <a:lnTo>
                  <a:pt x="592107" y="12188825"/>
                </a:lnTo>
                <a:lnTo>
                  <a:pt x="519088" y="12029931"/>
                </a:lnTo>
                <a:cubicBezTo>
                  <a:pt x="328185" y="11580693"/>
                  <a:pt x="166915" y="11086485"/>
                  <a:pt x="30241" y="10526875"/>
                </a:cubicBezTo>
                <a:close/>
                <a:moveTo>
                  <a:pt x="0" y="9782675"/>
                </a:moveTo>
                <a:lnTo>
                  <a:pt x="0" y="9857953"/>
                </a:lnTo>
                <a:lnTo>
                  <a:pt x="28505" y="10006729"/>
                </a:lnTo>
                <a:cubicBezTo>
                  <a:pt x="182411" y="10749827"/>
                  <a:pt x="372782" y="11381641"/>
                  <a:pt x="609455" y="11943189"/>
                </a:cubicBezTo>
                <a:lnTo>
                  <a:pt x="721132" y="12188825"/>
                </a:lnTo>
                <a:lnTo>
                  <a:pt x="736965" y="12188825"/>
                </a:lnTo>
                <a:lnTo>
                  <a:pt x="621973" y="11934059"/>
                </a:lnTo>
                <a:cubicBezTo>
                  <a:pt x="385301" y="11372511"/>
                  <a:pt x="194777" y="10740697"/>
                  <a:pt x="41519" y="9999829"/>
                </a:cubicBezTo>
                <a:close/>
                <a:moveTo>
                  <a:pt x="0" y="9049167"/>
                </a:moveTo>
                <a:lnTo>
                  <a:pt x="0" y="9129723"/>
                </a:lnTo>
                <a:lnTo>
                  <a:pt x="51764" y="9453627"/>
                </a:lnTo>
                <a:cubicBezTo>
                  <a:pt x="215864" y="10398931"/>
                  <a:pt x="431070" y="11173457"/>
                  <a:pt x="712731" y="11847315"/>
                </a:cubicBezTo>
                <a:cubicBezTo>
                  <a:pt x="759674" y="11960537"/>
                  <a:pt x="809649" y="12072847"/>
                  <a:pt x="862264" y="12183103"/>
                </a:cubicBezTo>
                <a:lnTo>
                  <a:pt x="865190" y="12188825"/>
                </a:lnTo>
                <a:lnTo>
                  <a:pt x="882725" y="12188825"/>
                </a:lnTo>
                <a:lnTo>
                  <a:pt x="874391" y="12172488"/>
                </a:lnTo>
                <a:cubicBezTo>
                  <a:pt x="821384" y="12062347"/>
                  <a:pt x="770627" y="11950037"/>
                  <a:pt x="722119" y="11834531"/>
                </a:cubicBezTo>
                <a:cubicBezTo>
                  <a:pt x="442806" y="11166837"/>
                  <a:pt x="227966" y="10393851"/>
                  <a:pt x="63904" y="9448935"/>
                </a:cubicBezTo>
                <a:close/>
                <a:moveTo>
                  <a:pt x="0" y="8077111"/>
                </a:moveTo>
                <a:lnTo>
                  <a:pt x="0" y="8185701"/>
                </a:lnTo>
                <a:lnTo>
                  <a:pt x="19143" y="8352928"/>
                </a:lnTo>
                <a:cubicBezTo>
                  <a:pt x="191659" y="9775519"/>
                  <a:pt x="443196" y="10857529"/>
                  <a:pt x="812876" y="11751441"/>
                </a:cubicBezTo>
                <a:cubicBezTo>
                  <a:pt x="859820" y="11864663"/>
                  <a:pt x="909794" y="11976973"/>
                  <a:pt x="962410" y="12087684"/>
                </a:cubicBezTo>
                <a:lnTo>
                  <a:pt x="1013614" y="12188825"/>
                </a:lnTo>
                <a:lnTo>
                  <a:pt x="1031131" y="12188825"/>
                </a:lnTo>
                <a:lnTo>
                  <a:pt x="974341" y="12074901"/>
                </a:lnTo>
                <a:cubicBezTo>
                  <a:pt x="922019" y="11964189"/>
                  <a:pt x="871946" y="11851880"/>
                  <a:pt x="825003" y="11738659"/>
                </a:cubicBezTo>
                <a:cubicBezTo>
                  <a:pt x="455323" y="10848397"/>
                  <a:pt x="204177" y="9770953"/>
                  <a:pt x="31269" y="8348363"/>
                </a:cubicBezTo>
                <a:close/>
                <a:moveTo>
                  <a:pt x="0" y="4775048"/>
                </a:moveTo>
                <a:lnTo>
                  <a:pt x="0" y="4887079"/>
                </a:lnTo>
                <a:lnTo>
                  <a:pt x="20145" y="4703802"/>
                </a:lnTo>
                <a:cubicBezTo>
                  <a:pt x="37528" y="4556367"/>
                  <a:pt x="55719" y="4409988"/>
                  <a:pt x="73910" y="4265036"/>
                </a:cubicBezTo>
                <a:cubicBezTo>
                  <a:pt x="98164" y="4046807"/>
                  <a:pt x="125547" y="3824016"/>
                  <a:pt x="149800" y="3605785"/>
                </a:cubicBezTo>
                <a:cubicBezTo>
                  <a:pt x="283198" y="2388641"/>
                  <a:pt x="331705" y="1179709"/>
                  <a:pt x="292196" y="1828"/>
                </a:cubicBezTo>
                <a:lnTo>
                  <a:pt x="280069" y="1828"/>
                </a:lnTo>
                <a:cubicBezTo>
                  <a:pt x="319579" y="1179709"/>
                  <a:pt x="271072" y="2388641"/>
                  <a:pt x="137674" y="3601219"/>
                </a:cubicBezTo>
                <a:cubicBezTo>
                  <a:pt x="113420" y="3824016"/>
                  <a:pt x="86037" y="4045894"/>
                  <a:pt x="61784" y="4260470"/>
                </a:cubicBezTo>
                <a:cubicBezTo>
                  <a:pt x="43593" y="4406564"/>
                  <a:pt x="25402" y="4553800"/>
                  <a:pt x="8018" y="4701876"/>
                </a:cubicBezTo>
                <a:close/>
                <a:moveTo>
                  <a:pt x="0" y="3771216"/>
                </a:moveTo>
                <a:lnTo>
                  <a:pt x="0" y="3885405"/>
                </a:lnTo>
                <a:lnTo>
                  <a:pt x="22272" y="3684311"/>
                </a:lnTo>
                <a:cubicBezTo>
                  <a:pt x="155669" y="2440685"/>
                  <a:pt x="201048" y="1201626"/>
                  <a:pt x="158407" y="1828"/>
                </a:cubicBezTo>
                <a:lnTo>
                  <a:pt x="146280" y="1828"/>
                </a:lnTo>
                <a:cubicBezTo>
                  <a:pt x="188530" y="1201626"/>
                  <a:pt x="143150" y="2440685"/>
                  <a:pt x="10144" y="3684311"/>
                </a:cubicBezTo>
                <a:close/>
                <a:moveTo>
                  <a:pt x="0" y="2184485"/>
                </a:moveTo>
                <a:lnTo>
                  <a:pt x="0" y="2456148"/>
                </a:lnTo>
                <a:lnTo>
                  <a:pt x="7103" y="2339528"/>
                </a:lnTo>
                <a:cubicBezTo>
                  <a:pt x="48335" y="1550011"/>
                  <a:pt x="54936" y="768251"/>
                  <a:pt x="28532" y="1828"/>
                </a:cubicBezTo>
                <a:lnTo>
                  <a:pt x="13275" y="1828"/>
                </a:lnTo>
                <a:cubicBezTo>
                  <a:pt x="35964" y="612683"/>
                  <a:pt x="35964" y="1234496"/>
                  <a:pt x="14008" y="1862814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  <a:ln w="12700">
            <a:solidFill>
              <a:schemeClr val="bg1">
                <a:lumMod val="95000"/>
                <a:alpha val="30000"/>
              </a:schemeClr>
            </a:solidFill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798"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60BD87-90A1-7149-BE3B-584C7BA621D8}"/>
              </a:ext>
            </a:extLst>
          </p:cNvPr>
          <p:cNvSpPr/>
          <p:nvPr userDrawn="1"/>
        </p:nvSpPr>
        <p:spPr>
          <a:xfrm>
            <a:off x="1" y="-15025"/>
            <a:ext cx="12191999" cy="1033946"/>
          </a:xfrm>
          <a:prstGeom prst="rect">
            <a:avLst/>
          </a:prstGeom>
          <a:gradFill>
            <a:gsLst>
              <a:gs pos="50000">
                <a:srgbClr val="605BCA"/>
              </a:gs>
              <a:gs pos="0">
                <a:schemeClr val="tx2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C211EE-CE6A-0174-A94C-292157083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420" y="248675"/>
            <a:ext cx="10515163" cy="506546"/>
          </a:xfrm>
          <a:prstGeom prst="rect">
            <a:avLst/>
          </a:prstGeom>
        </p:spPr>
        <p:txBody>
          <a:bodyPr/>
          <a:lstStyle>
            <a:lvl1pPr marL="0" marR="126924" indent="-36808" algn="ctr" defTabSz="913852" rtl="0" eaLnBrk="1" latinLnBrk="0" hangingPunct="1">
              <a:lnSpc>
                <a:spcPct val="90000"/>
              </a:lnSpc>
              <a:spcBef>
                <a:spcPct val="0"/>
              </a:spcBef>
              <a:defRPr lang="en-US" sz="2599" b="1" kern="1200" spc="100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4AB10759-683F-11D8-4AAE-B5EF69A318DE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3C0932B-3F11-A8AC-C0CA-855B0AD9F4A7}"/>
              </a:ext>
            </a:extLst>
          </p:cNvPr>
          <p:cNvSpPr txBox="1"/>
          <p:nvPr userDrawn="1"/>
        </p:nvSpPr>
        <p:spPr>
          <a:xfrm>
            <a:off x="8864496" y="6210301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025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2413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3356640" cy="6858000"/>
          </a:xfrm>
          <a:prstGeom prst="rect">
            <a:avLst/>
          </a:prstGeom>
          <a:gradFill flip="none" rotWithShape="1">
            <a:gsLst>
              <a:gs pos="61000">
                <a:schemeClr val="accent3"/>
              </a:gs>
              <a:gs pos="1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90B658AD-DC66-BB34-E137-AC6D5F8FD2E5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7078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4">
                  <a:lumMod val="40000"/>
                  <a:lumOff val="60000"/>
                </a:schemeClr>
              </a:gs>
              <a:gs pos="0">
                <a:schemeClr val="accent4">
                  <a:lumMod val="50000"/>
                </a:schemeClr>
              </a:gs>
              <a:gs pos="54000">
                <a:schemeClr val="accent4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54AFFCA3-71F6-738F-EFF6-C10CC8B2A273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1263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75000"/>
                </a:schemeClr>
              </a:gs>
              <a:gs pos="54000">
                <a:schemeClr val="accent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73627FA7-D627-27BB-D367-7ABBA8FC3E2E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2190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rgbClr val="9591DB"/>
              </a:gs>
              <a:gs pos="0">
                <a:srgbClr val="28246F"/>
              </a:gs>
              <a:gs pos="54000">
                <a:srgbClr val="605BCA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14C5B641-9FB7-2AE2-2A9B-EFE38BBC7A72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8435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3"/>
              </a:gs>
              <a:gs pos="0">
                <a:schemeClr val="tx2">
                  <a:lumMod val="50000"/>
                </a:schemeClr>
              </a:gs>
              <a:gs pos="54000">
                <a:schemeClr val="tx2">
                  <a:alpha val="90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95957D18-C83C-E72E-80C2-37218B74E4C6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3219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DF39395D-5788-42F2-A649-7A66CAA99D0D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0546" y="1473200"/>
            <a:ext cx="11868912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FF3EF0C9-7054-4616-8F06-3EFAC24F1EDC}"/>
              </a:ext>
            </a:extLst>
          </p:cNvPr>
          <p:cNvSpPr/>
          <p:nvPr/>
        </p:nvSpPr>
        <p:spPr>
          <a:xfrm>
            <a:off x="3942557" y="-2381"/>
            <a:ext cx="8242300" cy="6858000"/>
          </a:xfrm>
          <a:prstGeom prst="rect">
            <a:avLst/>
          </a:prstGeom>
          <a:gradFill flip="none" rotWithShape="1">
            <a:gsLst>
              <a:gs pos="64000">
                <a:schemeClr val="bg1">
                  <a:alpha val="92000"/>
                </a:schemeClr>
              </a:gs>
              <a:gs pos="81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5257148" y="2705102"/>
            <a:ext cx="6630052" cy="203804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4399"/>
              </a:lnSpc>
              <a:defRPr sz="5398" b="1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Divid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7148" y="5300382"/>
            <a:ext cx="6630052" cy="2904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99" spc="300">
                <a:solidFill>
                  <a:schemeClr val="tx2"/>
                </a:solidFill>
                <a:latin typeface="+mn-lt"/>
              </a:defRPr>
            </a:lvl1pPr>
            <a:lvl2pPr marL="342781" indent="0" algn="ctr">
              <a:buNone/>
              <a:defRPr sz="1500"/>
            </a:lvl2pPr>
            <a:lvl3pPr marL="685560" indent="0" algn="ctr">
              <a:buNone/>
              <a:defRPr sz="1350"/>
            </a:lvl3pPr>
            <a:lvl4pPr marL="1028340" indent="0" algn="ctr">
              <a:buNone/>
              <a:defRPr sz="1200"/>
            </a:lvl4pPr>
            <a:lvl5pPr marL="1371121" indent="0" algn="ctr">
              <a:buNone/>
              <a:defRPr sz="1200"/>
            </a:lvl5pPr>
            <a:lvl6pPr marL="1713901" indent="0" algn="ctr">
              <a:buNone/>
              <a:defRPr sz="1200"/>
            </a:lvl6pPr>
            <a:lvl7pPr marL="2056680" indent="0" algn="ctr">
              <a:buNone/>
              <a:defRPr sz="1200"/>
            </a:lvl7pPr>
            <a:lvl8pPr marL="2399460" indent="0" algn="ctr">
              <a:buNone/>
              <a:defRPr sz="1200"/>
            </a:lvl8pPr>
            <a:lvl9pPr marL="2742241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C97480E-BED0-4B56-8A0A-2AFE498C51D2}"/>
              </a:ext>
            </a:extLst>
          </p:cNvPr>
          <p:cNvSpPr/>
          <p:nvPr/>
        </p:nvSpPr>
        <p:spPr>
          <a:xfrm flipV="1">
            <a:off x="4233489" y="0"/>
            <a:ext cx="1162537" cy="6858000"/>
          </a:xfrm>
          <a:custGeom>
            <a:avLst/>
            <a:gdLst>
              <a:gd name="connsiteX0" fmla="*/ 1117940 w 1117940"/>
              <a:gd name="connsiteY0" fmla="*/ 0 h 6858000"/>
              <a:gd name="connsiteX1" fmla="*/ 889340 w 1117940"/>
              <a:gd name="connsiteY1" fmla="*/ 1168400 h 6858000"/>
              <a:gd name="connsiteX2" fmla="*/ 178140 w 1117940"/>
              <a:gd name="connsiteY2" fmla="*/ 3048000 h 6858000"/>
              <a:gd name="connsiteX3" fmla="*/ 340 w 1117940"/>
              <a:gd name="connsiteY3" fmla="*/ 4343400 h 6858000"/>
              <a:gd name="connsiteX4" fmla="*/ 203540 w 1117940"/>
              <a:gd name="connsiteY4" fmla="*/ 5613400 h 6858000"/>
              <a:gd name="connsiteX5" fmla="*/ 1003640 w 111794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7940" h="6858000">
                <a:moveTo>
                  <a:pt x="1117940" y="0"/>
                </a:moveTo>
                <a:cubicBezTo>
                  <a:pt x="1081956" y="330200"/>
                  <a:pt x="1045973" y="660400"/>
                  <a:pt x="889340" y="1168400"/>
                </a:cubicBezTo>
                <a:cubicBezTo>
                  <a:pt x="732707" y="1676400"/>
                  <a:pt x="326307" y="2518833"/>
                  <a:pt x="178140" y="3048000"/>
                </a:cubicBezTo>
                <a:cubicBezTo>
                  <a:pt x="29973" y="3577167"/>
                  <a:pt x="-3893" y="3915833"/>
                  <a:pt x="340" y="4343400"/>
                </a:cubicBezTo>
                <a:cubicBezTo>
                  <a:pt x="4573" y="4770967"/>
                  <a:pt x="36323" y="5194300"/>
                  <a:pt x="203540" y="5613400"/>
                </a:cubicBezTo>
                <a:cubicBezTo>
                  <a:pt x="370757" y="6032500"/>
                  <a:pt x="687198" y="6445250"/>
                  <a:pt x="1003640" y="6858000"/>
                </a:cubicBezTo>
              </a:path>
            </a:pathLst>
          </a:custGeom>
          <a:noFill/>
          <a:ln w="15875">
            <a:solidFill>
              <a:schemeClr val="bg1">
                <a:alpha val="8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64F9551-FB27-492E-8EA7-EC4DB915F4AA}"/>
              </a:ext>
            </a:extLst>
          </p:cNvPr>
          <p:cNvCxnSpPr>
            <a:cxnSpLocks/>
          </p:cNvCxnSpPr>
          <p:nvPr/>
        </p:nvCxnSpPr>
        <p:spPr>
          <a:xfrm>
            <a:off x="5257148" y="5038693"/>
            <a:ext cx="5435706" cy="0"/>
          </a:xfrm>
          <a:prstGeom prst="line">
            <a:avLst/>
          </a:prstGeom>
          <a:ln>
            <a:gradFill flip="none" rotWithShape="1">
              <a:gsLst>
                <a:gs pos="1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9775A2-078D-4EBE-B50A-32A40BEFD388}"/>
              </a:ext>
            </a:extLst>
          </p:cNvPr>
          <p:cNvSpPr/>
          <p:nvPr/>
        </p:nvSpPr>
        <p:spPr>
          <a:xfrm>
            <a:off x="218540" y="-2869"/>
            <a:ext cx="5877461" cy="6860868"/>
          </a:xfrm>
          <a:custGeom>
            <a:avLst/>
            <a:gdLst>
              <a:gd name="connsiteX0" fmla="*/ 0 w 6710000"/>
              <a:gd name="connsiteY0" fmla="*/ 6767133 h 6858000"/>
              <a:gd name="connsiteX1" fmla="*/ 61409 w 6710000"/>
              <a:gd name="connsiteY1" fmla="*/ 6858000 h 6858000"/>
              <a:gd name="connsiteX2" fmla="*/ 42656 w 6710000"/>
              <a:gd name="connsiteY2" fmla="*/ 6858000 h 6858000"/>
              <a:gd name="connsiteX3" fmla="*/ 0 w 6710000"/>
              <a:gd name="connsiteY3" fmla="*/ 6794901 h 6858000"/>
              <a:gd name="connsiteX4" fmla="*/ 0 w 6710000"/>
              <a:gd name="connsiteY4" fmla="*/ 6468280 h 6858000"/>
              <a:gd name="connsiteX5" fmla="*/ 72167 w 6710000"/>
              <a:gd name="connsiteY5" fmla="*/ 6593013 h 6858000"/>
              <a:gd name="connsiteX6" fmla="*/ 233941 w 6710000"/>
              <a:gd name="connsiteY6" fmla="*/ 6835826 h 6858000"/>
              <a:gd name="connsiteX7" fmla="*/ 250890 w 6710000"/>
              <a:gd name="connsiteY7" fmla="*/ 6858000 h 6858000"/>
              <a:gd name="connsiteX8" fmla="*/ 230297 w 6710000"/>
              <a:gd name="connsiteY8" fmla="*/ 6858000 h 6858000"/>
              <a:gd name="connsiteX9" fmla="*/ 217393 w 6710000"/>
              <a:gd name="connsiteY9" fmla="*/ 6841108 h 6858000"/>
              <a:gd name="connsiteX10" fmla="*/ 55623 w 6710000"/>
              <a:gd name="connsiteY10" fmla="*/ 6598099 h 6858000"/>
              <a:gd name="connsiteX11" fmla="*/ 0 w 6710000"/>
              <a:gd name="connsiteY11" fmla="*/ 6501837 h 6858000"/>
              <a:gd name="connsiteX12" fmla="*/ 0 w 6710000"/>
              <a:gd name="connsiteY12" fmla="*/ 6127856 h 6858000"/>
              <a:gd name="connsiteX13" fmla="*/ 74782 w 6710000"/>
              <a:gd name="connsiteY13" fmla="*/ 6280093 h 6858000"/>
              <a:gd name="connsiteX14" fmla="*/ 259740 w 6710000"/>
              <a:gd name="connsiteY14" fmla="*/ 6599011 h 6858000"/>
              <a:gd name="connsiteX15" fmla="*/ 439100 w 6710000"/>
              <a:gd name="connsiteY15" fmla="*/ 6858000 h 6858000"/>
              <a:gd name="connsiteX16" fmla="*/ 420644 w 6710000"/>
              <a:gd name="connsiteY16" fmla="*/ 6858000 h 6858000"/>
              <a:gd name="connsiteX17" fmla="*/ 243317 w 6710000"/>
              <a:gd name="connsiteY17" fmla="*/ 6602664 h 6858000"/>
              <a:gd name="connsiteX18" fmla="*/ 57373 w 6710000"/>
              <a:gd name="connsiteY18" fmla="*/ 6283122 h 6858000"/>
              <a:gd name="connsiteX19" fmla="*/ 0 w 6710000"/>
              <a:gd name="connsiteY19" fmla="*/ 6166955 h 6858000"/>
              <a:gd name="connsiteX20" fmla="*/ 0 w 6710000"/>
              <a:gd name="connsiteY20" fmla="*/ 5727262 h 6858000"/>
              <a:gd name="connsiteX21" fmla="*/ 93060 w 6710000"/>
              <a:gd name="connsiteY21" fmla="*/ 5950881 h 6858000"/>
              <a:gd name="connsiteX22" fmla="*/ 528035 w 6710000"/>
              <a:gd name="connsiteY22" fmla="*/ 6723817 h 6858000"/>
              <a:gd name="connsiteX23" fmla="*/ 626660 w 6710000"/>
              <a:gd name="connsiteY23" fmla="*/ 6858000 h 6858000"/>
              <a:gd name="connsiteX24" fmla="*/ 607172 w 6710000"/>
              <a:gd name="connsiteY24" fmla="*/ 6858000 h 6858000"/>
              <a:gd name="connsiteX25" fmla="*/ 511220 w 6710000"/>
              <a:gd name="connsiteY25" fmla="*/ 6727192 h 6858000"/>
              <a:gd name="connsiteX26" fmla="*/ 76244 w 6710000"/>
              <a:gd name="connsiteY26" fmla="*/ 5953636 h 6858000"/>
              <a:gd name="connsiteX27" fmla="*/ 0 w 6710000"/>
              <a:gd name="connsiteY27" fmla="*/ 5770403 h 6858000"/>
              <a:gd name="connsiteX28" fmla="*/ 0 w 6710000"/>
              <a:gd name="connsiteY28" fmla="*/ 5218362 h 6858000"/>
              <a:gd name="connsiteX29" fmla="*/ 23141 w 6710000"/>
              <a:gd name="connsiteY29" fmla="*/ 5299255 h 6858000"/>
              <a:gd name="connsiteX30" fmla="*/ 677327 w 6710000"/>
              <a:gd name="connsiteY30" fmla="*/ 6667002 h 6858000"/>
              <a:gd name="connsiteX31" fmla="*/ 818345 w 6710000"/>
              <a:gd name="connsiteY31" fmla="*/ 6858000 h 6858000"/>
              <a:gd name="connsiteX32" fmla="*/ 797399 w 6710000"/>
              <a:gd name="connsiteY32" fmla="*/ 6858000 h 6858000"/>
              <a:gd name="connsiteX33" fmla="*/ 659968 w 6710000"/>
              <a:gd name="connsiteY33" fmla="*/ 6671426 h 6858000"/>
              <a:gd name="connsiteX34" fmla="*/ 5783 w 6710000"/>
              <a:gd name="connsiteY34" fmla="*/ 5299255 h 6858000"/>
              <a:gd name="connsiteX35" fmla="*/ 0 w 6710000"/>
              <a:gd name="connsiteY35" fmla="*/ 5279204 h 6858000"/>
              <a:gd name="connsiteX36" fmla="*/ 0 w 6710000"/>
              <a:gd name="connsiteY36" fmla="*/ 4465450 h 6858000"/>
              <a:gd name="connsiteX37" fmla="*/ 5037 w 6710000"/>
              <a:gd name="connsiteY37" fmla="*/ 4510117 h 6858000"/>
              <a:gd name="connsiteX38" fmla="*/ 182081 w 6710000"/>
              <a:gd name="connsiteY38" fmla="*/ 5242297 h 6858000"/>
              <a:gd name="connsiteX39" fmla="*/ 990300 w 6710000"/>
              <a:gd name="connsiteY39" fmla="*/ 6839127 h 6858000"/>
              <a:gd name="connsiteX40" fmla="*/ 1006050 w 6710000"/>
              <a:gd name="connsiteY40" fmla="*/ 6858000 h 6858000"/>
              <a:gd name="connsiteX41" fmla="*/ 984214 w 6710000"/>
              <a:gd name="connsiteY41" fmla="*/ 6858000 h 6858000"/>
              <a:gd name="connsiteX42" fmla="*/ 972958 w 6710000"/>
              <a:gd name="connsiteY42" fmla="*/ 6844510 h 6858000"/>
              <a:gd name="connsiteX43" fmla="*/ 160926 w 6710000"/>
              <a:gd name="connsiteY43" fmla="*/ 5245010 h 6858000"/>
              <a:gd name="connsiteX44" fmla="*/ 55970 w 6710000"/>
              <a:gd name="connsiteY44" fmla="*/ 4866800 h 6858000"/>
              <a:gd name="connsiteX45" fmla="*/ 0 w 6710000"/>
              <a:gd name="connsiteY45" fmla="*/ 4583010 h 6858000"/>
              <a:gd name="connsiteX46" fmla="*/ 5126028 w 6710000"/>
              <a:gd name="connsiteY46" fmla="*/ 2170 h 6858000"/>
              <a:gd name="connsiteX47" fmla="*/ 5142843 w 6710000"/>
              <a:gd name="connsiteY47" fmla="*/ 2170 h 6858000"/>
              <a:gd name="connsiteX48" fmla="*/ 4865649 w 6710000"/>
              <a:gd name="connsiteY48" fmla="*/ 1121800 h 6858000"/>
              <a:gd name="connsiteX49" fmla="*/ 4655718 w 6710000"/>
              <a:gd name="connsiteY49" fmla="*/ 1593737 h 6858000"/>
              <a:gd name="connsiteX50" fmla="*/ 4311259 w 6710000"/>
              <a:gd name="connsiteY50" fmla="*/ 2464379 h 6858000"/>
              <a:gd name="connsiteX51" fmla="*/ 4290102 w 6710000"/>
              <a:gd name="connsiteY51" fmla="*/ 3778751 h 6858000"/>
              <a:gd name="connsiteX52" fmla="*/ 5033811 w 6710000"/>
              <a:gd name="connsiteY52" fmla="*/ 5774448 h 6858000"/>
              <a:gd name="connsiteX53" fmla="*/ 5386407 w 6710000"/>
              <a:gd name="connsiteY53" fmla="*/ 6176406 h 6858000"/>
              <a:gd name="connsiteX54" fmla="*/ 6134792 w 6710000"/>
              <a:gd name="connsiteY54" fmla="*/ 6775957 h 6858000"/>
              <a:gd name="connsiteX55" fmla="*/ 6263750 w 6710000"/>
              <a:gd name="connsiteY55" fmla="*/ 6858000 h 6858000"/>
              <a:gd name="connsiteX56" fmla="*/ 6240757 w 6710000"/>
              <a:gd name="connsiteY56" fmla="*/ 6858000 h 6858000"/>
              <a:gd name="connsiteX57" fmla="*/ 6121638 w 6710000"/>
              <a:gd name="connsiteY57" fmla="*/ 6782466 h 6858000"/>
              <a:gd name="connsiteX58" fmla="*/ 5373930 w 6710000"/>
              <a:gd name="connsiteY58" fmla="*/ 6180746 h 6858000"/>
              <a:gd name="connsiteX59" fmla="*/ 5016994 w 6710000"/>
              <a:gd name="connsiteY59" fmla="*/ 5778787 h 6858000"/>
              <a:gd name="connsiteX60" fmla="*/ 4273287 w 6710000"/>
              <a:gd name="connsiteY60" fmla="*/ 3777665 h 6858000"/>
              <a:gd name="connsiteX61" fmla="*/ 4294441 w 6710000"/>
              <a:gd name="connsiteY61" fmla="*/ 2463294 h 6858000"/>
              <a:gd name="connsiteX62" fmla="*/ 4634562 w 6710000"/>
              <a:gd name="connsiteY62" fmla="*/ 1589939 h 6858000"/>
              <a:gd name="connsiteX63" fmla="*/ 4844493 w 6710000"/>
              <a:gd name="connsiteY63" fmla="*/ 1118004 h 6858000"/>
              <a:gd name="connsiteX64" fmla="*/ 5126028 w 6710000"/>
              <a:gd name="connsiteY64" fmla="*/ 2170 h 6858000"/>
              <a:gd name="connsiteX65" fmla="*/ 5302868 w 6710000"/>
              <a:gd name="connsiteY65" fmla="*/ 1628 h 6858000"/>
              <a:gd name="connsiteX66" fmla="*/ 5319685 w 6710000"/>
              <a:gd name="connsiteY66" fmla="*/ 1628 h 6858000"/>
              <a:gd name="connsiteX67" fmla="*/ 5042488 w 6710000"/>
              <a:gd name="connsiteY67" fmla="*/ 1071894 h 6858000"/>
              <a:gd name="connsiteX68" fmla="*/ 4828219 w 6710000"/>
              <a:gd name="connsiteY68" fmla="*/ 1546001 h 6858000"/>
              <a:gd name="connsiteX69" fmla="*/ 4479419 w 6710000"/>
              <a:gd name="connsiteY69" fmla="*/ 2411762 h 6858000"/>
              <a:gd name="connsiteX70" fmla="*/ 4450126 w 6710000"/>
              <a:gd name="connsiteY70" fmla="*/ 3720708 h 6858000"/>
              <a:gd name="connsiteX71" fmla="*/ 5172679 w 6710000"/>
              <a:gd name="connsiteY71" fmla="*/ 5716404 h 6858000"/>
              <a:gd name="connsiteX72" fmla="*/ 5525274 w 6710000"/>
              <a:gd name="connsiteY72" fmla="*/ 6118364 h 6858000"/>
              <a:gd name="connsiteX73" fmla="*/ 6269795 w 6710000"/>
              <a:gd name="connsiteY73" fmla="*/ 6720287 h 6858000"/>
              <a:gd name="connsiteX74" fmla="*/ 6485166 w 6710000"/>
              <a:gd name="connsiteY74" fmla="*/ 6858000 h 6858000"/>
              <a:gd name="connsiteX75" fmla="*/ 6459959 w 6710000"/>
              <a:gd name="connsiteY75" fmla="*/ 6858000 h 6858000"/>
              <a:gd name="connsiteX76" fmla="*/ 6254606 w 6710000"/>
              <a:gd name="connsiteY76" fmla="*/ 6726797 h 6858000"/>
              <a:gd name="connsiteX77" fmla="*/ 5507917 w 6710000"/>
              <a:gd name="connsiteY77" fmla="*/ 6123789 h 6858000"/>
              <a:gd name="connsiteX78" fmla="*/ 5155319 w 6710000"/>
              <a:gd name="connsiteY78" fmla="*/ 5721828 h 6858000"/>
              <a:gd name="connsiteX79" fmla="*/ 4432767 w 6710000"/>
              <a:gd name="connsiteY79" fmla="*/ 3723420 h 6858000"/>
              <a:gd name="connsiteX80" fmla="*/ 4462062 w 6710000"/>
              <a:gd name="connsiteY80" fmla="*/ 2409049 h 6858000"/>
              <a:gd name="connsiteX81" fmla="*/ 4806521 w 6710000"/>
              <a:gd name="connsiteY81" fmla="*/ 1543289 h 6858000"/>
              <a:gd name="connsiteX82" fmla="*/ 5025132 w 6710000"/>
              <a:gd name="connsiteY82" fmla="*/ 1069182 h 6858000"/>
              <a:gd name="connsiteX83" fmla="*/ 5302868 w 6710000"/>
              <a:gd name="connsiteY83" fmla="*/ 1628 h 6858000"/>
              <a:gd name="connsiteX84" fmla="*/ 4949188 w 6710000"/>
              <a:gd name="connsiteY84" fmla="*/ 1628 h 6858000"/>
              <a:gd name="connsiteX85" fmla="*/ 4966003 w 6710000"/>
              <a:gd name="connsiteY85" fmla="*/ 1628 h 6858000"/>
              <a:gd name="connsiteX86" fmla="*/ 4684468 w 6710000"/>
              <a:gd name="connsiteY86" fmla="*/ 1167910 h 6858000"/>
              <a:gd name="connsiteX87" fmla="*/ 4478877 w 6710000"/>
              <a:gd name="connsiteY87" fmla="*/ 1639846 h 6858000"/>
              <a:gd name="connsiteX88" fmla="*/ 4143096 w 6710000"/>
              <a:gd name="connsiteY88" fmla="*/ 2518625 h 6858000"/>
              <a:gd name="connsiteX89" fmla="*/ 4134959 w 6710000"/>
              <a:gd name="connsiteY89" fmla="*/ 3835167 h 6858000"/>
              <a:gd name="connsiteX90" fmla="*/ 4891144 w 6710000"/>
              <a:gd name="connsiteY90" fmla="*/ 5830862 h 6858000"/>
              <a:gd name="connsiteX91" fmla="*/ 5252419 w 6710000"/>
              <a:gd name="connsiteY91" fmla="*/ 6232823 h 6858000"/>
              <a:gd name="connsiteX92" fmla="*/ 6002296 w 6710000"/>
              <a:gd name="connsiteY92" fmla="*/ 6830338 h 6858000"/>
              <a:gd name="connsiteX93" fmla="*/ 6046090 w 6710000"/>
              <a:gd name="connsiteY93" fmla="*/ 6858000 h 6858000"/>
              <a:gd name="connsiteX94" fmla="*/ 6022791 w 6710000"/>
              <a:gd name="connsiteY94" fmla="*/ 6858000 h 6858000"/>
              <a:gd name="connsiteX95" fmla="*/ 5990091 w 6710000"/>
              <a:gd name="connsiteY95" fmla="*/ 6837390 h 6858000"/>
              <a:gd name="connsiteX96" fmla="*/ 5236146 w 6710000"/>
              <a:gd name="connsiteY96" fmla="*/ 6237705 h 6858000"/>
              <a:gd name="connsiteX97" fmla="*/ 4874871 w 6710000"/>
              <a:gd name="connsiteY97" fmla="*/ 5835744 h 6858000"/>
              <a:gd name="connsiteX98" fmla="*/ 4114346 w 6710000"/>
              <a:gd name="connsiteY98" fmla="*/ 3834624 h 6858000"/>
              <a:gd name="connsiteX99" fmla="*/ 4126822 w 6710000"/>
              <a:gd name="connsiteY99" fmla="*/ 2515371 h 6858000"/>
              <a:gd name="connsiteX100" fmla="*/ 4462604 w 6710000"/>
              <a:gd name="connsiteY100" fmla="*/ 1636591 h 6858000"/>
              <a:gd name="connsiteX101" fmla="*/ 4668195 w 6710000"/>
              <a:gd name="connsiteY101" fmla="*/ 1164654 h 6858000"/>
              <a:gd name="connsiteX102" fmla="*/ 4949188 w 6710000"/>
              <a:gd name="connsiteY102" fmla="*/ 1628 h 6858000"/>
              <a:gd name="connsiteX103" fmla="*/ 4768549 w 6710000"/>
              <a:gd name="connsiteY103" fmla="*/ 1628 h 6858000"/>
              <a:gd name="connsiteX104" fmla="*/ 4785365 w 6710000"/>
              <a:gd name="connsiteY104" fmla="*/ 1628 h 6858000"/>
              <a:gd name="connsiteX105" fmla="*/ 4508170 w 6710000"/>
              <a:gd name="connsiteY105" fmla="*/ 1217273 h 6858000"/>
              <a:gd name="connsiteX106" fmla="*/ 4306375 w 6710000"/>
              <a:gd name="connsiteY106" fmla="*/ 1686497 h 6858000"/>
              <a:gd name="connsiteX107" fmla="*/ 3974392 w 6710000"/>
              <a:gd name="connsiteY107" fmla="*/ 2572871 h 6858000"/>
              <a:gd name="connsiteX108" fmla="*/ 3974392 w 6710000"/>
              <a:gd name="connsiteY108" fmla="*/ 3889412 h 6858000"/>
              <a:gd name="connsiteX109" fmla="*/ 4751189 w 6710000"/>
              <a:gd name="connsiteY109" fmla="*/ 5887821 h 6858000"/>
              <a:gd name="connsiteX110" fmla="*/ 5112467 w 6710000"/>
              <a:gd name="connsiteY110" fmla="*/ 6289780 h 6858000"/>
              <a:gd name="connsiteX111" fmla="*/ 5659720 w 6710000"/>
              <a:gd name="connsiteY111" fmla="*/ 6742109 h 6858000"/>
              <a:gd name="connsiteX112" fmla="*/ 5829044 w 6710000"/>
              <a:gd name="connsiteY112" fmla="*/ 6858000 h 6858000"/>
              <a:gd name="connsiteX113" fmla="*/ 5805955 w 6710000"/>
              <a:gd name="connsiteY113" fmla="*/ 6858000 h 6858000"/>
              <a:gd name="connsiteX114" fmla="*/ 5646726 w 6710000"/>
              <a:gd name="connsiteY114" fmla="*/ 6749042 h 6858000"/>
              <a:gd name="connsiteX115" fmla="*/ 5096192 w 6710000"/>
              <a:gd name="connsiteY115" fmla="*/ 6294663 h 6858000"/>
              <a:gd name="connsiteX116" fmla="*/ 4734917 w 6710000"/>
              <a:gd name="connsiteY116" fmla="*/ 5892702 h 6858000"/>
              <a:gd name="connsiteX117" fmla="*/ 3958119 w 6710000"/>
              <a:gd name="connsiteY117" fmla="*/ 3891582 h 6858000"/>
              <a:gd name="connsiteX118" fmla="*/ 3958119 w 6710000"/>
              <a:gd name="connsiteY118" fmla="*/ 2569615 h 6858000"/>
              <a:gd name="connsiteX119" fmla="*/ 4290102 w 6710000"/>
              <a:gd name="connsiteY119" fmla="*/ 1683243 h 6858000"/>
              <a:gd name="connsiteX120" fmla="*/ 4491897 w 6710000"/>
              <a:gd name="connsiteY120" fmla="*/ 1214017 h 6858000"/>
              <a:gd name="connsiteX121" fmla="*/ 4768549 w 6710000"/>
              <a:gd name="connsiteY121" fmla="*/ 1628 h 6858000"/>
              <a:gd name="connsiteX122" fmla="*/ 4591166 w 6710000"/>
              <a:gd name="connsiteY122" fmla="*/ 1628 h 6858000"/>
              <a:gd name="connsiteX123" fmla="*/ 4607983 w 6710000"/>
              <a:gd name="connsiteY123" fmla="*/ 1628 h 6858000"/>
              <a:gd name="connsiteX124" fmla="*/ 4330786 w 6710000"/>
              <a:gd name="connsiteY124" fmla="*/ 1266636 h 6858000"/>
              <a:gd name="connsiteX125" fmla="*/ 4133333 w 6710000"/>
              <a:gd name="connsiteY125" fmla="*/ 1730437 h 6858000"/>
              <a:gd name="connsiteX126" fmla="*/ 3810028 w 6710000"/>
              <a:gd name="connsiteY126" fmla="*/ 2627116 h 6858000"/>
              <a:gd name="connsiteX127" fmla="*/ 3814368 w 6710000"/>
              <a:gd name="connsiteY127" fmla="*/ 3946370 h 6858000"/>
              <a:gd name="connsiteX128" fmla="*/ 4607983 w 6710000"/>
              <a:gd name="connsiteY128" fmla="*/ 5944777 h 6858000"/>
              <a:gd name="connsiteX129" fmla="*/ 4973597 w 6710000"/>
              <a:gd name="connsiteY129" fmla="*/ 6346738 h 6858000"/>
              <a:gd name="connsiteX130" fmla="*/ 5524416 w 6710000"/>
              <a:gd name="connsiteY130" fmla="*/ 6796302 h 6858000"/>
              <a:gd name="connsiteX131" fmla="*/ 5615411 w 6710000"/>
              <a:gd name="connsiteY131" fmla="*/ 6858000 h 6858000"/>
              <a:gd name="connsiteX132" fmla="*/ 5592917 w 6710000"/>
              <a:gd name="connsiteY132" fmla="*/ 6858000 h 6858000"/>
              <a:gd name="connsiteX133" fmla="*/ 5512626 w 6710000"/>
              <a:gd name="connsiteY133" fmla="*/ 6803376 h 6858000"/>
              <a:gd name="connsiteX134" fmla="*/ 4961663 w 6710000"/>
              <a:gd name="connsiteY134" fmla="*/ 6351619 h 6858000"/>
              <a:gd name="connsiteX135" fmla="*/ 4592250 w 6710000"/>
              <a:gd name="connsiteY135" fmla="*/ 5949660 h 6858000"/>
              <a:gd name="connsiteX136" fmla="*/ 3798637 w 6710000"/>
              <a:gd name="connsiteY136" fmla="*/ 3948538 h 6858000"/>
              <a:gd name="connsiteX137" fmla="*/ 3790500 w 6710000"/>
              <a:gd name="connsiteY137" fmla="*/ 2623862 h 6858000"/>
              <a:gd name="connsiteX138" fmla="*/ 4118143 w 6710000"/>
              <a:gd name="connsiteY138" fmla="*/ 1727181 h 6858000"/>
              <a:gd name="connsiteX139" fmla="*/ 4315597 w 6710000"/>
              <a:gd name="connsiteY139" fmla="*/ 1263380 h 6858000"/>
              <a:gd name="connsiteX140" fmla="*/ 4591166 w 6710000"/>
              <a:gd name="connsiteY140" fmla="*/ 1628 h 6858000"/>
              <a:gd name="connsiteX141" fmla="*/ 4411613 w 6710000"/>
              <a:gd name="connsiteY141" fmla="*/ 1628 h 6858000"/>
              <a:gd name="connsiteX142" fmla="*/ 4428428 w 6710000"/>
              <a:gd name="connsiteY142" fmla="*/ 1628 h 6858000"/>
              <a:gd name="connsiteX143" fmla="*/ 4155574 w 6710000"/>
              <a:gd name="connsiteY143" fmla="*/ 1316000 h 6858000"/>
              <a:gd name="connsiteX144" fmla="*/ 3962458 w 6710000"/>
              <a:gd name="connsiteY144" fmla="*/ 1777631 h 6858000"/>
              <a:gd name="connsiteX145" fmla="*/ 3643494 w 6710000"/>
              <a:gd name="connsiteY145" fmla="*/ 2679735 h 6858000"/>
              <a:gd name="connsiteX146" fmla="*/ 3660310 w 6710000"/>
              <a:gd name="connsiteY146" fmla="*/ 4004412 h 6858000"/>
              <a:gd name="connsiteX147" fmla="*/ 4466944 w 6710000"/>
              <a:gd name="connsiteY147" fmla="*/ 6002821 h 6858000"/>
              <a:gd name="connsiteX148" fmla="*/ 4840696 w 6710000"/>
              <a:gd name="connsiteY148" fmla="*/ 6404781 h 6858000"/>
              <a:gd name="connsiteX149" fmla="*/ 5392889 w 6710000"/>
              <a:gd name="connsiteY149" fmla="*/ 6852676 h 6858000"/>
              <a:gd name="connsiteX150" fmla="*/ 5400780 w 6710000"/>
              <a:gd name="connsiteY150" fmla="*/ 6858000 h 6858000"/>
              <a:gd name="connsiteX151" fmla="*/ 5377398 w 6710000"/>
              <a:gd name="connsiteY151" fmla="*/ 6858000 h 6858000"/>
              <a:gd name="connsiteX152" fmla="*/ 5181205 w 6710000"/>
              <a:gd name="connsiteY152" fmla="*/ 6713413 h 6858000"/>
              <a:gd name="connsiteX153" fmla="*/ 4823879 w 6710000"/>
              <a:gd name="connsiteY153" fmla="*/ 6409663 h 6858000"/>
              <a:gd name="connsiteX154" fmla="*/ 4454468 w 6710000"/>
              <a:gd name="connsiteY154" fmla="*/ 6007703 h 6858000"/>
              <a:gd name="connsiteX155" fmla="*/ 3644036 w 6710000"/>
              <a:gd name="connsiteY155" fmla="*/ 4003870 h 6858000"/>
              <a:gd name="connsiteX156" fmla="*/ 3627220 w 6710000"/>
              <a:gd name="connsiteY156" fmla="*/ 2679193 h 6858000"/>
              <a:gd name="connsiteX157" fmla="*/ 3946184 w 6710000"/>
              <a:gd name="connsiteY157" fmla="*/ 1774375 h 6858000"/>
              <a:gd name="connsiteX158" fmla="*/ 4134959 w 6710000"/>
              <a:gd name="connsiteY158" fmla="*/ 1312746 h 6858000"/>
              <a:gd name="connsiteX159" fmla="*/ 4411613 w 6710000"/>
              <a:gd name="connsiteY159" fmla="*/ 1628 h 6858000"/>
              <a:gd name="connsiteX160" fmla="*/ 3875123 w 6710000"/>
              <a:gd name="connsiteY160" fmla="*/ 1628 h 6858000"/>
              <a:gd name="connsiteX161" fmla="*/ 3891940 w 6710000"/>
              <a:gd name="connsiteY161" fmla="*/ 1628 h 6858000"/>
              <a:gd name="connsiteX162" fmla="*/ 3622881 w 6710000"/>
              <a:gd name="connsiteY162" fmla="*/ 1460836 h 6858000"/>
              <a:gd name="connsiteX163" fmla="*/ 3446582 w 6710000"/>
              <a:gd name="connsiteY163" fmla="*/ 1914329 h 6858000"/>
              <a:gd name="connsiteX164" fmla="*/ 3140095 w 6710000"/>
              <a:gd name="connsiteY164" fmla="*/ 2842471 h 6858000"/>
              <a:gd name="connsiteX165" fmla="*/ 3186204 w 6710000"/>
              <a:gd name="connsiteY165" fmla="*/ 4172031 h 6858000"/>
              <a:gd name="connsiteX166" fmla="*/ 4047082 w 6710000"/>
              <a:gd name="connsiteY166" fmla="*/ 6173153 h 6858000"/>
              <a:gd name="connsiteX167" fmla="*/ 4429513 w 6710000"/>
              <a:gd name="connsiteY167" fmla="*/ 6572400 h 6858000"/>
              <a:gd name="connsiteX168" fmla="*/ 4602120 w 6710000"/>
              <a:gd name="connsiteY168" fmla="*/ 6723496 h 6858000"/>
              <a:gd name="connsiteX169" fmla="*/ 4771866 w 6710000"/>
              <a:gd name="connsiteY169" fmla="*/ 6858000 h 6858000"/>
              <a:gd name="connsiteX170" fmla="*/ 4748471 w 6710000"/>
              <a:gd name="connsiteY170" fmla="*/ 6858000 h 6858000"/>
              <a:gd name="connsiteX171" fmla="*/ 4586735 w 6710000"/>
              <a:gd name="connsiteY171" fmla="*/ 6730859 h 6858000"/>
              <a:gd name="connsiteX172" fmla="*/ 4412697 w 6710000"/>
              <a:gd name="connsiteY172" fmla="*/ 6580537 h 6858000"/>
              <a:gd name="connsiteX173" fmla="*/ 4030265 w 6710000"/>
              <a:gd name="connsiteY173" fmla="*/ 6178577 h 6858000"/>
              <a:gd name="connsiteX174" fmla="*/ 3169387 w 6710000"/>
              <a:gd name="connsiteY174" fmla="*/ 4174744 h 6858000"/>
              <a:gd name="connsiteX175" fmla="*/ 3123279 w 6710000"/>
              <a:gd name="connsiteY175" fmla="*/ 2839759 h 6858000"/>
              <a:gd name="connsiteX176" fmla="*/ 3429766 w 6710000"/>
              <a:gd name="connsiteY176" fmla="*/ 1911616 h 6858000"/>
              <a:gd name="connsiteX177" fmla="*/ 3606065 w 6710000"/>
              <a:gd name="connsiteY177" fmla="*/ 1458123 h 6858000"/>
              <a:gd name="connsiteX178" fmla="*/ 3875123 w 6710000"/>
              <a:gd name="connsiteY178" fmla="*/ 1628 h 6858000"/>
              <a:gd name="connsiteX179" fmla="*/ 2967596 w 6710000"/>
              <a:gd name="connsiteY179" fmla="*/ 1628 h 6858000"/>
              <a:gd name="connsiteX180" fmla="*/ 2984412 w 6710000"/>
              <a:gd name="connsiteY180" fmla="*/ 1628 h 6858000"/>
              <a:gd name="connsiteX181" fmla="*/ 2736509 w 6710000"/>
              <a:gd name="connsiteY181" fmla="*/ 1704398 h 6858000"/>
              <a:gd name="connsiteX182" fmla="*/ 2585163 w 6710000"/>
              <a:gd name="connsiteY182" fmla="*/ 2139990 h 6858000"/>
              <a:gd name="connsiteX183" fmla="*/ 2303629 w 6710000"/>
              <a:gd name="connsiteY183" fmla="*/ 3112071 h 6858000"/>
              <a:gd name="connsiteX184" fmla="*/ 2395845 w 6710000"/>
              <a:gd name="connsiteY184" fmla="*/ 4454651 h 6858000"/>
              <a:gd name="connsiteX185" fmla="*/ 3340804 w 6710000"/>
              <a:gd name="connsiteY185" fmla="*/ 6460655 h 6858000"/>
              <a:gd name="connsiteX186" fmla="*/ 3740052 w 6710000"/>
              <a:gd name="connsiteY186" fmla="*/ 6857190 h 6858000"/>
              <a:gd name="connsiteX187" fmla="*/ 3741038 w 6710000"/>
              <a:gd name="connsiteY187" fmla="*/ 6858000 h 6858000"/>
              <a:gd name="connsiteX188" fmla="*/ 3722011 w 6710000"/>
              <a:gd name="connsiteY188" fmla="*/ 6858000 h 6858000"/>
              <a:gd name="connsiteX189" fmla="*/ 3516695 w 6710000"/>
              <a:gd name="connsiteY189" fmla="*/ 6667737 h 6858000"/>
              <a:gd name="connsiteX190" fmla="*/ 3324530 w 6710000"/>
              <a:gd name="connsiteY190" fmla="*/ 6466620 h 6858000"/>
              <a:gd name="connsiteX191" fmla="*/ 2375233 w 6710000"/>
              <a:gd name="connsiteY191" fmla="*/ 4455193 h 6858000"/>
              <a:gd name="connsiteX192" fmla="*/ 2286813 w 6710000"/>
              <a:gd name="connsiteY192" fmla="*/ 3109903 h 6858000"/>
              <a:gd name="connsiteX193" fmla="*/ 2568346 w 6710000"/>
              <a:gd name="connsiteY193" fmla="*/ 2137821 h 6858000"/>
              <a:gd name="connsiteX194" fmla="*/ 2715351 w 6710000"/>
              <a:gd name="connsiteY194" fmla="*/ 1702229 h 6858000"/>
              <a:gd name="connsiteX195" fmla="*/ 2967596 w 6710000"/>
              <a:gd name="connsiteY195" fmla="*/ 1628 h 6858000"/>
              <a:gd name="connsiteX196" fmla="*/ 2781533 w 6710000"/>
              <a:gd name="connsiteY196" fmla="*/ 1628 h 6858000"/>
              <a:gd name="connsiteX197" fmla="*/ 2802687 w 6710000"/>
              <a:gd name="connsiteY197" fmla="*/ 1628 h 6858000"/>
              <a:gd name="connsiteX198" fmla="*/ 2554787 w 6710000"/>
              <a:gd name="connsiteY198" fmla="*/ 1751050 h 6858000"/>
              <a:gd name="connsiteX199" fmla="*/ 2412119 w 6710000"/>
              <a:gd name="connsiteY199" fmla="*/ 2183930 h 6858000"/>
              <a:gd name="connsiteX200" fmla="*/ 2139264 w 6710000"/>
              <a:gd name="connsiteY200" fmla="*/ 3163606 h 6858000"/>
              <a:gd name="connsiteX201" fmla="*/ 2235821 w 6710000"/>
              <a:gd name="connsiteY201" fmla="*/ 4508896 h 6858000"/>
              <a:gd name="connsiteX202" fmla="*/ 3197595 w 6710000"/>
              <a:gd name="connsiteY202" fmla="*/ 6517612 h 6858000"/>
              <a:gd name="connsiteX203" fmla="*/ 3390100 w 6710000"/>
              <a:gd name="connsiteY203" fmla="*/ 6718728 h 6858000"/>
              <a:gd name="connsiteX204" fmla="*/ 3543243 w 6710000"/>
              <a:gd name="connsiteY204" fmla="*/ 6858000 h 6858000"/>
              <a:gd name="connsiteX205" fmla="*/ 3521208 w 6710000"/>
              <a:gd name="connsiteY205" fmla="*/ 6858000 h 6858000"/>
              <a:gd name="connsiteX206" fmla="*/ 3375656 w 6710000"/>
              <a:gd name="connsiteY206" fmla="*/ 6724152 h 6858000"/>
              <a:gd name="connsiteX207" fmla="*/ 3185119 w 6710000"/>
              <a:gd name="connsiteY207" fmla="*/ 6523037 h 6858000"/>
              <a:gd name="connsiteX208" fmla="*/ 2219005 w 6710000"/>
              <a:gd name="connsiteY208" fmla="*/ 4511610 h 6858000"/>
              <a:gd name="connsiteX209" fmla="*/ 2118109 w 6710000"/>
              <a:gd name="connsiteY209" fmla="*/ 3163606 h 6858000"/>
              <a:gd name="connsiteX210" fmla="*/ 2395304 w 6710000"/>
              <a:gd name="connsiteY210" fmla="*/ 2181217 h 6858000"/>
              <a:gd name="connsiteX211" fmla="*/ 2537968 w 6710000"/>
              <a:gd name="connsiteY211" fmla="*/ 1751050 h 6858000"/>
              <a:gd name="connsiteX212" fmla="*/ 2781533 w 6710000"/>
              <a:gd name="connsiteY212" fmla="*/ 1628 h 6858000"/>
              <a:gd name="connsiteX213" fmla="*/ 2601437 w 6710000"/>
              <a:gd name="connsiteY213" fmla="*/ 1628 h 6858000"/>
              <a:gd name="connsiteX214" fmla="*/ 2618253 w 6710000"/>
              <a:gd name="connsiteY214" fmla="*/ 1628 h 6858000"/>
              <a:gd name="connsiteX215" fmla="*/ 2379030 w 6710000"/>
              <a:gd name="connsiteY215" fmla="*/ 1800413 h 6858000"/>
              <a:gd name="connsiteX216" fmla="*/ 2240161 w 6710000"/>
              <a:gd name="connsiteY216" fmla="*/ 2227868 h 6858000"/>
              <a:gd name="connsiteX217" fmla="*/ 1971101 w 6710000"/>
              <a:gd name="connsiteY217" fmla="*/ 3217851 h 6858000"/>
              <a:gd name="connsiteX218" fmla="*/ 2076338 w 6710000"/>
              <a:gd name="connsiteY218" fmla="*/ 4565854 h 6858000"/>
              <a:gd name="connsiteX219" fmla="*/ 3059271 w 6710000"/>
              <a:gd name="connsiteY219" fmla="*/ 6574569 h 6858000"/>
              <a:gd name="connsiteX220" fmla="*/ 3251774 w 6710000"/>
              <a:gd name="connsiteY220" fmla="*/ 6775685 h 6858000"/>
              <a:gd name="connsiteX221" fmla="*/ 3342286 w 6710000"/>
              <a:gd name="connsiteY221" fmla="*/ 6858000 h 6858000"/>
              <a:gd name="connsiteX222" fmla="*/ 3323253 w 6710000"/>
              <a:gd name="connsiteY222" fmla="*/ 6858000 h 6858000"/>
              <a:gd name="connsiteX223" fmla="*/ 3237330 w 6710000"/>
              <a:gd name="connsiteY223" fmla="*/ 6780568 h 6858000"/>
              <a:gd name="connsiteX224" fmla="*/ 3042453 w 6710000"/>
              <a:gd name="connsiteY224" fmla="*/ 6579451 h 6858000"/>
              <a:gd name="connsiteX225" fmla="*/ 2059523 w 6710000"/>
              <a:gd name="connsiteY225" fmla="*/ 4568025 h 6858000"/>
              <a:gd name="connsiteX226" fmla="*/ 1954286 w 6710000"/>
              <a:gd name="connsiteY226" fmla="*/ 3217851 h 6858000"/>
              <a:gd name="connsiteX227" fmla="*/ 2223343 w 6710000"/>
              <a:gd name="connsiteY227" fmla="*/ 2227868 h 6858000"/>
              <a:gd name="connsiteX228" fmla="*/ 2362214 w 6710000"/>
              <a:gd name="connsiteY228" fmla="*/ 1797702 h 6858000"/>
              <a:gd name="connsiteX229" fmla="*/ 2601437 w 6710000"/>
              <a:gd name="connsiteY229" fmla="*/ 1628 h 6858000"/>
              <a:gd name="connsiteX230" fmla="*/ 2417001 w 6710000"/>
              <a:gd name="connsiteY230" fmla="*/ 1628 h 6858000"/>
              <a:gd name="connsiteX231" fmla="*/ 2438158 w 6710000"/>
              <a:gd name="connsiteY231" fmla="*/ 1628 h 6858000"/>
              <a:gd name="connsiteX232" fmla="*/ 2202731 w 6710000"/>
              <a:gd name="connsiteY232" fmla="*/ 1849777 h 6858000"/>
              <a:gd name="connsiteX233" fmla="*/ 2068202 w 6710000"/>
              <a:gd name="connsiteY233" fmla="*/ 2275062 h 6858000"/>
              <a:gd name="connsiteX234" fmla="*/ 1803485 w 6710000"/>
              <a:gd name="connsiteY234" fmla="*/ 3273182 h 6858000"/>
              <a:gd name="connsiteX235" fmla="*/ 1921196 w 6710000"/>
              <a:gd name="connsiteY235" fmla="*/ 4623354 h 6858000"/>
              <a:gd name="connsiteX236" fmla="*/ 2916605 w 6710000"/>
              <a:gd name="connsiteY236" fmla="*/ 6632070 h 6858000"/>
              <a:gd name="connsiteX237" fmla="*/ 3111482 w 6710000"/>
              <a:gd name="connsiteY237" fmla="*/ 6833185 h 6858000"/>
              <a:gd name="connsiteX238" fmla="*/ 3139018 w 6710000"/>
              <a:gd name="connsiteY238" fmla="*/ 6858000 h 6858000"/>
              <a:gd name="connsiteX239" fmla="*/ 3120520 w 6710000"/>
              <a:gd name="connsiteY239" fmla="*/ 6858000 h 6858000"/>
              <a:gd name="connsiteX240" fmla="*/ 3099004 w 6710000"/>
              <a:gd name="connsiteY240" fmla="*/ 6838611 h 6858000"/>
              <a:gd name="connsiteX241" fmla="*/ 2904126 w 6710000"/>
              <a:gd name="connsiteY241" fmla="*/ 6637495 h 6858000"/>
              <a:gd name="connsiteX242" fmla="*/ 1900040 w 6710000"/>
              <a:gd name="connsiteY242" fmla="*/ 4626066 h 6858000"/>
              <a:gd name="connsiteX243" fmla="*/ 1786667 w 6710000"/>
              <a:gd name="connsiteY243" fmla="*/ 3270470 h 6858000"/>
              <a:gd name="connsiteX244" fmla="*/ 2047046 w 6710000"/>
              <a:gd name="connsiteY244" fmla="*/ 2272351 h 6858000"/>
              <a:gd name="connsiteX245" fmla="*/ 2185916 w 6710000"/>
              <a:gd name="connsiteY245" fmla="*/ 1847065 h 6858000"/>
              <a:gd name="connsiteX246" fmla="*/ 2417001 w 6710000"/>
              <a:gd name="connsiteY246" fmla="*/ 1628 h 6858000"/>
              <a:gd name="connsiteX247" fmla="*/ 2235821 w 6710000"/>
              <a:gd name="connsiteY247" fmla="*/ 1628 h 6858000"/>
              <a:gd name="connsiteX248" fmla="*/ 2252636 w 6710000"/>
              <a:gd name="connsiteY248" fmla="*/ 1628 h 6858000"/>
              <a:gd name="connsiteX249" fmla="*/ 2025891 w 6710000"/>
              <a:gd name="connsiteY249" fmla="*/ 1899140 h 6858000"/>
              <a:gd name="connsiteX250" fmla="*/ 1891360 w 6710000"/>
              <a:gd name="connsiteY250" fmla="*/ 2316289 h 6858000"/>
              <a:gd name="connsiteX251" fmla="*/ 1635322 w 6710000"/>
              <a:gd name="connsiteY251" fmla="*/ 3327426 h 6858000"/>
              <a:gd name="connsiteX252" fmla="*/ 1761172 w 6710000"/>
              <a:gd name="connsiteY252" fmla="*/ 4680313 h 6858000"/>
              <a:gd name="connsiteX253" fmla="*/ 2777736 w 6710000"/>
              <a:gd name="connsiteY253" fmla="*/ 6689028 h 6858000"/>
              <a:gd name="connsiteX254" fmla="*/ 2943569 w 6710000"/>
              <a:gd name="connsiteY254" fmla="*/ 6858000 h 6858000"/>
              <a:gd name="connsiteX255" fmla="*/ 2921504 w 6710000"/>
              <a:gd name="connsiteY255" fmla="*/ 6858000 h 6858000"/>
              <a:gd name="connsiteX256" fmla="*/ 2760920 w 6710000"/>
              <a:gd name="connsiteY256" fmla="*/ 6694452 h 6858000"/>
              <a:gd name="connsiteX257" fmla="*/ 1744356 w 6710000"/>
              <a:gd name="connsiteY257" fmla="*/ 4680313 h 6858000"/>
              <a:gd name="connsiteX258" fmla="*/ 1618506 w 6710000"/>
              <a:gd name="connsiteY258" fmla="*/ 3324715 h 6858000"/>
              <a:gd name="connsiteX259" fmla="*/ 1874544 w 6710000"/>
              <a:gd name="connsiteY259" fmla="*/ 2316289 h 6858000"/>
              <a:gd name="connsiteX260" fmla="*/ 2004736 w 6710000"/>
              <a:gd name="connsiteY260" fmla="*/ 1896428 h 6858000"/>
              <a:gd name="connsiteX261" fmla="*/ 2235821 w 6710000"/>
              <a:gd name="connsiteY261" fmla="*/ 1628 h 6858000"/>
              <a:gd name="connsiteX262" fmla="*/ 396352 w 6710000"/>
              <a:gd name="connsiteY262" fmla="*/ 1628 h 6858000"/>
              <a:gd name="connsiteX263" fmla="*/ 413168 w 6710000"/>
              <a:gd name="connsiteY263" fmla="*/ 1628 h 6858000"/>
              <a:gd name="connsiteX264" fmla="*/ 413168 w 6710000"/>
              <a:gd name="connsiteY264" fmla="*/ 24955 h 6858000"/>
              <a:gd name="connsiteX265" fmla="*/ 249348 w 6710000"/>
              <a:gd name="connsiteY265" fmla="*/ 2383554 h 6858000"/>
              <a:gd name="connsiteX266" fmla="*/ 165265 w 6710000"/>
              <a:gd name="connsiteY266" fmla="*/ 2743744 h 6858000"/>
              <a:gd name="connsiteX267" fmla="*/ 35890 w 6710000"/>
              <a:gd name="connsiteY267" fmla="*/ 3299695 h 6858000"/>
              <a:gd name="connsiteX268" fmla="*/ 0 w 6710000"/>
              <a:gd name="connsiteY268" fmla="*/ 3515440 h 6858000"/>
              <a:gd name="connsiteX269" fmla="*/ 0 w 6710000"/>
              <a:gd name="connsiteY269" fmla="*/ 3413219 h 6858000"/>
              <a:gd name="connsiteX270" fmla="*/ 19277 w 6710000"/>
              <a:gd name="connsiteY270" fmla="*/ 3297321 h 6858000"/>
              <a:gd name="connsiteX271" fmla="*/ 148449 w 6710000"/>
              <a:gd name="connsiteY271" fmla="*/ 2741032 h 6858000"/>
              <a:gd name="connsiteX272" fmla="*/ 232530 w 6710000"/>
              <a:gd name="connsiteY272" fmla="*/ 2383554 h 6858000"/>
              <a:gd name="connsiteX273" fmla="*/ 396352 w 6710000"/>
              <a:gd name="connsiteY273" fmla="*/ 24955 h 6858000"/>
              <a:gd name="connsiteX274" fmla="*/ 396352 w 6710000"/>
              <a:gd name="connsiteY274" fmla="*/ 1628 h 6858000"/>
              <a:gd name="connsiteX275" fmla="*/ 5479167 w 6710000"/>
              <a:gd name="connsiteY275" fmla="*/ 1086 h 6858000"/>
              <a:gd name="connsiteX276" fmla="*/ 5495983 w 6710000"/>
              <a:gd name="connsiteY276" fmla="*/ 1086 h 6858000"/>
              <a:gd name="connsiteX277" fmla="*/ 5218787 w 6710000"/>
              <a:gd name="connsiteY277" fmla="*/ 1022531 h 6858000"/>
              <a:gd name="connsiteX278" fmla="*/ 5000176 w 6710000"/>
              <a:gd name="connsiteY278" fmla="*/ 1499350 h 6858000"/>
              <a:gd name="connsiteX279" fmla="*/ 4647581 w 6710000"/>
              <a:gd name="connsiteY279" fmla="*/ 2358057 h 6858000"/>
              <a:gd name="connsiteX280" fmla="*/ 4609609 w 6710000"/>
              <a:gd name="connsiteY280" fmla="*/ 3664292 h 6858000"/>
              <a:gd name="connsiteX281" fmla="*/ 5315344 w 6710000"/>
              <a:gd name="connsiteY281" fmla="*/ 5659989 h 6858000"/>
              <a:gd name="connsiteX282" fmla="*/ 6698707 w 6710000"/>
              <a:gd name="connsiteY282" fmla="*/ 6851723 h 6858000"/>
              <a:gd name="connsiteX283" fmla="*/ 6710000 w 6710000"/>
              <a:gd name="connsiteY283" fmla="*/ 6858000 h 6858000"/>
              <a:gd name="connsiteX284" fmla="*/ 6682458 w 6710000"/>
              <a:gd name="connsiteY284" fmla="*/ 6858000 h 6858000"/>
              <a:gd name="connsiteX285" fmla="*/ 6369337 w 6710000"/>
              <a:gd name="connsiteY285" fmla="*/ 6660278 h 6858000"/>
              <a:gd name="connsiteX286" fmla="*/ 5298529 w 6710000"/>
              <a:gd name="connsiteY286" fmla="*/ 5664871 h 6858000"/>
              <a:gd name="connsiteX287" fmla="*/ 4588453 w 6710000"/>
              <a:gd name="connsiteY287" fmla="*/ 3666464 h 6858000"/>
              <a:gd name="connsiteX288" fmla="*/ 4626425 w 6710000"/>
              <a:gd name="connsiteY288" fmla="*/ 2354803 h 6858000"/>
              <a:gd name="connsiteX289" fmla="*/ 4983360 w 6710000"/>
              <a:gd name="connsiteY289" fmla="*/ 1496638 h 6858000"/>
              <a:gd name="connsiteX290" fmla="*/ 5201971 w 6710000"/>
              <a:gd name="connsiteY290" fmla="*/ 1019818 h 6858000"/>
              <a:gd name="connsiteX291" fmla="*/ 5479167 w 6710000"/>
              <a:gd name="connsiteY291" fmla="*/ 1086 h 6858000"/>
              <a:gd name="connsiteX292" fmla="*/ 4236941 w 6710000"/>
              <a:gd name="connsiteY292" fmla="*/ 1086 h 6858000"/>
              <a:gd name="connsiteX293" fmla="*/ 4253757 w 6710000"/>
              <a:gd name="connsiteY293" fmla="*/ 1086 h 6858000"/>
              <a:gd name="connsiteX294" fmla="*/ 3976562 w 6710000"/>
              <a:gd name="connsiteY294" fmla="*/ 1362108 h 6858000"/>
              <a:gd name="connsiteX295" fmla="*/ 3791584 w 6710000"/>
              <a:gd name="connsiteY295" fmla="*/ 1823738 h 6858000"/>
              <a:gd name="connsiteX296" fmla="*/ 3476418 w 6710000"/>
              <a:gd name="connsiteY296" fmla="*/ 2733437 h 6858000"/>
              <a:gd name="connsiteX297" fmla="*/ 3501371 w 6710000"/>
              <a:gd name="connsiteY297" fmla="*/ 4060285 h 6858000"/>
              <a:gd name="connsiteX298" fmla="*/ 4328618 w 6710000"/>
              <a:gd name="connsiteY298" fmla="*/ 6058694 h 6858000"/>
              <a:gd name="connsiteX299" fmla="*/ 4702370 w 6710000"/>
              <a:gd name="connsiteY299" fmla="*/ 6457941 h 6858000"/>
              <a:gd name="connsiteX300" fmla="*/ 5059754 w 6710000"/>
              <a:gd name="connsiteY300" fmla="*/ 6760124 h 6858000"/>
              <a:gd name="connsiteX301" fmla="*/ 5193099 w 6710000"/>
              <a:gd name="connsiteY301" fmla="*/ 6858000 h 6858000"/>
              <a:gd name="connsiteX302" fmla="*/ 5167772 w 6710000"/>
              <a:gd name="connsiteY302" fmla="*/ 6858000 h 6858000"/>
              <a:gd name="connsiteX303" fmla="*/ 5043684 w 6710000"/>
              <a:gd name="connsiteY303" fmla="*/ 6767235 h 6858000"/>
              <a:gd name="connsiteX304" fmla="*/ 4685552 w 6710000"/>
              <a:gd name="connsiteY304" fmla="*/ 6466078 h 6858000"/>
              <a:gd name="connsiteX305" fmla="*/ 4311801 w 6710000"/>
              <a:gd name="connsiteY305" fmla="*/ 6064118 h 6858000"/>
              <a:gd name="connsiteX306" fmla="*/ 3484555 w 6710000"/>
              <a:gd name="connsiteY306" fmla="*/ 4060285 h 6858000"/>
              <a:gd name="connsiteX307" fmla="*/ 3459602 w 6710000"/>
              <a:gd name="connsiteY307" fmla="*/ 2733437 h 6858000"/>
              <a:gd name="connsiteX308" fmla="*/ 3774769 w 6710000"/>
              <a:gd name="connsiteY308" fmla="*/ 1821026 h 6858000"/>
              <a:gd name="connsiteX309" fmla="*/ 3959747 w 6710000"/>
              <a:gd name="connsiteY309" fmla="*/ 1359397 h 6858000"/>
              <a:gd name="connsiteX310" fmla="*/ 4236941 w 6710000"/>
              <a:gd name="connsiteY310" fmla="*/ 1086 h 6858000"/>
              <a:gd name="connsiteX311" fmla="*/ 4055219 w 6710000"/>
              <a:gd name="connsiteY311" fmla="*/ 1086 h 6858000"/>
              <a:gd name="connsiteX312" fmla="*/ 4072035 w 6710000"/>
              <a:gd name="connsiteY312" fmla="*/ 1086 h 6858000"/>
              <a:gd name="connsiteX313" fmla="*/ 3799179 w 6710000"/>
              <a:gd name="connsiteY313" fmla="*/ 1410929 h 6858000"/>
              <a:gd name="connsiteX314" fmla="*/ 3618541 w 6710000"/>
              <a:gd name="connsiteY314" fmla="*/ 1869848 h 6858000"/>
              <a:gd name="connsiteX315" fmla="*/ 3307714 w 6710000"/>
              <a:gd name="connsiteY315" fmla="*/ 2787684 h 6858000"/>
              <a:gd name="connsiteX316" fmla="*/ 3341346 w 6710000"/>
              <a:gd name="connsiteY316" fmla="*/ 4114531 h 6858000"/>
              <a:gd name="connsiteX317" fmla="*/ 4185408 w 6710000"/>
              <a:gd name="connsiteY317" fmla="*/ 6115652 h 6858000"/>
              <a:gd name="connsiteX318" fmla="*/ 4563500 w 6710000"/>
              <a:gd name="connsiteY318" fmla="*/ 6514900 h 6858000"/>
              <a:gd name="connsiteX319" fmla="*/ 4924140 w 6710000"/>
              <a:gd name="connsiteY319" fmla="*/ 6815633 h 6858000"/>
              <a:gd name="connsiteX320" fmla="*/ 4982461 w 6710000"/>
              <a:gd name="connsiteY320" fmla="*/ 6858000 h 6858000"/>
              <a:gd name="connsiteX321" fmla="*/ 4957779 w 6710000"/>
              <a:gd name="connsiteY321" fmla="*/ 6858000 h 6858000"/>
              <a:gd name="connsiteX322" fmla="*/ 4909833 w 6710000"/>
              <a:gd name="connsiteY322" fmla="*/ 6823167 h 6858000"/>
              <a:gd name="connsiteX323" fmla="*/ 4551024 w 6710000"/>
              <a:gd name="connsiteY323" fmla="*/ 6523579 h 6858000"/>
              <a:gd name="connsiteX324" fmla="*/ 4172932 w 6710000"/>
              <a:gd name="connsiteY324" fmla="*/ 6121620 h 6858000"/>
              <a:gd name="connsiteX325" fmla="*/ 3324530 w 6710000"/>
              <a:gd name="connsiteY325" fmla="*/ 4117786 h 6858000"/>
              <a:gd name="connsiteX326" fmla="*/ 3290899 w 6710000"/>
              <a:gd name="connsiteY326" fmla="*/ 2785514 h 6858000"/>
              <a:gd name="connsiteX327" fmla="*/ 3601726 w 6710000"/>
              <a:gd name="connsiteY327" fmla="*/ 1867678 h 6858000"/>
              <a:gd name="connsiteX328" fmla="*/ 3782363 w 6710000"/>
              <a:gd name="connsiteY328" fmla="*/ 1408760 h 6858000"/>
              <a:gd name="connsiteX329" fmla="*/ 4055219 w 6710000"/>
              <a:gd name="connsiteY329" fmla="*/ 1086 h 6858000"/>
              <a:gd name="connsiteX330" fmla="*/ 3693943 w 6710000"/>
              <a:gd name="connsiteY330" fmla="*/ 1086 h 6858000"/>
              <a:gd name="connsiteX331" fmla="*/ 3710759 w 6710000"/>
              <a:gd name="connsiteY331" fmla="*/ 1086 h 6858000"/>
              <a:gd name="connsiteX332" fmla="*/ 3446040 w 6710000"/>
              <a:gd name="connsiteY332" fmla="*/ 1509656 h 6858000"/>
              <a:gd name="connsiteX333" fmla="*/ 3274081 w 6710000"/>
              <a:gd name="connsiteY333" fmla="*/ 1960436 h 6858000"/>
              <a:gd name="connsiteX334" fmla="*/ 2975731 w 6710000"/>
              <a:gd name="connsiteY334" fmla="*/ 2893463 h 6858000"/>
              <a:gd name="connsiteX335" fmla="*/ 3026179 w 6710000"/>
              <a:gd name="connsiteY335" fmla="*/ 4228446 h 6858000"/>
              <a:gd name="connsiteX336" fmla="*/ 3903873 w 6710000"/>
              <a:gd name="connsiteY336" fmla="*/ 6232279 h 6858000"/>
              <a:gd name="connsiteX337" fmla="*/ 4290102 w 6710000"/>
              <a:gd name="connsiteY337" fmla="*/ 6628815 h 6858000"/>
              <a:gd name="connsiteX338" fmla="*/ 4464172 w 6710000"/>
              <a:gd name="connsiteY338" fmla="*/ 6778910 h 6858000"/>
              <a:gd name="connsiteX339" fmla="*/ 4565238 w 6710000"/>
              <a:gd name="connsiteY339" fmla="*/ 6858000 h 6858000"/>
              <a:gd name="connsiteX340" fmla="*/ 4541100 w 6710000"/>
              <a:gd name="connsiteY340" fmla="*/ 6858000 h 6858000"/>
              <a:gd name="connsiteX341" fmla="*/ 4448231 w 6710000"/>
              <a:gd name="connsiteY341" fmla="*/ 6785881 h 6858000"/>
              <a:gd name="connsiteX342" fmla="*/ 4272745 w 6710000"/>
              <a:gd name="connsiteY342" fmla="*/ 6636410 h 6858000"/>
              <a:gd name="connsiteX343" fmla="*/ 3886514 w 6710000"/>
              <a:gd name="connsiteY343" fmla="*/ 6234449 h 6858000"/>
              <a:gd name="connsiteX344" fmla="*/ 3008821 w 6710000"/>
              <a:gd name="connsiteY344" fmla="*/ 4228446 h 6858000"/>
              <a:gd name="connsiteX345" fmla="*/ 2954034 w 6710000"/>
              <a:gd name="connsiteY345" fmla="*/ 2893463 h 6858000"/>
              <a:gd name="connsiteX346" fmla="*/ 3256723 w 6710000"/>
              <a:gd name="connsiteY346" fmla="*/ 1957725 h 6858000"/>
              <a:gd name="connsiteX347" fmla="*/ 3424884 w 6710000"/>
              <a:gd name="connsiteY347" fmla="*/ 1506945 h 6858000"/>
              <a:gd name="connsiteX348" fmla="*/ 3693943 w 6710000"/>
              <a:gd name="connsiteY348" fmla="*/ 1086 h 6858000"/>
              <a:gd name="connsiteX349" fmla="*/ 3147690 w 6710000"/>
              <a:gd name="connsiteY349" fmla="*/ 1086 h 6858000"/>
              <a:gd name="connsiteX350" fmla="*/ 3164506 w 6710000"/>
              <a:gd name="connsiteY350" fmla="*/ 1086 h 6858000"/>
              <a:gd name="connsiteX351" fmla="*/ 2912265 w 6710000"/>
              <a:gd name="connsiteY351" fmla="*/ 1655035 h 6858000"/>
              <a:gd name="connsiteX352" fmla="*/ 2757122 w 6710000"/>
              <a:gd name="connsiteY352" fmla="*/ 2095508 h 6858000"/>
              <a:gd name="connsiteX353" fmla="*/ 2471247 w 6710000"/>
              <a:gd name="connsiteY353" fmla="*/ 3057284 h 6858000"/>
              <a:gd name="connsiteX354" fmla="*/ 2550987 w 6710000"/>
              <a:gd name="connsiteY354" fmla="*/ 4397151 h 6858000"/>
              <a:gd name="connsiteX355" fmla="*/ 3483470 w 6710000"/>
              <a:gd name="connsiteY355" fmla="*/ 6403154 h 6858000"/>
              <a:gd name="connsiteX356" fmla="*/ 3878377 w 6710000"/>
              <a:gd name="connsiteY356" fmla="*/ 6799690 h 6858000"/>
              <a:gd name="connsiteX357" fmla="*/ 3948295 w 6710000"/>
              <a:gd name="connsiteY357" fmla="*/ 6858000 h 6858000"/>
              <a:gd name="connsiteX358" fmla="*/ 3925054 w 6710000"/>
              <a:gd name="connsiteY358" fmla="*/ 6858000 h 6858000"/>
              <a:gd name="connsiteX359" fmla="*/ 3861563 w 6710000"/>
              <a:gd name="connsiteY359" fmla="*/ 6805113 h 6858000"/>
              <a:gd name="connsiteX360" fmla="*/ 3466654 w 6710000"/>
              <a:gd name="connsiteY360" fmla="*/ 6408577 h 6858000"/>
              <a:gd name="connsiteX361" fmla="*/ 2534172 w 6710000"/>
              <a:gd name="connsiteY361" fmla="*/ 4399863 h 6858000"/>
              <a:gd name="connsiteX362" fmla="*/ 2454430 w 6710000"/>
              <a:gd name="connsiteY362" fmla="*/ 3054571 h 6858000"/>
              <a:gd name="connsiteX363" fmla="*/ 2740306 w 6710000"/>
              <a:gd name="connsiteY363" fmla="*/ 2092797 h 6858000"/>
              <a:gd name="connsiteX364" fmla="*/ 2895448 w 6710000"/>
              <a:gd name="connsiteY364" fmla="*/ 1652323 h 6858000"/>
              <a:gd name="connsiteX365" fmla="*/ 3147690 w 6710000"/>
              <a:gd name="connsiteY365" fmla="*/ 1086 h 6858000"/>
              <a:gd name="connsiteX366" fmla="*/ 2051388 w 6710000"/>
              <a:gd name="connsiteY366" fmla="*/ 1086 h 6858000"/>
              <a:gd name="connsiteX367" fmla="*/ 2068202 w 6710000"/>
              <a:gd name="connsiteY367" fmla="*/ 1086 h 6858000"/>
              <a:gd name="connsiteX368" fmla="*/ 1845795 w 6710000"/>
              <a:gd name="connsiteY368" fmla="*/ 1947418 h 6858000"/>
              <a:gd name="connsiteX369" fmla="*/ 1719945 w 6710000"/>
              <a:gd name="connsiteY369" fmla="*/ 2359686 h 6858000"/>
              <a:gd name="connsiteX370" fmla="*/ 1467702 w 6710000"/>
              <a:gd name="connsiteY370" fmla="*/ 3378418 h 6858000"/>
              <a:gd name="connsiteX371" fmla="*/ 1602233 w 6710000"/>
              <a:gd name="connsiteY371" fmla="*/ 4734016 h 6858000"/>
              <a:gd name="connsiteX372" fmla="*/ 2635610 w 6710000"/>
              <a:gd name="connsiteY372" fmla="*/ 6745443 h 6858000"/>
              <a:gd name="connsiteX373" fmla="*/ 2747940 w 6710000"/>
              <a:gd name="connsiteY373" fmla="*/ 6858000 h 6858000"/>
              <a:gd name="connsiteX374" fmla="*/ 2724848 w 6710000"/>
              <a:gd name="connsiteY374" fmla="*/ 6858000 h 6858000"/>
              <a:gd name="connsiteX375" fmla="*/ 2618794 w 6710000"/>
              <a:gd name="connsiteY375" fmla="*/ 6751411 h 6858000"/>
              <a:gd name="connsiteX376" fmla="*/ 1585418 w 6710000"/>
              <a:gd name="connsiteY376" fmla="*/ 4737271 h 6858000"/>
              <a:gd name="connsiteX377" fmla="*/ 1450887 w 6710000"/>
              <a:gd name="connsiteY377" fmla="*/ 3378960 h 6858000"/>
              <a:gd name="connsiteX378" fmla="*/ 1703129 w 6710000"/>
              <a:gd name="connsiteY378" fmla="*/ 2357515 h 6858000"/>
              <a:gd name="connsiteX379" fmla="*/ 1828979 w 6710000"/>
              <a:gd name="connsiteY379" fmla="*/ 1945249 h 6858000"/>
              <a:gd name="connsiteX380" fmla="*/ 2051388 w 6710000"/>
              <a:gd name="connsiteY380" fmla="*/ 1086 h 6858000"/>
              <a:gd name="connsiteX381" fmla="*/ 1867492 w 6710000"/>
              <a:gd name="connsiteY381" fmla="*/ 1086 h 6858000"/>
              <a:gd name="connsiteX382" fmla="*/ 1888650 w 6710000"/>
              <a:gd name="connsiteY382" fmla="*/ 1086 h 6858000"/>
              <a:gd name="connsiteX383" fmla="*/ 1670038 w 6710000"/>
              <a:gd name="connsiteY383" fmla="*/ 1994070 h 6858000"/>
              <a:gd name="connsiteX384" fmla="*/ 1547986 w 6710000"/>
              <a:gd name="connsiteY384" fmla="*/ 2403625 h 6858000"/>
              <a:gd name="connsiteX385" fmla="*/ 1304425 w 6710000"/>
              <a:gd name="connsiteY385" fmla="*/ 3432664 h 6858000"/>
              <a:gd name="connsiteX386" fmla="*/ 1447090 w 6710000"/>
              <a:gd name="connsiteY386" fmla="*/ 4790975 h 6858000"/>
              <a:gd name="connsiteX387" fmla="*/ 2497284 w 6710000"/>
              <a:gd name="connsiteY387" fmla="*/ 6802402 h 6858000"/>
              <a:gd name="connsiteX388" fmla="*/ 2552770 w 6710000"/>
              <a:gd name="connsiteY388" fmla="*/ 6858000 h 6858000"/>
              <a:gd name="connsiteX389" fmla="*/ 2530391 w 6710000"/>
              <a:gd name="connsiteY389" fmla="*/ 6858000 h 6858000"/>
              <a:gd name="connsiteX390" fmla="*/ 2480468 w 6710000"/>
              <a:gd name="connsiteY390" fmla="*/ 6807825 h 6858000"/>
              <a:gd name="connsiteX391" fmla="*/ 1430274 w 6710000"/>
              <a:gd name="connsiteY391" fmla="*/ 4793686 h 6858000"/>
              <a:gd name="connsiteX392" fmla="*/ 1283269 w 6710000"/>
              <a:gd name="connsiteY392" fmla="*/ 3432664 h 6858000"/>
              <a:gd name="connsiteX393" fmla="*/ 1531170 w 6710000"/>
              <a:gd name="connsiteY393" fmla="*/ 2400912 h 6858000"/>
              <a:gd name="connsiteX394" fmla="*/ 1653223 w 6710000"/>
              <a:gd name="connsiteY394" fmla="*/ 1994070 h 6858000"/>
              <a:gd name="connsiteX395" fmla="*/ 1867492 w 6710000"/>
              <a:gd name="connsiteY395" fmla="*/ 1086 h 6858000"/>
              <a:gd name="connsiteX396" fmla="*/ 1685229 w 6710000"/>
              <a:gd name="connsiteY396" fmla="*/ 1086 h 6858000"/>
              <a:gd name="connsiteX397" fmla="*/ 1702045 w 6710000"/>
              <a:gd name="connsiteY397" fmla="*/ 1086 h 6858000"/>
              <a:gd name="connsiteX398" fmla="*/ 1492113 w 6710000"/>
              <a:gd name="connsiteY398" fmla="*/ 2043433 h 6858000"/>
              <a:gd name="connsiteX399" fmla="*/ 1374400 w 6710000"/>
              <a:gd name="connsiteY399" fmla="*/ 2447564 h 6858000"/>
              <a:gd name="connsiteX400" fmla="*/ 1135179 w 6710000"/>
              <a:gd name="connsiteY400" fmla="*/ 3486909 h 6858000"/>
              <a:gd name="connsiteX401" fmla="*/ 1286523 w 6710000"/>
              <a:gd name="connsiteY401" fmla="*/ 4847931 h 6858000"/>
              <a:gd name="connsiteX402" fmla="*/ 2173546 w 6710000"/>
              <a:gd name="connsiteY402" fmla="*/ 6655634 h 6858000"/>
              <a:gd name="connsiteX403" fmla="*/ 2352333 w 6710000"/>
              <a:gd name="connsiteY403" fmla="*/ 6858000 h 6858000"/>
              <a:gd name="connsiteX404" fmla="*/ 2331196 w 6710000"/>
              <a:gd name="connsiteY404" fmla="*/ 6858000 h 6858000"/>
              <a:gd name="connsiteX405" fmla="*/ 2156574 w 6710000"/>
              <a:gd name="connsiteY405" fmla="*/ 6660662 h 6858000"/>
              <a:gd name="connsiteX406" fmla="*/ 1269707 w 6710000"/>
              <a:gd name="connsiteY406" fmla="*/ 4847931 h 6858000"/>
              <a:gd name="connsiteX407" fmla="*/ 1118360 w 6710000"/>
              <a:gd name="connsiteY407" fmla="*/ 3486909 h 6858000"/>
              <a:gd name="connsiteX408" fmla="*/ 1357583 w 6710000"/>
              <a:gd name="connsiteY408" fmla="*/ 2444851 h 6858000"/>
              <a:gd name="connsiteX409" fmla="*/ 1475296 w 6710000"/>
              <a:gd name="connsiteY409" fmla="*/ 2040722 h 6858000"/>
              <a:gd name="connsiteX410" fmla="*/ 1685229 w 6710000"/>
              <a:gd name="connsiteY410" fmla="*/ 1086 h 6858000"/>
              <a:gd name="connsiteX411" fmla="*/ 1501334 w 6710000"/>
              <a:gd name="connsiteY411" fmla="*/ 1086 h 6858000"/>
              <a:gd name="connsiteX412" fmla="*/ 1518153 w 6710000"/>
              <a:gd name="connsiteY412" fmla="*/ 1086 h 6858000"/>
              <a:gd name="connsiteX413" fmla="*/ 1316358 w 6710000"/>
              <a:gd name="connsiteY413" fmla="*/ 2092797 h 6858000"/>
              <a:gd name="connsiteX414" fmla="*/ 1202986 w 6710000"/>
              <a:gd name="connsiteY414" fmla="*/ 2489332 h 6858000"/>
              <a:gd name="connsiteX415" fmla="*/ 967559 w 6710000"/>
              <a:gd name="connsiteY415" fmla="*/ 3541698 h 6858000"/>
              <a:gd name="connsiteX416" fmla="*/ 1127040 w 6710000"/>
              <a:gd name="connsiteY416" fmla="*/ 4904889 h 6858000"/>
              <a:gd name="connsiteX417" fmla="*/ 2029268 w 6710000"/>
              <a:gd name="connsiteY417" fmla="*/ 6712591 h 6858000"/>
              <a:gd name="connsiteX418" fmla="*/ 2158886 w 6710000"/>
              <a:gd name="connsiteY418" fmla="*/ 6858000 h 6858000"/>
              <a:gd name="connsiteX419" fmla="*/ 2141652 w 6710000"/>
              <a:gd name="connsiteY419" fmla="*/ 6858000 h 6858000"/>
              <a:gd name="connsiteX420" fmla="*/ 2015538 w 6710000"/>
              <a:gd name="connsiteY420" fmla="*/ 6717531 h 6858000"/>
              <a:gd name="connsiteX421" fmla="*/ 1110768 w 6710000"/>
              <a:gd name="connsiteY421" fmla="*/ 4904889 h 6858000"/>
              <a:gd name="connsiteX422" fmla="*/ 951284 w 6710000"/>
              <a:gd name="connsiteY422" fmla="*/ 3538985 h 6858000"/>
              <a:gd name="connsiteX423" fmla="*/ 1186709 w 6710000"/>
              <a:gd name="connsiteY423" fmla="*/ 2489332 h 6858000"/>
              <a:gd name="connsiteX424" fmla="*/ 1295746 w 6710000"/>
              <a:gd name="connsiteY424" fmla="*/ 2090085 h 6858000"/>
              <a:gd name="connsiteX425" fmla="*/ 1501334 w 6710000"/>
              <a:gd name="connsiteY425" fmla="*/ 1086 h 6858000"/>
              <a:gd name="connsiteX426" fmla="*/ 1316901 w 6710000"/>
              <a:gd name="connsiteY426" fmla="*/ 1086 h 6858000"/>
              <a:gd name="connsiteX427" fmla="*/ 1333717 w 6710000"/>
              <a:gd name="connsiteY427" fmla="*/ 1086 h 6858000"/>
              <a:gd name="connsiteX428" fmla="*/ 1136262 w 6710000"/>
              <a:gd name="connsiteY428" fmla="*/ 2142160 h 6858000"/>
              <a:gd name="connsiteX429" fmla="*/ 1031027 w 6710000"/>
              <a:gd name="connsiteY429" fmla="*/ 2533814 h 6858000"/>
              <a:gd name="connsiteX430" fmla="*/ 799941 w 6710000"/>
              <a:gd name="connsiteY430" fmla="*/ 3593773 h 6858000"/>
              <a:gd name="connsiteX431" fmla="*/ 971898 w 6710000"/>
              <a:gd name="connsiteY431" fmla="*/ 4959678 h 6858000"/>
              <a:gd name="connsiteX432" fmla="*/ 1887905 w 6710000"/>
              <a:gd name="connsiteY432" fmla="*/ 6770087 h 6858000"/>
              <a:gd name="connsiteX433" fmla="*/ 1967579 w 6710000"/>
              <a:gd name="connsiteY433" fmla="*/ 6858000 h 6858000"/>
              <a:gd name="connsiteX434" fmla="*/ 1944323 w 6710000"/>
              <a:gd name="connsiteY434" fmla="*/ 6858000 h 6858000"/>
              <a:gd name="connsiteX435" fmla="*/ 1871067 w 6710000"/>
              <a:gd name="connsiteY435" fmla="*/ 6776848 h 6858000"/>
              <a:gd name="connsiteX436" fmla="*/ 955083 w 6710000"/>
              <a:gd name="connsiteY436" fmla="*/ 4962390 h 6858000"/>
              <a:gd name="connsiteX437" fmla="*/ 783124 w 6710000"/>
              <a:gd name="connsiteY437" fmla="*/ 3593773 h 6858000"/>
              <a:gd name="connsiteX438" fmla="*/ 1014212 w 6710000"/>
              <a:gd name="connsiteY438" fmla="*/ 2531102 h 6858000"/>
              <a:gd name="connsiteX439" fmla="*/ 1119447 w 6710000"/>
              <a:gd name="connsiteY439" fmla="*/ 2139448 h 6858000"/>
              <a:gd name="connsiteX440" fmla="*/ 1316901 w 6710000"/>
              <a:gd name="connsiteY440" fmla="*/ 1086 h 6858000"/>
              <a:gd name="connsiteX441" fmla="*/ 1131381 w 6710000"/>
              <a:gd name="connsiteY441" fmla="*/ 1086 h 6858000"/>
              <a:gd name="connsiteX442" fmla="*/ 1148196 w 6710000"/>
              <a:gd name="connsiteY442" fmla="*/ 1086 h 6858000"/>
              <a:gd name="connsiteX443" fmla="*/ 959422 w 6710000"/>
              <a:gd name="connsiteY443" fmla="*/ 2188812 h 6858000"/>
              <a:gd name="connsiteX444" fmla="*/ 858526 w 6710000"/>
              <a:gd name="connsiteY444" fmla="*/ 2575041 h 6858000"/>
              <a:gd name="connsiteX445" fmla="*/ 631777 w 6710000"/>
              <a:gd name="connsiteY445" fmla="*/ 3648020 h 6858000"/>
              <a:gd name="connsiteX446" fmla="*/ 812418 w 6710000"/>
              <a:gd name="connsiteY446" fmla="*/ 5016636 h 6858000"/>
              <a:gd name="connsiteX447" fmla="*/ 1743582 w 6710000"/>
              <a:gd name="connsiteY447" fmla="*/ 6827044 h 6858000"/>
              <a:gd name="connsiteX448" fmla="*/ 1771889 w 6710000"/>
              <a:gd name="connsiteY448" fmla="*/ 6858000 h 6858000"/>
              <a:gd name="connsiteX449" fmla="*/ 1751982 w 6710000"/>
              <a:gd name="connsiteY449" fmla="*/ 6858000 h 6858000"/>
              <a:gd name="connsiteX450" fmla="*/ 1729154 w 6710000"/>
              <a:gd name="connsiteY450" fmla="*/ 6833027 h 6858000"/>
              <a:gd name="connsiteX451" fmla="*/ 795600 w 6710000"/>
              <a:gd name="connsiteY451" fmla="*/ 5019348 h 6858000"/>
              <a:gd name="connsiteX452" fmla="*/ 614961 w 6710000"/>
              <a:gd name="connsiteY452" fmla="*/ 3648020 h 6858000"/>
              <a:gd name="connsiteX453" fmla="*/ 837370 w 6710000"/>
              <a:gd name="connsiteY453" fmla="*/ 2575041 h 6858000"/>
              <a:gd name="connsiteX454" fmla="*/ 942606 w 6710000"/>
              <a:gd name="connsiteY454" fmla="*/ 2188812 h 6858000"/>
              <a:gd name="connsiteX455" fmla="*/ 1131381 w 6710000"/>
              <a:gd name="connsiteY455" fmla="*/ 1086 h 6858000"/>
              <a:gd name="connsiteX456" fmla="*/ 946947 w 6710000"/>
              <a:gd name="connsiteY456" fmla="*/ 1086 h 6858000"/>
              <a:gd name="connsiteX457" fmla="*/ 968102 w 6710000"/>
              <a:gd name="connsiteY457" fmla="*/ 1086 h 6858000"/>
              <a:gd name="connsiteX458" fmla="*/ 783124 w 6710000"/>
              <a:gd name="connsiteY458" fmla="*/ 2238175 h 6858000"/>
              <a:gd name="connsiteX459" fmla="*/ 682227 w 6710000"/>
              <a:gd name="connsiteY459" fmla="*/ 2618979 h 6858000"/>
              <a:gd name="connsiteX460" fmla="*/ 467957 w 6710000"/>
              <a:gd name="connsiteY460" fmla="*/ 3702263 h 6858000"/>
              <a:gd name="connsiteX461" fmla="*/ 656732 w 6710000"/>
              <a:gd name="connsiteY461" fmla="*/ 5073592 h 6858000"/>
              <a:gd name="connsiteX462" fmla="*/ 1427113 w 6710000"/>
              <a:gd name="connsiteY462" fmla="*/ 6668060 h 6858000"/>
              <a:gd name="connsiteX463" fmla="*/ 1580273 w 6710000"/>
              <a:gd name="connsiteY463" fmla="*/ 6858000 h 6858000"/>
              <a:gd name="connsiteX464" fmla="*/ 1558574 w 6710000"/>
              <a:gd name="connsiteY464" fmla="*/ 6858000 h 6858000"/>
              <a:gd name="connsiteX465" fmla="*/ 1409772 w 6710000"/>
              <a:gd name="connsiteY465" fmla="*/ 6673398 h 6858000"/>
              <a:gd name="connsiteX466" fmla="*/ 635576 w 6710000"/>
              <a:gd name="connsiteY466" fmla="*/ 5073592 h 6858000"/>
              <a:gd name="connsiteX467" fmla="*/ 446802 w 6710000"/>
              <a:gd name="connsiteY467" fmla="*/ 3702263 h 6858000"/>
              <a:gd name="connsiteX468" fmla="*/ 665412 w 6710000"/>
              <a:gd name="connsiteY468" fmla="*/ 2616267 h 6858000"/>
              <a:gd name="connsiteX469" fmla="*/ 766308 w 6710000"/>
              <a:gd name="connsiteY469" fmla="*/ 2235463 h 6858000"/>
              <a:gd name="connsiteX470" fmla="*/ 946947 w 6710000"/>
              <a:gd name="connsiteY470" fmla="*/ 1086 h 6858000"/>
              <a:gd name="connsiteX471" fmla="*/ 761427 w 6710000"/>
              <a:gd name="connsiteY471" fmla="*/ 1086 h 6858000"/>
              <a:gd name="connsiteX472" fmla="*/ 782582 w 6710000"/>
              <a:gd name="connsiteY472" fmla="*/ 1086 h 6858000"/>
              <a:gd name="connsiteX473" fmla="*/ 606284 w 6710000"/>
              <a:gd name="connsiteY473" fmla="*/ 2286996 h 6858000"/>
              <a:gd name="connsiteX474" fmla="*/ 509728 w 6710000"/>
              <a:gd name="connsiteY474" fmla="*/ 2660207 h 6858000"/>
              <a:gd name="connsiteX475" fmla="*/ 299795 w 6710000"/>
              <a:gd name="connsiteY475" fmla="*/ 3756510 h 6858000"/>
              <a:gd name="connsiteX476" fmla="*/ 497249 w 6710000"/>
              <a:gd name="connsiteY476" fmla="*/ 5127839 h 6858000"/>
              <a:gd name="connsiteX477" fmla="*/ 1281208 w 6710000"/>
              <a:gd name="connsiteY477" fmla="*/ 6724974 h 6858000"/>
              <a:gd name="connsiteX478" fmla="*/ 1389455 w 6710000"/>
              <a:gd name="connsiteY478" fmla="*/ 6858000 h 6858000"/>
              <a:gd name="connsiteX479" fmla="*/ 1370500 w 6710000"/>
              <a:gd name="connsiteY479" fmla="*/ 6858000 h 6858000"/>
              <a:gd name="connsiteX480" fmla="*/ 1265918 w 6710000"/>
              <a:gd name="connsiteY480" fmla="*/ 6730051 h 6858000"/>
              <a:gd name="connsiteX481" fmla="*/ 480434 w 6710000"/>
              <a:gd name="connsiteY481" fmla="*/ 5130551 h 6858000"/>
              <a:gd name="connsiteX482" fmla="*/ 282979 w 6710000"/>
              <a:gd name="connsiteY482" fmla="*/ 3757052 h 6858000"/>
              <a:gd name="connsiteX483" fmla="*/ 492911 w 6710000"/>
              <a:gd name="connsiteY483" fmla="*/ 2658035 h 6858000"/>
              <a:gd name="connsiteX484" fmla="*/ 585128 w 6710000"/>
              <a:gd name="connsiteY484" fmla="*/ 2284827 h 6858000"/>
              <a:gd name="connsiteX485" fmla="*/ 761427 w 6710000"/>
              <a:gd name="connsiteY485" fmla="*/ 1086 h 6858000"/>
              <a:gd name="connsiteX486" fmla="*/ 581330 w 6710000"/>
              <a:gd name="connsiteY486" fmla="*/ 1086 h 6858000"/>
              <a:gd name="connsiteX487" fmla="*/ 598146 w 6710000"/>
              <a:gd name="connsiteY487" fmla="*/ 1086 h 6858000"/>
              <a:gd name="connsiteX488" fmla="*/ 426187 w 6710000"/>
              <a:gd name="connsiteY488" fmla="*/ 2336360 h 6858000"/>
              <a:gd name="connsiteX489" fmla="*/ 337766 w 6710000"/>
              <a:gd name="connsiteY489" fmla="*/ 2701975 h 6858000"/>
              <a:gd name="connsiteX490" fmla="*/ 132176 w 6710000"/>
              <a:gd name="connsiteY490" fmla="*/ 3808585 h 6858000"/>
              <a:gd name="connsiteX491" fmla="*/ 337766 w 6710000"/>
              <a:gd name="connsiteY491" fmla="*/ 5184796 h 6858000"/>
              <a:gd name="connsiteX492" fmla="*/ 1136221 w 6710000"/>
              <a:gd name="connsiteY492" fmla="*/ 6781932 h 6858000"/>
              <a:gd name="connsiteX493" fmla="*/ 1199192 w 6710000"/>
              <a:gd name="connsiteY493" fmla="*/ 6858000 h 6858000"/>
              <a:gd name="connsiteX494" fmla="*/ 1178104 w 6710000"/>
              <a:gd name="connsiteY494" fmla="*/ 6858000 h 6858000"/>
              <a:gd name="connsiteX495" fmla="*/ 1119405 w 6710000"/>
              <a:gd name="connsiteY495" fmla="*/ 6787010 h 6858000"/>
              <a:gd name="connsiteX496" fmla="*/ 320950 w 6710000"/>
              <a:gd name="connsiteY496" fmla="*/ 5187509 h 6858000"/>
              <a:gd name="connsiteX497" fmla="*/ 115360 w 6710000"/>
              <a:gd name="connsiteY497" fmla="*/ 3808585 h 6858000"/>
              <a:gd name="connsiteX498" fmla="*/ 320950 w 6710000"/>
              <a:gd name="connsiteY498" fmla="*/ 2699264 h 6858000"/>
              <a:gd name="connsiteX499" fmla="*/ 409371 w 6710000"/>
              <a:gd name="connsiteY499" fmla="*/ 2333648 h 6858000"/>
              <a:gd name="connsiteX500" fmla="*/ 581330 w 6710000"/>
              <a:gd name="connsiteY500" fmla="*/ 1086 h 6858000"/>
              <a:gd name="connsiteX501" fmla="*/ 211917 w 6710000"/>
              <a:gd name="connsiteY501" fmla="*/ 1086 h 6858000"/>
              <a:gd name="connsiteX502" fmla="*/ 228733 w 6710000"/>
              <a:gd name="connsiteY502" fmla="*/ 1086 h 6858000"/>
              <a:gd name="connsiteX503" fmla="*/ 233074 w 6710000"/>
              <a:gd name="connsiteY503" fmla="*/ 65638 h 6858000"/>
              <a:gd name="connsiteX504" fmla="*/ 73591 w 6710000"/>
              <a:gd name="connsiteY504" fmla="*/ 2432375 h 6858000"/>
              <a:gd name="connsiteX505" fmla="*/ 0 w 6710000"/>
              <a:gd name="connsiteY505" fmla="*/ 2740979 h 6858000"/>
              <a:gd name="connsiteX506" fmla="*/ 0 w 6710000"/>
              <a:gd name="connsiteY506" fmla="*/ 2669289 h 6858000"/>
              <a:gd name="connsiteX507" fmla="*/ 14734 w 6710000"/>
              <a:gd name="connsiteY507" fmla="*/ 2608334 h 6858000"/>
              <a:gd name="connsiteX508" fmla="*/ 56774 w 6710000"/>
              <a:gd name="connsiteY508" fmla="*/ 2432375 h 6858000"/>
              <a:gd name="connsiteX509" fmla="*/ 216257 w 6710000"/>
              <a:gd name="connsiteY509" fmla="*/ 65638 h 6858000"/>
              <a:gd name="connsiteX510" fmla="*/ 211917 w 6710000"/>
              <a:gd name="connsiteY510" fmla="*/ 1086 h 6858000"/>
              <a:gd name="connsiteX511" fmla="*/ 3332125 w 6710000"/>
              <a:gd name="connsiteY511" fmla="*/ 544 h 6858000"/>
              <a:gd name="connsiteX512" fmla="*/ 3348941 w 6710000"/>
              <a:gd name="connsiteY512" fmla="*/ 544 h 6858000"/>
              <a:gd name="connsiteX513" fmla="*/ 3088562 w 6710000"/>
              <a:gd name="connsiteY513" fmla="*/ 1605129 h 6858000"/>
              <a:gd name="connsiteX514" fmla="*/ 2929079 w 6710000"/>
              <a:gd name="connsiteY514" fmla="*/ 2051028 h 6858000"/>
              <a:gd name="connsiteX515" fmla="*/ 2639409 w 6710000"/>
              <a:gd name="connsiteY515" fmla="*/ 3002496 h 6858000"/>
              <a:gd name="connsiteX516" fmla="*/ 2711012 w 6710000"/>
              <a:gd name="connsiteY516" fmla="*/ 4340193 h 6858000"/>
              <a:gd name="connsiteX517" fmla="*/ 3622339 w 6710000"/>
              <a:gd name="connsiteY517" fmla="*/ 6346196 h 6858000"/>
              <a:gd name="connsiteX518" fmla="*/ 4017247 w 6710000"/>
              <a:gd name="connsiteY518" fmla="*/ 6742732 h 6858000"/>
              <a:gd name="connsiteX519" fmla="*/ 4153244 w 6710000"/>
              <a:gd name="connsiteY519" fmla="*/ 6858000 h 6858000"/>
              <a:gd name="connsiteX520" fmla="*/ 4131719 w 6710000"/>
              <a:gd name="connsiteY520" fmla="*/ 6858000 h 6858000"/>
              <a:gd name="connsiteX521" fmla="*/ 4000431 w 6710000"/>
              <a:gd name="connsiteY521" fmla="*/ 6747070 h 6858000"/>
              <a:gd name="connsiteX522" fmla="*/ 3605523 w 6710000"/>
              <a:gd name="connsiteY522" fmla="*/ 6350535 h 6858000"/>
              <a:gd name="connsiteX523" fmla="*/ 2694196 w 6710000"/>
              <a:gd name="connsiteY523" fmla="*/ 4341820 h 6858000"/>
              <a:gd name="connsiteX524" fmla="*/ 2622594 w 6710000"/>
              <a:gd name="connsiteY524" fmla="*/ 3001954 h 6858000"/>
              <a:gd name="connsiteX525" fmla="*/ 2912265 w 6710000"/>
              <a:gd name="connsiteY525" fmla="*/ 2048314 h 6858000"/>
              <a:gd name="connsiteX526" fmla="*/ 3071746 w 6710000"/>
              <a:gd name="connsiteY526" fmla="*/ 1602417 h 6858000"/>
              <a:gd name="connsiteX527" fmla="*/ 3332125 w 6710000"/>
              <a:gd name="connsiteY527" fmla="*/ 544 h 6858000"/>
              <a:gd name="connsiteX528" fmla="*/ 26939 w 6710000"/>
              <a:gd name="connsiteY528" fmla="*/ 544 h 6858000"/>
              <a:gd name="connsiteX529" fmla="*/ 43756 w 6710000"/>
              <a:gd name="connsiteY529" fmla="*/ 544 h 6858000"/>
              <a:gd name="connsiteX530" fmla="*/ 51892 w 6710000"/>
              <a:gd name="connsiteY530" fmla="*/ 106864 h 6858000"/>
              <a:gd name="connsiteX531" fmla="*/ 3605 w 6710000"/>
              <a:gd name="connsiteY531" fmla="*/ 1872585 h 6858000"/>
              <a:gd name="connsiteX532" fmla="*/ 0 w 6710000"/>
              <a:gd name="connsiteY532" fmla="*/ 1893117 h 6858000"/>
              <a:gd name="connsiteX533" fmla="*/ 0 w 6710000"/>
              <a:gd name="connsiteY533" fmla="*/ 1720977 h 6858000"/>
              <a:gd name="connsiteX534" fmla="*/ 46671 w 6710000"/>
              <a:gd name="connsiteY534" fmla="*/ 1272332 h 6858000"/>
              <a:gd name="connsiteX535" fmla="*/ 35076 w 6710000"/>
              <a:gd name="connsiteY535" fmla="*/ 106864 h 6858000"/>
              <a:gd name="connsiteX536" fmla="*/ 26939 w 6710000"/>
              <a:gd name="connsiteY536" fmla="*/ 544 h 6858000"/>
              <a:gd name="connsiteX537" fmla="*/ 3513847 w 6710000"/>
              <a:gd name="connsiteY537" fmla="*/ 0 h 6858000"/>
              <a:gd name="connsiteX538" fmla="*/ 3530663 w 6710000"/>
              <a:gd name="connsiteY538" fmla="*/ 0 h 6858000"/>
              <a:gd name="connsiteX539" fmla="*/ 3265944 w 6710000"/>
              <a:gd name="connsiteY539" fmla="*/ 1555224 h 6858000"/>
              <a:gd name="connsiteX540" fmla="*/ 3102124 w 6710000"/>
              <a:gd name="connsiteY540" fmla="*/ 2003834 h 6858000"/>
              <a:gd name="connsiteX541" fmla="*/ 2808112 w 6710000"/>
              <a:gd name="connsiteY541" fmla="*/ 2947165 h 6858000"/>
              <a:gd name="connsiteX542" fmla="*/ 2871036 w 6710000"/>
              <a:gd name="connsiteY542" fmla="*/ 4284862 h 6858000"/>
              <a:gd name="connsiteX543" fmla="*/ 3765548 w 6710000"/>
              <a:gd name="connsiteY543" fmla="*/ 6288695 h 6858000"/>
              <a:gd name="connsiteX544" fmla="*/ 4151774 w 6710000"/>
              <a:gd name="connsiteY544" fmla="*/ 6685231 h 6858000"/>
              <a:gd name="connsiteX545" fmla="*/ 4327448 w 6710000"/>
              <a:gd name="connsiteY545" fmla="*/ 6833830 h 6858000"/>
              <a:gd name="connsiteX546" fmla="*/ 4358784 w 6710000"/>
              <a:gd name="connsiteY546" fmla="*/ 6858000 h 6858000"/>
              <a:gd name="connsiteX547" fmla="*/ 4338751 w 6710000"/>
              <a:gd name="connsiteY547" fmla="*/ 6858000 h 6858000"/>
              <a:gd name="connsiteX548" fmla="*/ 4314974 w 6710000"/>
              <a:gd name="connsiteY548" fmla="*/ 6839584 h 6858000"/>
              <a:gd name="connsiteX549" fmla="*/ 4139300 w 6710000"/>
              <a:gd name="connsiteY549" fmla="*/ 6690112 h 6858000"/>
              <a:gd name="connsiteX550" fmla="*/ 3748732 w 6710000"/>
              <a:gd name="connsiteY550" fmla="*/ 6293577 h 6858000"/>
              <a:gd name="connsiteX551" fmla="*/ 2849882 w 6710000"/>
              <a:gd name="connsiteY551" fmla="*/ 4284862 h 6858000"/>
              <a:gd name="connsiteX552" fmla="*/ 2791295 w 6710000"/>
              <a:gd name="connsiteY552" fmla="*/ 2947165 h 6858000"/>
              <a:gd name="connsiteX553" fmla="*/ 3085308 w 6710000"/>
              <a:gd name="connsiteY553" fmla="*/ 2001123 h 6858000"/>
              <a:gd name="connsiteX554" fmla="*/ 3249128 w 6710000"/>
              <a:gd name="connsiteY554" fmla="*/ 1555224 h 6858000"/>
              <a:gd name="connsiteX555" fmla="*/ 3513847 w 6710000"/>
              <a:gd name="connsiteY55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</a:cxnLst>
            <a:rect l="l" t="t" r="r" b="b"/>
            <a:pathLst>
              <a:path w="6710000" h="6858000">
                <a:moveTo>
                  <a:pt x="0" y="6767133"/>
                </a:moveTo>
                <a:lnTo>
                  <a:pt x="61409" y="6858000"/>
                </a:lnTo>
                <a:lnTo>
                  <a:pt x="42656" y="6858000"/>
                </a:lnTo>
                <a:lnTo>
                  <a:pt x="0" y="6794901"/>
                </a:lnTo>
                <a:close/>
                <a:moveTo>
                  <a:pt x="0" y="6468280"/>
                </a:moveTo>
                <a:lnTo>
                  <a:pt x="72167" y="6593013"/>
                </a:lnTo>
                <a:cubicBezTo>
                  <a:pt x="123887" y="6676280"/>
                  <a:pt x="177772" y="6757157"/>
                  <a:pt x="233941" y="6835826"/>
                </a:cubicBezTo>
                <a:lnTo>
                  <a:pt x="250890" y="6858000"/>
                </a:lnTo>
                <a:lnTo>
                  <a:pt x="230297" y="6858000"/>
                </a:lnTo>
                <a:lnTo>
                  <a:pt x="217393" y="6841108"/>
                </a:lnTo>
                <a:cubicBezTo>
                  <a:pt x="161228" y="6762391"/>
                  <a:pt x="107343" y="6681451"/>
                  <a:pt x="55623" y="6598099"/>
                </a:cubicBezTo>
                <a:lnTo>
                  <a:pt x="0" y="6501837"/>
                </a:lnTo>
                <a:close/>
                <a:moveTo>
                  <a:pt x="0" y="6127856"/>
                </a:moveTo>
                <a:lnTo>
                  <a:pt x="74782" y="6280093"/>
                </a:lnTo>
                <a:cubicBezTo>
                  <a:pt x="133133" y="6390348"/>
                  <a:pt x="194722" y="6496524"/>
                  <a:pt x="259740" y="6599011"/>
                </a:cubicBezTo>
                <a:lnTo>
                  <a:pt x="439100" y="6858000"/>
                </a:lnTo>
                <a:lnTo>
                  <a:pt x="420644" y="6858000"/>
                </a:lnTo>
                <a:lnTo>
                  <a:pt x="243317" y="6602664"/>
                </a:lnTo>
                <a:cubicBezTo>
                  <a:pt x="177983" y="6499966"/>
                  <a:pt x="116078" y="6393575"/>
                  <a:pt x="57373" y="6283122"/>
                </a:cubicBezTo>
                <a:lnTo>
                  <a:pt x="0" y="6166955"/>
                </a:lnTo>
                <a:close/>
                <a:moveTo>
                  <a:pt x="0" y="5727262"/>
                </a:moveTo>
                <a:lnTo>
                  <a:pt x="93060" y="5950881"/>
                </a:lnTo>
                <a:cubicBezTo>
                  <a:pt x="219449" y="6232060"/>
                  <a:pt x="363554" y="6488065"/>
                  <a:pt x="528035" y="6723817"/>
                </a:cubicBezTo>
                <a:lnTo>
                  <a:pt x="626660" y="6858000"/>
                </a:lnTo>
                <a:lnTo>
                  <a:pt x="607172" y="6858000"/>
                </a:lnTo>
                <a:lnTo>
                  <a:pt x="511220" y="6727192"/>
                </a:lnTo>
                <a:cubicBezTo>
                  <a:pt x="346738" y="6491042"/>
                  <a:pt x="202633" y="6234878"/>
                  <a:pt x="76244" y="5953636"/>
                </a:cubicBezTo>
                <a:lnTo>
                  <a:pt x="0" y="5770403"/>
                </a:lnTo>
                <a:close/>
                <a:moveTo>
                  <a:pt x="0" y="5218362"/>
                </a:moveTo>
                <a:lnTo>
                  <a:pt x="23141" y="5299255"/>
                </a:lnTo>
                <a:cubicBezTo>
                  <a:pt x="193678" y="5825777"/>
                  <a:pt x="407015" y="6274320"/>
                  <a:pt x="677327" y="6667002"/>
                </a:cubicBezTo>
                <a:lnTo>
                  <a:pt x="818345" y="6858000"/>
                </a:lnTo>
                <a:lnTo>
                  <a:pt x="797399" y="6858000"/>
                </a:lnTo>
                <a:lnTo>
                  <a:pt x="659968" y="6671426"/>
                </a:lnTo>
                <a:cubicBezTo>
                  <a:pt x="389657" y="6277710"/>
                  <a:pt x="176319" y="5827472"/>
                  <a:pt x="5783" y="5299255"/>
                </a:cubicBezTo>
                <a:lnTo>
                  <a:pt x="0" y="5279204"/>
                </a:lnTo>
                <a:close/>
                <a:moveTo>
                  <a:pt x="0" y="4465450"/>
                </a:moveTo>
                <a:lnTo>
                  <a:pt x="5037" y="4510117"/>
                </a:lnTo>
                <a:cubicBezTo>
                  <a:pt x="41314" y="4738898"/>
                  <a:pt x="100171" y="4981918"/>
                  <a:pt x="182081" y="5242297"/>
                </a:cubicBezTo>
                <a:cubicBezTo>
                  <a:pt x="380622" y="5874123"/>
                  <a:pt x="642934" y="6393660"/>
                  <a:pt x="990300" y="6839127"/>
                </a:cubicBezTo>
                <a:lnTo>
                  <a:pt x="1006050" y="6858000"/>
                </a:lnTo>
                <a:lnTo>
                  <a:pt x="984214" y="6858000"/>
                </a:lnTo>
                <a:lnTo>
                  <a:pt x="972958" y="6844510"/>
                </a:lnTo>
                <a:cubicBezTo>
                  <a:pt x="625541" y="6398916"/>
                  <a:pt x="362721" y="5878870"/>
                  <a:pt x="160926" y="5245010"/>
                </a:cubicBezTo>
                <a:cubicBezTo>
                  <a:pt x="119971" y="5114685"/>
                  <a:pt x="85050" y="4988767"/>
                  <a:pt x="55970" y="4866800"/>
                </a:cubicBezTo>
                <a:lnTo>
                  <a:pt x="0" y="4583010"/>
                </a:lnTo>
                <a:close/>
                <a:moveTo>
                  <a:pt x="5126028" y="2170"/>
                </a:moveTo>
                <a:lnTo>
                  <a:pt x="5142843" y="2170"/>
                </a:lnTo>
                <a:cubicBezTo>
                  <a:pt x="5104872" y="380262"/>
                  <a:pt x="5012655" y="753473"/>
                  <a:pt x="4865649" y="1121800"/>
                </a:cubicBezTo>
                <a:cubicBezTo>
                  <a:pt x="4798383" y="1280198"/>
                  <a:pt x="4727323" y="1438052"/>
                  <a:pt x="4655718" y="1593737"/>
                </a:cubicBezTo>
                <a:cubicBezTo>
                  <a:pt x="4521190" y="1875815"/>
                  <a:pt x="4382863" y="2168741"/>
                  <a:pt x="4311259" y="2464379"/>
                </a:cubicBezTo>
                <a:cubicBezTo>
                  <a:pt x="4197884" y="2923297"/>
                  <a:pt x="4239655" y="3384927"/>
                  <a:pt x="4290102" y="3778751"/>
                </a:cubicBezTo>
                <a:cubicBezTo>
                  <a:pt x="4370386" y="4356466"/>
                  <a:pt x="4525528" y="5105599"/>
                  <a:pt x="5033811" y="5774448"/>
                </a:cubicBezTo>
                <a:cubicBezTo>
                  <a:pt x="5134164" y="5912231"/>
                  <a:pt x="5256216" y="6046760"/>
                  <a:pt x="5386407" y="6176406"/>
                </a:cubicBezTo>
                <a:cubicBezTo>
                  <a:pt x="5602575" y="6387694"/>
                  <a:pt x="5852376" y="6587996"/>
                  <a:pt x="6134792" y="6775957"/>
                </a:cubicBezTo>
                <a:lnTo>
                  <a:pt x="6263750" y="6858000"/>
                </a:lnTo>
                <a:lnTo>
                  <a:pt x="6240757" y="6858000"/>
                </a:lnTo>
                <a:lnTo>
                  <a:pt x="6121638" y="6782466"/>
                </a:lnTo>
                <a:cubicBezTo>
                  <a:pt x="5838137" y="6594234"/>
                  <a:pt x="5588200" y="6393389"/>
                  <a:pt x="5373930" y="6180746"/>
                </a:cubicBezTo>
                <a:cubicBezTo>
                  <a:pt x="5239400" y="6051099"/>
                  <a:pt x="5122231" y="5916027"/>
                  <a:pt x="5016994" y="5778787"/>
                </a:cubicBezTo>
                <a:cubicBezTo>
                  <a:pt x="4508712" y="5107226"/>
                  <a:pt x="4353027" y="4358094"/>
                  <a:pt x="4273287" y="3777665"/>
                </a:cubicBezTo>
                <a:cubicBezTo>
                  <a:pt x="4219039" y="3386011"/>
                  <a:pt x="4181069" y="2922213"/>
                  <a:pt x="4294441" y="2463294"/>
                </a:cubicBezTo>
                <a:cubicBezTo>
                  <a:pt x="4365504" y="2165487"/>
                  <a:pt x="4504372" y="1872559"/>
                  <a:pt x="4634562" y="1589939"/>
                </a:cubicBezTo>
                <a:cubicBezTo>
                  <a:pt x="4709963" y="1434254"/>
                  <a:pt x="4781568" y="1275859"/>
                  <a:pt x="4844493" y="1118004"/>
                </a:cubicBezTo>
                <a:cubicBezTo>
                  <a:pt x="4991498" y="750219"/>
                  <a:pt x="5088056" y="377008"/>
                  <a:pt x="5126028" y="2170"/>
                </a:cubicBezTo>
                <a:close/>
                <a:moveTo>
                  <a:pt x="5302868" y="1628"/>
                </a:moveTo>
                <a:lnTo>
                  <a:pt x="5319685" y="1628"/>
                </a:lnTo>
                <a:cubicBezTo>
                  <a:pt x="5277915" y="361818"/>
                  <a:pt x="5185156" y="719297"/>
                  <a:pt x="5042488" y="1071894"/>
                </a:cubicBezTo>
                <a:cubicBezTo>
                  <a:pt x="4975223" y="1229749"/>
                  <a:pt x="4899824" y="1390316"/>
                  <a:pt x="4828219" y="1546001"/>
                </a:cubicBezTo>
                <a:cubicBezTo>
                  <a:pt x="4693688" y="1825909"/>
                  <a:pt x="4554822" y="2116123"/>
                  <a:pt x="4479419" y="2411762"/>
                </a:cubicBezTo>
                <a:cubicBezTo>
                  <a:pt x="4361707" y="2865254"/>
                  <a:pt x="4399678" y="3329055"/>
                  <a:pt x="4450126" y="3720708"/>
                </a:cubicBezTo>
                <a:cubicBezTo>
                  <a:pt x="4526070" y="4298424"/>
                  <a:pt x="4676873" y="5047556"/>
                  <a:pt x="5172679" y="5716404"/>
                </a:cubicBezTo>
                <a:cubicBezTo>
                  <a:pt x="5277373" y="5854188"/>
                  <a:pt x="5395086" y="5988718"/>
                  <a:pt x="5525274" y="6118364"/>
                </a:cubicBezTo>
                <a:cubicBezTo>
                  <a:pt x="5739545" y="6331007"/>
                  <a:pt x="5988396" y="6531987"/>
                  <a:pt x="6269795" y="6720287"/>
                </a:cubicBezTo>
                <a:lnTo>
                  <a:pt x="6485166" y="6858000"/>
                </a:lnTo>
                <a:lnTo>
                  <a:pt x="6459959" y="6858000"/>
                </a:lnTo>
                <a:lnTo>
                  <a:pt x="6254606" y="6726797"/>
                </a:lnTo>
                <a:cubicBezTo>
                  <a:pt x="5972123" y="6537955"/>
                  <a:pt x="5722186" y="6336432"/>
                  <a:pt x="5507917" y="6123789"/>
                </a:cubicBezTo>
                <a:cubicBezTo>
                  <a:pt x="5377726" y="5994143"/>
                  <a:pt x="5260557" y="5859071"/>
                  <a:pt x="5155319" y="5721828"/>
                </a:cubicBezTo>
                <a:cubicBezTo>
                  <a:pt x="4655176" y="5050268"/>
                  <a:pt x="4508170" y="4301679"/>
                  <a:pt x="4432767" y="3723420"/>
                </a:cubicBezTo>
                <a:cubicBezTo>
                  <a:pt x="4382319" y="3329055"/>
                  <a:pt x="4344347" y="2865254"/>
                  <a:pt x="4462062" y="2409049"/>
                </a:cubicBezTo>
                <a:cubicBezTo>
                  <a:pt x="4537462" y="2113410"/>
                  <a:pt x="4676331" y="1823196"/>
                  <a:pt x="4806521" y="1543289"/>
                </a:cubicBezTo>
                <a:cubicBezTo>
                  <a:pt x="4882464" y="1388146"/>
                  <a:pt x="4957866" y="1227037"/>
                  <a:pt x="5025132" y="1069182"/>
                </a:cubicBezTo>
                <a:cubicBezTo>
                  <a:pt x="5168338" y="719297"/>
                  <a:pt x="5260557" y="361276"/>
                  <a:pt x="5302868" y="1628"/>
                </a:cubicBezTo>
                <a:close/>
                <a:moveTo>
                  <a:pt x="4949188" y="1628"/>
                </a:moveTo>
                <a:lnTo>
                  <a:pt x="4966003" y="1628"/>
                </a:lnTo>
                <a:cubicBezTo>
                  <a:pt x="4928032" y="395452"/>
                  <a:pt x="4835812" y="784392"/>
                  <a:pt x="4684468" y="1167910"/>
                </a:cubicBezTo>
                <a:cubicBezTo>
                  <a:pt x="4625882" y="1326306"/>
                  <a:pt x="4550481" y="1484161"/>
                  <a:pt x="4478877" y="1639846"/>
                </a:cubicBezTo>
                <a:cubicBezTo>
                  <a:pt x="4348688" y="1925179"/>
                  <a:pt x="4214701" y="2220274"/>
                  <a:pt x="4143096" y="2518625"/>
                </a:cubicBezTo>
                <a:cubicBezTo>
                  <a:pt x="4034062" y="2979712"/>
                  <a:pt x="4076375" y="3441343"/>
                  <a:pt x="4134959" y="3835167"/>
                </a:cubicBezTo>
                <a:cubicBezTo>
                  <a:pt x="4219039" y="4412883"/>
                  <a:pt x="4378523" y="5162014"/>
                  <a:pt x="4891144" y="5830862"/>
                </a:cubicBezTo>
                <a:cubicBezTo>
                  <a:pt x="4996382" y="5968646"/>
                  <a:pt x="5117890" y="6103176"/>
                  <a:pt x="5252419" y="6232823"/>
                </a:cubicBezTo>
                <a:cubicBezTo>
                  <a:pt x="5466689" y="6442753"/>
                  <a:pt x="5717711" y="6642377"/>
                  <a:pt x="6002296" y="6830338"/>
                </a:cubicBezTo>
                <a:lnTo>
                  <a:pt x="6046090" y="6858000"/>
                </a:lnTo>
                <a:lnTo>
                  <a:pt x="6022791" y="6858000"/>
                </a:lnTo>
                <a:lnTo>
                  <a:pt x="5990091" y="6837390"/>
                </a:lnTo>
                <a:cubicBezTo>
                  <a:pt x="5704556" y="6649158"/>
                  <a:pt x="5452586" y="6448992"/>
                  <a:pt x="5236146" y="6237705"/>
                </a:cubicBezTo>
                <a:cubicBezTo>
                  <a:pt x="5101617" y="6108057"/>
                  <a:pt x="4980107" y="5972985"/>
                  <a:pt x="4874871" y="5835744"/>
                </a:cubicBezTo>
                <a:cubicBezTo>
                  <a:pt x="4362249" y="5164183"/>
                  <a:pt x="4198428" y="4412883"/>
                  <a:pt x="4114346" y="3834624"/>
                </a:cubicBezTo>
                <a:cubicBezTo>
                  <a:pt x="4059558" y="3440800"/>
                  <a:pt x="4017789" y="2976999"/>
                  <a:pt x="4126822" y="2515371"/>
                </a:cubicBezTo>
                <a:cubicBezTo>
                  <a:pt x="4197884" y="2217020"/>
                  <a:pt x="4332415" y="1921924"/>
                  <a:pt x="4462604" y="1636591"/>
                </a:cubicBezTo>
                <a:cubicBezTo>
                  <a:pt x="4533665" y="1480906"/>
                  <a:pt x="4605270" y="1322509"/>
                  <a:pt x="4668195" y="1164654"/>
                </a:cubicBezTo>
                <a:cubicBezTo>
                  <a:pt x="4819539" y="783850"/>
                  <a:pt x="4911759" y="392740"/>
                  <a:pt x="4949188" y="1628"/>
                </a:cubicBezTo>
                <a:close/>
                <a:moveTo>
                  <a:pt x="4768549" y="1628"/>
                </a:moveTo>
                <a:lnTo>
                  <a:pt x="4785365" y="1628"/>
                </a:lnTo>
                <a:cubicBezTo>
                  <a:pt x="4756073" y="411184"/>
                  <a:pt x="4663312" y="818026"/>
                  <a:pt x="4508170" y="1217273"/>
                </a:cubicBezTo>
                <a:cubicBezTo>
                  <a:pt x="4449042" y="1375670"/>
                  <a:pt x="4377980" y="1533524"/>
                  <a:pt x="4306375" y="1686497"/>
                </a:cubicBezTo>
                <a:cubicBezTo>
                  <a:pt x="4179983" y="1973999"/>
                  <a:pt x="4045997" y="2272351"/>
                  <a:pt x="3974392" y="2572871"/>
                </a:cubicBezTo>
                <a:cubicBezTo>
                  <a:pt x="3869156" y="3033959"/>
                  <a:pt x="3915807" y="3497758"/>
                  <a:pt x="3974392" y="3889412"/>
                </a:cubicBezTo>
                <a:cubicBezTo>
                  <a:pt x="4062270" y="4467670"/>
                  <a:pt x="4230432" y="5216259"/>
                  <a:pt x="4751189" y="5887821"/>
                </a:cubicBezTo>
                <a:cubicBezTo>
                  <a:pt x="4856425" y="6025604"/>
                  <a:pt x="4977938" y="6160133"/>
                  <a:pt x="5112467" y="6289780"/>
                </a:cubicBezTo>
                <a:cubicBezTo>
                  <a:pt x="5274593" y="6446211"/>
                  <a:pt x="5457468" y="6597225"/>
                  <a:pt x="5659720" y="6742109"/>
                </a:cubicBezTo>
                <a:lnTo>
                  <a:pt x="5829044" y="6858000"/>
                </a:lnTo>
                <a:lnTo>
                  <a:pt x="5805955" y="6858000"/>
                </a:lnTo>
                <a:lnTo>
                  <a:pt x="5646726" y="6749042"/>
                </a:lnTo>
                <a:cubicBezTo>
                  <a:pt x="5443839" y="6603761"/>
                  <a:pt x="5259946" y="6452111"/>
                  <a:pt x="5096192" y="6294663"/>
                </a:cubicBezTo>
                <a:cubicBezTo>
                  <a:pt x="4961663" y="6165016"/>
                  <a:pt x="4840154" y="6029944"/>
                  <a:pt x="4734917" y="5892702"/>
                </a:cubicBezTo>
                <a:cubicBezTo>
                  <a:pt x="4214159" y="5218429"/>
                  <a:pt x="4046539" y="4469839"/>
                  <a:pt x="3958119" y="3891582"/>
                </a:cubicBezTo>
                <a:cubicBezTo>
                  <a:pt x="3899533" y="3497758"/>
                  <a:pt x="3852883" y="3033416"/>
                  <a:pt x="3958119" y="2569615"/>
                </a:cubicBezTo>
                <a:cubicBezTo>
                  <a:pt x="4029723" y="2269095"/>
                  <a:pt x="4164253" y="1970744"/>
                  <a:pt x="4290102" y="1683243"/>
                </a:cubicBezTo>
                <a:cubicBezTo>
                  <a:pt x="4361707" y="1530269"/>
                  <a:pt x="4433312" y="1371873"/>
                  <a:pt x="4491897" y="1214017"/>
                </a:cubicBezTo>
                <a:cubicBezTo>
                  <a:pt x="4647039" y="814770"/>
                  <a:pt x="4739799" y="410640"/>
                  <a:pt x="4768549" y="1628"/>
                </a:cubicBezTo>
                <a:close/>
                <a:moveTo>
                  <a:pt x="4591166" y="1628"/>
                </a:moveTo>
                <a:lnTo>
                  <a:pt x="4607983" y="1628"/>
                </a:lnTo>
                <a:cubicBezTo>
                  <a:pt x="4578691" y="426914"/>
                  <a:pt x="4485930" y="849488"/>
                  <a:pt x="4330786" y="1266636"/>
                </a:cubicBezTo>
                <a:cubicBezTo>
                  <a:pt x="4272201" y="1421778"/>
                  <a:pt x="4200599" y="1580176"/>
                  <a:pt x="4133333" y="1730437"/>
                </a:cubicBezTo>
                <a:cubicBezTo>
                  <a:pt x="4007482" y="2023362"/>
                  <a:pt x="3877293" y="2323884"/>
                  <a:pt x="3810028" y="2627116"/>
                </a:cubicBezTo>
                <a:cubicBezTo>
                  <a:pt x="3705334" y="3090916"/>
                  <a:pt x="3755783" y="3554716"/>
                  <a:pt x="3814368" y="3946370"/>
                </a:cubicBezTo>
                <a:cubicBezTo>
                  <a:pt x="3906585" y="4524628"/>
                  <a:pt x="4078544" y="5273217"/>
                  <a:pt x="4607983" y="5944777"/>
                </a:cubicBezTo>
                <a:cubicBezTo>
                  <a:pt x="4717559" y="6082563"/>
                  <a:pt x="4839067" y="6217092"/>
                  <a:pt x="4973597" y="6346738"/>
                </a:cubicBezTo>
                <a:cubicBezTo>
                  <a:pt x="5137351" y="6502152"/>
                  <a:pt x="5321167" y="6652150"/>
                  <a:pt x="5524416" y="6796302"/>
                </a:cubicBezTo>
                <a:lnTo>
                  <a:pt x="5615411" y="6858000"/>
                </a:lnTo>
                <a:lnTo>
                  <a:pt x="5592917" y="6858000"/>
                </a:lnTo>
                <a:lnTo>
                  <a:pt x="5512626" y="6803376"/>
                </a:lnTo>
                <a:cubicBezTo>
                  <a:pt x="5309309" y="6658683"/>
                  <a:pt x="5125417" y="6508050"/>
                  <a:pt x="4961663" y="6351619"/>
                </a:cubicBezTo>
                <a:cubicBezTo>
                  <a:pt x="4823336" y="6221973"/>
                  <a:pt x="4701284" y="6086902"/>
                  <a:pt x="4592250" y="5949660"/>
                </a:cubicBezTo>
                <a:cubicBezTo>
                  <a:pt x="4063356" y="5275386"/>
                  <a:pt x="3890855" y="4526797"/>
                  <a:pt x="3798637" y="3948538"/>
                </a:cubicBezTo>
                <a:cubicBezTo>
                  <a:pt x="3735712" y="3554174"/>
                  <a:pt x="3689604" y="3090374"/>
                  <a:pt x="3790500" y="2623862"/>
                </a:cubicBezTo>
                <a:cubicBezTo>
                  <a:pt x="3857764" y="2320629"/>
                  <a:pt x="3992294" y="2020108"/>
                  <a:pt x="4118143" y="1727181"/>
                </a:cubicBezTo>
                <a:cubicBezTo>
                  <a:pt x="4185408" y="1576921"/>
                  <a:pt x="4257012" y="1419067"/>
                  <a:pt x="4315597" y="1263380"/>
                </a:cubicBezTo>
                <a:cubicBezTo>
                  <a:pt x="4470741" y="848402"/>
                  <a:pt x="4563500" y="426371"/>
                  <a:pt x="4591166" y="1628"/>
                </a:cubicBezTo>
                <a:close/>
                <a:moveTo>
                  <a:pt x="4411613" y="1628"/>
                </a:moveTo>
                <a:lnTo>
                  <a:pt x="4428428" y="1628"/>
                </a:lnTo>
                <a:cubicBezTo>
                  <a:pt x="4407816" y="442646"/>
                  <a:pt x="4315055" y="883119"/>
                  <a:pt x="4155574" y="1316000"/>
                </a:cubicBezTo>
                <a:cubicBezTo>
                  <a:pt x="4096988" y="1471685"/>
                  <a:pt x="4029723" y="1627370"/>
                  <a:pt x="3962458" y="1777631"/>
                </a:cubicBezTo>
                <a:cubicBezTo>
                  <a:pt x="3836608" y="2070556"/>
                  <a:pt x="3706420" y="2373789"/>
                  <a:pt x="3643494" y="2679735"/>
                </a:cubicBezTo>
                <a:cubicBezTo>
                  <a:pt x="3542598" y="3151671"/>
                  <a:pt x="3597386" y="3633914"/>
                  <a:pt x="3660310" y="4004412"/>
                </a:cubicBezTo>
                <a:cubicBezTo>
                  <a:pt x="3756869" y="4582670"/>
                  <a:pt x="3933709" y="5331260"/>
                  <a:pt x="4466944" y="6002821"/>
                </a:cubicBezTo>
                <a:cubicBezTo>
                  <a:pt x="4575976" y="6140606"/>
                  <a:pt x="4701826" y="6275134"/>
                  <a:pt x="4840696" y="6404781"/>
                </a:cubicBezTo>
                <a:cubicBezTo>
                  <a:pt x="5004450" y="6559381"/>
                  <a:pt x="5188877" y="6708794"/>
                  <a:pt x="5392889" y="6852676"/>
                </a:cubicBezTo>
                <a:lnTo>
                  <a:pt x="5400780" y="6858000"/>
                </a:lnTo>
                <a:lnTo>
                  <a:pt x="5377398" y="6858000"/>
                </a:lnTo>
                <a:lnTo>
                  <a:pt x="5181205" y="6713413"/>
                </a:lnTo>
                <a:cubicBezTo>
                  <a:pt x="5053304" y="6614678"/>
                  <a:pt x="4934133" y="6513408"/>
                  <a:pt x="4823879" y="6409663"/>
                </a:cubicBezTo>
                <a:cubicBezTo>
                  <a:pt x="4685552" y="6280015"/>
                  <a:pt x="4563500" y="6144944"/>
                  <a:pt x="4454468" y="6007703"/>
                </a:cubicBezTo>
                <a:cubicBezTo>
                  <a:pt x="3916892" y="5333430"/>
                  <a:pt x="3736254" y="4582128"/>
                  <a:pt x="3644036" y="4003870"/>
                </a:cubicBezTo>
                <a:cubicBezTo>
                  <a:pt x="3581112" y="3635542"/>
                  <a:pt x="3521983" y="3151128"/>
                  <a:pt x="3627220" y="2679193"/>
                </a:cubicBezTo>
                <a:cubicBezTo>
                  <a:pt x="3690146" y="2373247"/>
                  <a:pt x="3820334" y="2067301"/>
                  <a:pt x="3946184" y="1774375"/>
                </a:cubicBezTo>
                <a:cubicBezTo>
                  <a:pt x="4012907" y="1623573"/>
                  <a:pt x="4080171" y="1468430"/>
                  <a:pt x="4134959" y="1312746"/>
                </a:cubicBezTo>
                <a:cubicBezTo>
                  <a:pt x="4298782" y="879865"/>
                  <a:pt x="4390999" y="441560"/>
                  <a:pt x="4411613" y="1628"/>
                </a:cubicBezTo>
                <a:close/>
                <a:moveTo>
                  <a:pt x="3875123" y="1628"/>
                </a:moveTo>
                <a:lnTo>
                  <a:pt x="3891940" y="1628"/>
                </a:lnTo>
                <a:cubicBezTo>
                  <a:pt x="3878920" y="491467"/>
                  <a:pt x="3791042" y="978592"/>
                  <a:pt x="3622881" y="1460836"/>
                </a:cubicBezTo>
                <a:cubicBezTo>
                  <a:pt x="3568635" y="1613808"/>
                  <a:pt x="3505168" y="1766780"/>
                  <a:pt x="3446582" y="1914329"/>
                </a:cubicBezTo>
                <a:cubicBezTo>
                  <a:pt x="3325072" y="2215392"/>
                  <a:pt x="3198680" y="2528932"/>
                  <a:pt x="3140095" y="2842471"/>
                </a:cubicBezTo>
                <a:cubicBezTo>
                  <a:pt x="3051677" y="3319290"/>
                  <a:pt x="3114600" y="3803704"/>
                  <a:pt x="3186204" y="4172031"/>
                </a:cubicBezTo>
                <a:cubicBezTo>
                  <a:pt x="3290899" y="4750289"/>
                  <a:pt x="3488351" y="5499422"/>
                  <a:pt x="4047082" y="6173153"/>
                </a:cubicBezTo>
                <a:cubicBezTo>
                  <a:pt x="4160455" y="6310393"/>
                  <a:pt x="4286847" y="6445465"/>
                  <a:pt x="4429513" y="6572400"/>
                </a:cubicBezTo>
                <a:cubicBezTo>
                  <a:pt x="4484641" y="6623256"/>
                  <a:pt x="4542192" y="6673628"/>
                  <a:pt x="4602120" y="6723496"/>
                </a:cubicBezTo>
                <a:lnTo>
                  <a:pt x="4771866" y="6858000"/>
                </a:lnTo>
                <a:lnTo>
                  <a:pt x="4748471" y="6858000"/>
                </a:lnTo>
                <a:lnTo>
                  <a:pt x="4586735" y="6730859"/>
                </a:lnTo>
                <a:cubicBezTo>
                  <a:pt x="4526392" y="6681171"/>
                  <a:pt x="4468366" y="6631053"/>
                  <a:pt x="4412697" y="6580537"/>
                </a:cubicBezTo>
                <a:cubicBezTo>
                  <a:pt x="4269490" y="6450890"/>
                  <a:pt x="4143639" y="6315818"/>
                  <a:pt x="4030265" y="6178577"/>
                </a:cubicBezTo>
                <a:cubicBezTo>
                  <a:pt x="3472078" y="5501592"/>
                  <a:pt x="3274625" y="4750289"/>
                  <a:pt x="3169387" y="4174744"/>
                </a:cubicBezTo>
                <a:cubicBezTo>
                  <a:pt x="3098327" y="3804247"/>
                  <a:pt x="3031061" y="3319290"/>
                  <a:pt x="3123279" y="2839759"/>
                </a:cubicBezTo>
                <a:cubicBezTo>
                  <a:pt x="3181863" y="2525677"/>
                  <a:pt x="3307714" y="2214850"/>
                  <a:pt x="3429766" y="1911616"/>
                </a:cubicBezTo>
                <a:cubicBezTo>
                  <a:pt x="3488351" y="1764068"/>
                  <a:pt x="3551277" y="1611096"/>
                  <a:pt x="3606065" y="1458123"/>
                </a:cubicBezTo>
                <a:cubicBezTo>
                  <a:pt x="3774227" y="978592"/>
                  <a:pt x="3862647" y="491467"/>
                  <a:pt x="3875123" y="1628"/>
                </a:cubicBezTo>
                <a:close/>
                <a:moveTo>
                  <a:pt x="2967596" y="1628"/>
                </a:moveTo>
                <a:lnTo>
                  <a:pt x="2984412" y="1628"/>
                </a:lnTo>
                <a:cubicBezTo>
                  <a:pt x="2996886" y="569037"/>
                  <a:pt x="2912807" y="1139159"/>
                  <a:pt x="2736509" y="1704398"/>
                </a:cubicBezTo>
                <a:cubicBezTo>
                  <a:pt x="2690400" y="1849777"/>
                  <a:pt x="2635610" y="1997325"/>
                  <a:pt x="2585163" y="2139990"/>
                </a:cubicBezTo>
                <a:cubicBezTo>
                  <a:pt x="2471790" y="2456243"/>
                  <a:pt x="2354078" y="2782801"/>
                  <a:pt x="2303629" y="3112071"/>
                </a:cubicBezTo>
                <a:cubicBezTo>
                  <a:pt x="2248841" y="3492877"/>
                  <a:pt x="2273794" y="3918163"/>
                  <a:pt x="2395845" y="4454651"/>
                </a:cubicBezTo>
                <a:cubicBezTo>
                  <a:pt x="2584622" y="5309562"/>
                  <a:pt x="2874835" y="5929048"/>
                  <a:pt x="3340804" y="6460655"/>
                </a:cubicBezTo>
                <a:cubicBezTo>
                  <a:pt x="3458517" y="6595183"/>
                  <a:pt x="3593046" y="6730254"/>
                  <a:pt x="3740052" y="6857190"/>
                </a:cubicBezTo>
                <a:lnTo>
                  <a:pt x="3741038" y="6858000"/>
                </a:lnTo>
                <a:lnTo>
                  <a:pt x="3722011" y="6858000"/>
                </a:lnTo>
                <a:lnTo>
                  <a:pt x="3516695" y="6667737"/>
                </a:lnTo>
                <a:cubicBezTo>
                  <a:pt x="3449566" y="6601286"/>
                  <a:pt x="3385556" y="6533885"/>
                  <a:pt x="3324530" y="6466620"/>
                </a:cubicBezTo>
                <a:cubicBezTo>
                  <a:pt x="2858019" y="5932843"/>
                  <a:pt x="2568346" y="5313359"/>
                  <a:pt x="2375233" y="4455193"/>
                </a:cubicBezTo>
                <a:cubicBezTo>
                  <a:pt x="2303629" y="4118328"/>
                  <a:pt x="2211411" y="3612759"/>
                  <a:pt x="2286813" y="3109903"/>
                </a:cubicBezTo>
                <a:cubicBezTo>
                  <a:pt x="2337259" y="2780631"/>
                  <a:pt x="2454974" y="2454072"/>
                  <a:pt x="2568346" y="2137821"/>
                </a:cubicBezTo>
                <a:cubicBezTo>
                  <a:pt x="2618794" y="1995155"/>
                  <a:pt x="2669244" y="1847607"/>
                  <a:pt x="2715351" y="1702229"/>
                </a:cubicBezTo>
                <a:cubicBezTo>
                  <a:pt x="2895991" y="1139701"/>
                  <a:pt x="2980072" y="569037"/>
                  <a:pt x="2967596" y="1628"/>
                </a:cubicBezTo>
                <a:close/>
                <a:moveTo>
                  <a:pt x="2781533" y="1628"/>
                </a:moveTo>
                <a:lnTo>
                  <a:pt x="2802687" y="1628"/>
                </a:lnTo>
                <a:cubicBezTo>
                  <a:pt x="2815165" y="584768"/>
                  <a:pt x="2735423" y="1170621"/>
                  <a:pt x="2554787" y="1751050"/>
                </a:cubicBezTo>
                <a:cubicBezTo>
                  <a:pt x="2513016" y="1896428"/>
                  <a:pt x="2462569" y="2043975"/>
                  <a:pt x="2412119" y="2183930"/>
                </a:cubicBezTo>
                <a:cubicBezTo>
                  <a:pt x="2298746" y="2502894"/>
                  <a:pt x="2185374" y="2834335"/>
                  <a:pt x="2139264" y="3163606"/>
                </a:cubicBezTo>
                <a:cubicBezTo>
                  <a:pt x="2084476" y="3547122"/>
                  <a:pt x="2113768" y="3975120"/>
                  <a:pt x="2235821" y="4508896"/>
                </a:cubicBezTo>
                <a:cubicBezTo>
                  <a:pt x="2357331" y="5039961"/>
                  <a:pt x="2588418" y="5828150"/>
                  <a:pt x="3197595" y="6517612"/>
                </a:cubicBezTo>
                <a:cubicBezTo>
                  <a:pt x="3258350" y="6584877"/>
                  <a:pt x="3322360" y="6652277"/>
                  <a:pt x="3390100" y="6718728"/>
                </a:cubicBezTo>
                <a:lnTo>
                  <a:pt x="3543243" y="6858000"/>
                </a:lnTo>
                <a:lnTo>
                  <a:pt x="3521208" y="6858000"/>
                </a:lnTo>
                <a:lnTo>
                  <a:pt x="3375656" y="6724152"/>
                </a:lnTo>
                <a:cubicBezTo>
                  <a:pt x="3307985" y="6657701"/>
                  <a:pt x="3243975" y="6590301"/>
                  <a:pt x="3185119" y="6523037"/>
                </a:cubicBezTo>
                <a:cubicBezTo>
                  <a:pt x="2571602" y="5830862"/>
                  <a:pt x="2341058" y="5043217"/>
                  <a:pt x="2219005" y="4511610"/>
                </a:cubicBezTo>
                <a:cubicBezTo>
                  <a:pt x="2096953" y="3977288"/>
                  <a:pt x="2063319" y="3547122"/>
                  <a:pt x="2118109" y="3163606"/>
                </a:cubicBezTo>
                <a:cubicBezTo>
                  <a:pt x="2168558" y="2831622"/>
                  <a:pt x="2281931" y="2502894"/>
                  <a:pt x="2395304" y="2181217"/>
                </a:cubicBezTo>
                <a:cubicBezTo>
                  <a:pt x="2441413" y="2041264"/>
                  <a:pt x="2496201" y="1896428"/>
                  <a:pt x="2537968" y="1751050"/>
                </a:cubicBezTo>
                <a:cubicBezTo>
                  <a:pt x="2718608" y="1170621"/>
                  <a:pt x="2798349" y="584768"/>
                  <a:pt x="2781533" y="1628"/>
                </a:cubicBezTo>
                <a:close/>
                <a:moveTo>
                  <a:pt x="2601437" y="1628"/>
                </a:moveTo>
                <a:lnTo>
                  <a:pt x="2618253" y="1628"/>
                </a:lnTo>
                <a:cubicBezTo>
                  <a:pt x="2639409" y="600500"/>
                  <a:pt x="2559668" y="1204254"/>
                  <a:pt x="2379030" y="1800413"/>
                </a:cubicBezTo>
                <a:cubicBezTo>
                  <a:pt x="2336718" y="1945249"/>
                  <a:pt x="2286271" y="2087915"/>
                  <a:pt x="2240161" y="2227868"/>
                </a:cubicBezTo>
                <a:cubicBezTo>
                  <a:pt x="2130585" y="2551716"/>
                  <a:pt x="2017211" y="2883698"/>
                  <a:pt x="1971101" y="3217851"/>
                </a:cubicBezTo>
                <a:cubicBezTo>
                  <a:pt x="1916858" y="3604080"/>
                  <a:pt x="1954286" y="4032077"/>
                  <a:pt x="2076338" y="4565854"/>
                </a:cubicBezTo>
                <a:cubicBezTo>
                  <a:pt x="2278133" y="5411000"/>
                  <a:pt x="2588958" y="6048387"/>
                  <a:pt x="3059271" y="6574569"/>
                </a:cubicBezTo>
                <a:cubicBezTo>
                  <a:pt x="3120025" y="6641834"/>
                  <a:pt x="3184034" y="6709234"/>
                  <a:pt x="3251774" y="6775685"/>
                </a:cubicBezTo>
                <a:lnTo>
                  <a:pt x="3342286" y="6858000"/>
                </a:lnTo>
                <a:lnTo>
                  <a:pt x="3323253" y="6858000"/>
                </a:lnTo>
                <a:lnTo>
                  <a:pt x="3237330" y="6780568"/>
                </a:lnTo>
                <a:cubicBezTo>
                  <a:pt x="3168574" y="6714117"/>
                  <a:pt x="3103480" y="6646716"/>
                  <a:pt x="3042453" y="6579451"/>
                </a:cubicBezTo>
                <a:cubicBezTo>
                  <a:pt x="2572143" y="6053269"/>
                  <a:pt x="2256977" y="5413172"/>
                  <a:pt x="2059523" y="4568025"/>
                </a:cubicBezTo>
                <a:cubicBezTo>
                  <a:pt x="1933131" y="4034247"/>
                  <a:pt x="1899498" y="3604080"/>
                  <a:pt x="1954286" y="3217851"/>
                </a:cubicBezTo>
                <a:cubicBezTo>
                  <a:pt x="1996598" y="2883698"/>
                  <a:pt x="2109971" y="2549544"/>
                  <a:pt x="2223343" y="2227868"/>
                </a:cubicBezTo>
                <a:cubicBezTo>
                  <a:pt x="2269997" y="2087915"/>
                  <a:pt x="2320443" y="1943079"/>
                  <a:pt x="2362214" y="1797702"/>
                </a:cubicBezTo>
                <a:cubicBezTo>
                  <a:pt x="2542852" y="1201541"/>
                  <a:pt x="2622594" y="597787"/>
                  <a:pt x="2601437" y="1628"/>
                </a:cubicBezTo>
                <a:close/>
                <a:moveTo>
                  <a:pt x="2417001" y="1628"/>
                </a:moveTo>
                <a:lnTo>
                  <a:pt x="2438158" y="1628"/>
                </a:lnTo>
                <a:cubicBezTo>
                  <a:pt x="2463111" y="616231"/>
                  <a:pt x="2383370" y="1235717"/>
                  <a:pt x="2202731" y="1849777"/>
                </a:cubicBezTo>
                <a:cubicBezTo>
                  <a:pt x="2160420" y="1992442"/>
                  <a:pt x="2114310" y="2135108"/>
                  <a:pt x="2068202" y="2275062"/>
                </a:cubicBezTo>
                <a:cubicBezTo>
                  <a:pt x="1958626" y="2599451"/>
                  <a:pt x="1845253" y="2936316"/>
                  <a:pt x="1803485" y="3273182"/>
                </a:cubicBezTo>
                <a:cubicBezTo>
                  <a:pt x="1753036" y="3661580"/>
                  <a:pt x="1791007" y="4089578"/>
                  <a:pt x="1921196" y="4623354"/>
                </a:cubicBezTo>
                <a:cubicBezTo>
                  <a:pt x="2122990" y="5468502"/>
                  <a:pt x="2441954" y="6105888"/>
                  <a:pt x="2916605" y="6632070"/>
                </a:cubicBezTo>
                <a:cubicBezTo>
                  <a:pt x="2977631" y="6699334"/>
                  <a:pt x="3042726" y="6766734"/>
                  <a:pt x="3111482" y="6833185"/>
                </a:cubicBezTo>
                <a:lnTo>
                  <a:pt x="3139018" y="6858000"/>
                </a:lnTo>
                <a:lnTo>
                  <a:pt x="3120520" y="6858000"/>
                </a:lnTo>
                <a:lnTo>
                  <a:pt x="3099004" y="6838611"/>
                </a:lnTo>
                <a:cubicBezTo>
                  <a:pt x="3030248" y="6772160"/>
                  <a:pt x="2965153" y="6704760"/>
                  <a:pt x="2904126" y="6637495"/>
                </a:cubicBezTo>
                <a:cubicBezTo>
                  <a:pt x="2425138" y="6111313"/>
                  <a:pt x="2105632" y="5471215"/>
                  <a:pt x="1900040" y="4626066"/>
                </a:cubicBezTo>
                <a:cubicBezTo>
                  <a:pt x="1774192" y="4092289"/>
                  <a:pt x="1736220" y="3662123"/>
                  <a:pt x="1786667" y="3270470"/>
                </a:cubicBezTo>
                <a:cubicBezTo>
                  <a:pt x="1828438" y="2933061"/>
                  <a:pt x="1941810" y="2596196"/>
                  <a:pt x="2047046" y="2272351"/>
                </a:cubicBezTo>
                <a:cubicBezTo>
                  <a:pt x="2093698" y="2132395"/>
                  <a:pt x="2144145" y="1989730"/>
                  <a:pt x="2185916" y="1847065"/>
                </a:cubicBezTo>
                <a:cubicBezTo>
                  <a:pt x="2366554" y="1233004"/>
                  <a:pt x="2441954" y="613518"/>
                  <a:pt x="2417001" y="1628"/>
                </a:cubicBezTo>
                <a:close/>
                <a:moveTo>
                  <a:pt x="2235821" y="1628"/>
                </a:moveTo>
                <a:lnTo>
                  <a:pt x="2252636" y="1628"/>
                </a:lnTo>
                <a:cubicBezTo>
                  <a:pt x="2281931" y="629250"/>
                  <a:pt x="2206528" y="1266636"/>
                  <a:pt x="2025891" y="1899140"/>
                </a:cubicBezTo>
                <a:cubicBezTo>
                  <a:pt x="1983581" y="2039094"/>
                  <a:pt x="1937470" y="2181760"/>
                  <a:pt x="1891360" y="2316289"/>
                </a:cubicBezTo>
                <a:cubicBezTo>
                  <a:pt x="1786667" y="2645559"/>
                  <a:pt x="1677092" y="2985137"/>
                  <a:pt x="1635322" y="3327426"/>
                </a:cubicBezTo>
                <a:cubicBezTo>
                  <a:pt x="1589213" y="3715825"/>
                  <a:pt x="1630983" y="4146536"/>
                  <a:pt x="1761172" y="4680313"/>
                </a:cubicBezTo>
                <a:cubicBezTo>
                  <a:pt x="1971101" y="5522747"/>
                  <a:pt x="2294949" y="6162846"/>
                  <a:pt x="2777736" y="6689028"/>
                </a:cubicBezTo>
                <a:lnTo>
                  <a:pt x="2943569" y="6858000"/>
                </a:lnTo>
                <a:lnTo>
                  <a:pt x="2921504" y="6858000"/>
                </a:lnTo>
                <a:lnTo>
                  <a:pt x="2760920" y="6694452"/>
                </a:lnTo>
                <a:cubicBezTo>
                  <a:pt x="2277590" y="6165558"/>
                  <a:pt x="1954286" y="5527629"/>
                  <a:pt x="1744356" y="4680313"/>
                </a:cubicBezTo>
                <a:cubicBezTo>
                  <a:pt x="1610370" y="4146536"/>
                  <a:pt x="1572397" y="3716368"/>
                  <a:pt x="1618506" y="3324715"/>
                </a:cubicBezTo>
                <a:cubicBezTo>
                  <a:pt x="1660276" y="2985137"/>
                  <a:pt x="1769310" y="2642848"/>
                  <a:pt x="1874544" y="2316289"/>
                </a:cubicBezTo>
                <a:cubicBezTo>
                  <a:pt x="1920654" y="2179047"/>
                  <a:pt x="1966762" y="2036380"/>
                  <a:pt x="2004736" y="1896428"/>
                </a:cubicBezTo>
                <a:cubicBezTo>
                  <a:pt x="2189711" y="1263925"/>
                  <a:pt x="2265113" y="628707"/>
                  <a:pt x="2235821" y="1628"/>
                </a:cubicBezTo>
                <a:close/>
                <a:moveTo>
                  <a:pt x="396352" y="1628"/>
                </a:moveTo>
                <a:lnTo>
                  <a:pt x="413168" y="1628"/>
                </a:lnTo>
                <a:cubicBezTo>
                  <a:pt x="413168" y="9223"/>
                  <a:pt x="413168" y="17360"/>
                  <a:pt x="413168" y="24955"/>
                </a:cubicBezTo>
                <a:cubicBezTo>
                  <a:pt x="484773" y="784392"/>
                  <a:pt x="429986" y="1577463"/>
                  <a:pt x="249348" y="2383554"/>
                </a:cubicBezTo>
                <a:cubicBezTo>
                  <a:pt x="223851" y="2505064"/>
                  <a:pt x="194560" y="2627116"/>
                  <a:pt x="165265" y="2743744"/>
                </a:cubicBezTo>
                <a:cubicBezTo>
                  <a:pt x="118886" y="2926552"/>
                  <a:pt x="72642" y="3112479"/>
                  <a:pt x="35890" y="3299695"/>
                </a:cubicBezTo>
                <a:lnTo>
                  <a:pt x="0" y="3515440"/>
                </a:lnTo>
                <a:lnTo>
                  <a:pt x="0" y="3413219"/>
                </a:lnTo>
                <a:lnTo>
                  <a:pt x="19277" y="3297321"/>
                </a:lnTo>
                <a:cubicBezTo>
                  <a:pt x="56097" y="3109767"/>
                  <a:pt x="102341" y="2923840"/>
                  <a:pt x="148449" y="2741032"/>
                </a:cubicBezTo>
                <a:cubicBezTo>
                  <a:pt x="173945" y="2624404"/>
                  <a:pt x="203238" y="2502894"/>
                  <a:pt x="232530" y="2383554"/>
                </a:cubicBezTo>
                <a:cubicBezTo>
                  <a:pt x="413168" y="1577463"/>
                  <a:pt x="467957" y="784392"/>
                  <a:pt x="396352" y="24955"/>
                </a:cubicBezTo>
                <a:cubicBezTo>
                  <a:pt x="396352" y="17360"/>
                  <a:pt x="396352" y="9223"/>
                  <a:pt x="396352" y="1628"/>
                </a:cubicBezTo>
                <a:close/>
                <a:moveTo>
                  <a:pt x="5479167" y="1086"/>
                </a:moveTo>
                <a:lnTo>
                  <a:pt x="5495983" y="1086"/>
                </a:lnTo>
                <a:cubicBezTo>
                  <a:pt x="5449873" y="346088"/>
                  <a:pt x="5357656" y="688377"/>
                  <a:pt x="5218787" y="1022531"/>
                </a:cubicBezTo>
                <a:cubicBezTo>
                  <a:pt x="5151523" y="1183097"/>
                  <a:pt x="5075579" y="1343666"/>
                  <a:pt x="5000176" y="1499350"/>
                </a:cubicBezTo>
                <a:cubicBezTo>
                  <a:pt x="4861310" y="1776544"/>
                  <a:pt x="4722982" y="2064046"/>
                  <a:pt x="4647581" y="2358057"/>
                </a:cubicBezTo>
                <a:cubicBezTo>
                  <a:pt x="4525528" y="2808839"/>
                  <a:pt x="4559161" y="3272640"/>
                  <a:pt x="4609609" y="3664292"/>
                </a:cubicBezTo>
                <a:cubicBezTo>
                  <a:pt x="4676873" y="4242009"/>
                  <a:pt x="4823879" y="4991140"/>
                  <a:pt x="5315344" y="5659989"/>
                </a:cubicBezTo>
                <a:cubicBezTo>
                  <a:pt x="5633020" y="6092258"/>
                  <a:pt x="6108135" y="6499524"/>
                  <a:pt x="6698707" y="6851723"/>
                </a:cubicBezTo>
                <a:lnTo>
                  <a:pt x="6710000" y="6858000"/>
                </a:lnTo>
                <a:lnTo>
                  <a:pt x="6682458" y="6858000"/>
                </a:lnTo>
                <a:lnTo>
                  <a:pt x="6369337" y="6660278"/>
                </a:lnTo>
                <a:cubicBezTo>
                  <a:pt x="5920182" y="6354333"/>
                  <a:pt x="5558908" y="6020179"/>
                  <a:pt x="5298529" y="5664871"/>
                </a:cubicBezTo>
                <a:cubicBezTo>
                  <a:pt x="4807063" y="4996023"/>
                  <a:pt x="4660057" y="4244721"/>
                  <a:pt x="4588453" y="3666464"/>
                </a:cubicBezTo>
                <a:cubicBezTo>
                  <a:pt x="4542345" y="3272640"/>
                  <a:pt x="4508712" y="2808296"/>
                  <a:pt x="4626425" y="2354803"/>
                </a:cubicBezTo>
                <a:cubicBezTo>
                  <a:pt x="4706167" y="2061877"/>
                  <a:pt x="4844493" y="1773833"/>
                  <a:pt x="4983360" y="1496638"/>
                </a:cubicBezTo>
                <a:cubicBezTo>
                  <a:pt x="5059304" y="1341495"/>
                  <a:pt x="5134707" y="1180386"/>
                  <a:pt x="5201971" y="1019818"/>
                </a:cubicBezTo>
                <a:cubicBezTo>
                  <a:pt x="5340297" y="685123"/>
                  <a:pt x="5433058" y="343377"/>
                  <a:pt x="5479167" y="1086"/>
                </a:cubicBezTo>
                <a:close/>
                <a:moveTo>
                  <a:pt x="4236941" y="1086"/>
                </a:moveTo>
                <a:lnTo>
                  <a:pt x="4253757" y="1086"/>
                </a:lnTo>
                <a:cubicBezTo>
                  <a:pt x="4232603" y="460004"/>
                  <a:pt x="4140384" y="913497"/>
                  <a:pt x="3976562" y="1362108"/>
                </a:cubicBezTo>
                <a:cubicBezTo>
                  <a:pt x="3921775" y="1517793"/>
                  <a:pt x="3854510" y="1673478"/>
                  <a:pt x="3791584" y="1823738"/>
                </a:cubicBezTo>
                <a:cubicBezTo>
                  <a:pt x="3669533" y="2119377"/>
                  <a:pt x="3539342" y="2424780"/>
                  <a:pt x="3476418" y="2733437"/>
                </a:cubicBezTo>
                <a:cubicBezTo>
                  <a:pt x="3379319" y="3207544"/>
                  <a:pt x="3438445" y="3689787"/>
                  <a:pt x="3501371" y="4060285"/>
                </a:cubicBezTo>
                <a:cubicBezTo>
                  <a:pt x="3601726" y="4635831"/>
                  <a:pt x="3786703" y="5384964"/>
                  <a:pt x="4328618" y="6058694"/>
                </a:cubicBezTo>
                <a:cubicBezTo>
                  <a:pt x="4437650" y="6195934"/>
                  <a:pt x="4563500" y="6331006"/>
                  <a:pt x="4702370" y="6457941"/>
                </a:cubicBezTo>
                <a:cubicBezTo>
                  <a:pt x="4812624" y="6561008"/>
                  <a:pt x="4931794" y="6661770"/>
                  <a:pt x="5059754" y="6760124"/>
                </a:cubicBezTo>
                <a:lnTo>
                  <a:pt x="5193099" y="6858000"/>
                </a:lnTo>
                <a:lnTo>
                  <a:pt x="5167772" y="6858000"/>
                </a:lnTo>
                <a:lnTo>
                  <a:pt x="5043684" y="6767235"/>
                </a:lnTo>
                <a:cubicBezTo>
                  <a:pt x="4915249" y="6668923"/>
                  <a:pt x="4795807" y="6568467"/>
                  <a:pt x="4685552" y="6466078"/>
                </a:cubicBezTo>
                <a:cubicBezTo>
                  <a:pt x="4547226" y="6336432"/>
                  <a:pt x="4420833" y="6201360"/>
                  <a:pt x="4311801" y="6064118"/>
                </a:cubicBezTo>
                <a:cubicBezTo>
                  <a:pt x="3770429" y="5389845"/>
                  <a:pt x="3585452" y="4638545"/>
                  <a:pt x="3484555" y="4060285"/>
                </a:cubicBezTo>
                <a:cubicBezTo>
                  <a:pt x="3421629" y="3689787"/>
                  <a:pt x="3358705" y="3205375"/>
                  <a:pt x="3459602" y="2733437"/>
                </a:cubicBezTo>
                <a:cubicBezTo>
                  <a:pt x="3522528" y="2422610"/>
                  <a:pt x="3652716" y="2116666"/>
                  <a:pt x="3774769" y="1821026"/>
                </a:cubicBezTo>
                <a:cubicBezTo>
                  <a:pt x="3837694" y="1670225"/>
                  <a:pt x="3904957" y="1515081"/>
                  <a:pt x="3959747" y="1359397"/>
                </a:cubicBezTo>
                <a:cubicBezTo>
                  <a:pt x="4123569" y="913497"/>
                  <a:pt x="4215786" y="457291"/>
                  <a:pt x="4236941" y="1086"/>
                </a:cubicBezTo>
                <a:close/>
                <a:moveTo>
                  <a:pt x="4055219" y="1086"/>
                </a:moveTo>
                <a:lnTo>
                  <a:pt x="4072035" y="1086"/>
                </a:lnTo>
                <a:cubicBezTo>
                  <a:pt x="4055219" y="475193"/>
                  <a:pt x="3967340" y="947129"/>
                  <a:pt x="3799179" y="1410929"/>
                </a:cubicBezTo>
                <a:cubicBezTo>
                  <a:pt x="3744390" y="1563903"/>
                  <a:pt x="3681467" y="1719588"/>
                  <a:pt x="3618541" y="1869848"/>
                </a:cubicBezTo>
                <a:cubicBezTo>
                  <a:pt x="3496489" y="2168199"/>
                  <a:pt x="3370638" y="2476856"/>
                  <a:pt x="3307714" y="2787684"/>
                </a:cubicBezTo>
                <a:cubicBezTo>
                  <a:pt x="3215497" y="3261791"/>
                  <a:pt x="3278420" y="3746204"/>
                  <a:pt x="3341346" y="4114531"/>
                </a:cubicBezTo>
                <a:cubicBezTo>
                  <a:pt x="3446040" y="4692789"/>
                  <a:pt x="3635357" y="5441922"/>
                  <a:pt x="4185408" y="6115652"/>
                </a:cubicBezTo>
                <a:cubicBezTo>
                  <a:pt x="4298782" y="6252893"/>
                  <a:pt x="4424631" y="6387965"/>
                  <a:pt x="4563500" y="6514900"/>
                </a:cubicBezTo>
                <a:cubicBezTo>
                  <a:pt x="4674839" y="6617289"/>
                  <a:pt x="4795095" y="6717575"/>
                  <a:pt x="4924140" y="6815633"/>
                </a:cubicBezTo>
                <a:lnTo>
                  <a:pt x="4982461" y="6858000"/>
                </a:lnTo>
                <a:lnTo>
                  <a:pt x="4957779" y="6858000"/>
                </a:lnTo>
                <a:lnTo>
                  <a:pt x="4909833" y="6823167"/>
                </a:lnTo>
                <a:cubicBezTo>
                  <a:pt x="4780991" y="6725237"/>
                  <a:pt x="4661278" y="6625290"/>
                  <a:pt x="4551024" y="6523579"/>
                </a:cubicBezTo>
                <a:cubicBezTo>
                  <a:pt x="4408358" y="6393932"/>
                  <a:pt x="4281965" y="6258860"/>
                  <a:pt x="4172932" y="6121620"/>
                </a:cubicBezTo>
                <a:cubicBezTo>
                  <a:pt x="3618541" y="5444634"/>
                  <a:pt x="3429766" y="4696045"/>
                  <a:pt x="3324530" y="4117786"/>
                </a:cubicBezTo>
                <a:cubicBezTo>
                  <a:pt x="3257265" y="3747289"/>
                  <a:pt x="3194341" y="3262333"/>
                  <a:pt x="3290899" y="2785514"/>
                </a:cubicBezTo>
                <a:cubicBezTo>
                  <a:pt x="3353822" y="2474144"/>
                  <a:pt x="3479672" y="2165487"/>
                  <a:pt x="3601726" y="1867678"/>
                </a:cubicBezTo>
                <a:cubicBezTo>
                  <a:pt x="3664649" y="1717416"/>
                  <a:pt x="3727575" y="1561731"/>
                  <a:pt x="3782363" y="1408760"/>
                </a:cubicBezTo>
                <a:cubicBezTo>
                  <a:pt x="3946184" y="944417"/>
                  <a:pt x="4038402" y="473023"/>
                  <a:pt x="4055219" y="1086"/>
                </a:cubicBezTo>
                <a:close/>
                <a:moveTo>
                  <a:pt x="3693943" y="1086"/>
                </a:moveTo>
                <a:lnTo>
                  <a:pt x="3710759" y="1086"/>
                </a:lnTo>
                <a:cubicBezTo>
                  <a:pt x="3702080" y="506655"/>
                  <a:pt x="3614202" y="1012224"/>
                  <a:pt x="3446040" y="1509656"/>
                </a:cubicBezTo>
                <a:cubicBezTo>
                  <a:pt x="3391795" y="1659916"/>
                  <a:pt x="3332667" y="1812889"/>
                  <a:pt x="3274081" y="1960436"/>
                </a:cubicBezTo>
                <a:cubicBezTo>
                  <a:pt x="3156369" y="2263670"/>
                  <a:pt x="3030519" y="2577210"/>
                  <a:pt x="2975731" y="2893463"/>
                </a:cubicBezTo>
                <a:cubicBezTo>
                  <a:pt x="2883515" y="3375706"/>
                  <a:pt x="2954576" y="3860120"/>
                  <a:pt x="3026179" y="4228446"/>
                </a:cubicBezTo>
                <a:cubicBezTo>
                  <a:pt x="3193798" y="5083900"/>
                  <a:pt x="3462856" y="5703385"/>
                  <a:pt x="3903873" y="6232279"/>
                </a:cubicBezTo>
                <a:cubicBezTo>
                  <a:pt x="4017247" y="6366809"/>
                  <a:pt x="4147437" y="6501881"/>
                  <a:pt x="4290102" y="6628815"/>
                </a:cubicBezTo>
                <a:cubicBezTo>
                  <a:pt x="4345772" y="6679332"/>
                  <a:pt x="4403806" y="6729365"/>
                  <a:pt x="4464172" y="6778910"/>
                </a:cubicBezTo>
                <a:lnTo>
                  <a:pt x="4565238" y="6858000"/>
                </a:lnTo>
                <a:lnTo>
                  <a:pt x="4541100" y="6858000"/>
                </a:lnTo>
                <a:lnTo>
                  <a:pt x="4448231" y="6785881"/>
                </a:lnTo>
                <a:cubicBezTo>
                  <a:pt x="4387457" y="6736485"/>
                  <a:pt x="4328956" y="6686655"/>
                  <a:pt x="4272745" y="6636410"/>
                </a:cubicBezTo>
                <a:cubicBezTo>
                  <a:pt x="4134417" y="6506762"/>
                  <a:pt x="4004228" y="6371690"/>
                  <a:pt x="3886514" y="6234449"/>
                </a:cubicBezTo>
                <a:cubicBezTo>
                  <a:pt x="3445498" y="5706097"/>
                  <a:pt x="3176982" y="5086613"/>
                  <a:pt x="3008821" y="4228446"/>
                </a:cubicBezTo>
                <a:cubicBezTo>
                  <a:pt x="2937218" y="3860120"/>
                  <a:pt x="2865613" y="3375706"/>
                  <a:pt x="2954034" y="2893463"/>
                </a:cubicBezTo>
                <a:cubicBezTo>
                  <a:pt x="3013161" y="2577210"/>
                  <a:pt x="3134671" y="2260959"/>
                  <a:pt x="3256723" y="1957725"/>
                </a:cubicBezTo>
                <a:cubicBezTo>
                  <a:pt x="3315851" y="1810178"/>
                  <a:pt x="3374436" y="1657204"/>
                  <a:pt x="3424884" y="1506945"/>
                </a:cubicBezTo>
                <a:cubicBezTo>
                  <a:pt x="3597386" y="1009512"/>
                  <a:pt x="3685806" y="506655"/>
                  <a:pt x="3693943" y="1086"/>
                </a:cubicBezTo>
                <a:close/>
                <a:moveTo>
                  <a:pt x="3147690" y="1086"/>
                </a:moveTo>
                <a:lnTo>
                  <a:pt x="3164506" y="1086"/>
                </a:lnTo>
                <a:cubicBezTo>
                  <a:pt x="3172642" y="553306"/>
                  <a:pt x="3088562" y="1108239"/>
                  <a:pt x="2912265" y="1655035"/>
                </a:cubicBezTo>
                <a:cubicBezTo>
                  <a:pt x="2862358" y="1802583"/>
                  <a:pt x="2811910" y="1950131"/>
                  <a:pt x="2757122" y="2095508"/>
                </a:cubicBezTo>
                <a:cubicBezTo>
                  <a:pt x="2643205" y="2409049"/>
                  <a:pt x="2526037" y="2730726"/>
                  <a:pt x="2471247" y="3057284"/>
                </a:cubicBezTo>
                <a:cubicBezTo>
                  <a:pt x="2412119" y="3440800"/>
                  <a:pt x="2437616" y="3855237"/>
                  <a:pt x="2550987" y="4397151"/>
                </a:cubicBezTo>
                <a:cubicBezTo>
                  <a:pt x="2735966" y="5252061"/>
                  <a:pt x="3021297" y="5871547"/>
                  <a:pt x="3483470" y="6403154"/>
                </a:cubicBezTo>
                <a:cubicBezTo>
                  <a:pt x="3601183" y="6537683"/>
                  <a:pt x="3731372" y="6672755"/>
                  <a:pt x="3878377" y="6799690"/>
                </a:cubicBezTo>
                <a:lnTo>
                  <a:pt x="3948295" y="6858000"/>
                </a:lnTo>
                <a:lnTo>
                  <a:pt x="3925054" y="6858000"/>
                </a:lnTo>
                <a:lnTo>
                  <a:pt x="3861563" y="6805113"/>
                </a:lnTo>
                <a:cubicBezTo>
                  <a:pt x="3718896" y="6678178"/>
                  <a:pt x="3584366" y="6543107"/>
                  <a:pt x="3466654" y="6408577"/>
                </a:cubicBezTo>
                <a:cubicBezTo>
                  <a:pt x="3004481" y="5877515"/>
                  <a:pt x="2719151" y="5258028"/>
                  <a:pt x="2534172" y="4399863"/>
                </a:cubicBezTo>
                <a:cubicBezTo>
                  <a:pt x="2416459" y="3855237"/>
                  <a:pt x="2395845" y="3440800"/>
                  <a:pt x="2454430" y="3054571"/>
                </a:cubicBezTo>
                <a:cubicBezTo>
                  <a:pt x="2504879" y="2730184"/>
                  <a:pt x="2626933" y="2406336"/>
                  <a:pt x="2740306" y="2092797"/>
                </a:cubicBezTo>
                <a:cubicBezTo>
                  <a:pt x="2790211" y="1947961"/>
                  <a:pt x="2845001" y="1799871"/>
                  <a:pt x="2895448" y="1652323"/>
                </a:cubicBezTo>
                <a:cubicBezTo>
                  <a:pt x="3072288" y="1105527"/>
                  <a:pt x="3155827" y="553306"/>
                  <a:pt x="3147690" y="1086"/>
                </a:cubicBezTo>
                <a:close/>
                <a:moveTo>
                  <a:pt x="2051388" y="1086"/>
                </a:moveTo>
                <a:lnTo>
                  <a:pt x="2068202" y="1086"/>
                </a:lnTo>
                <a:cubicBezTo>
                  <a:pt x="2106174" y="643897"/>
                  <a:pt x="2030773" y="1297014"/>
                  <a:pt x="1845795" y="1947418"/>
                </a:cubicBezTo>
                <a:cubicBezTo>
                  <a:pt x="1808366" y="2085202"/>
                  <a:pt x="1766053" y="2225157"/>
                  <a:pt x="1719945" y="2359686"/>
                </a:cubicBezTo>
                <a:cubicBezTo>
                  <a:pt x="1614710" y="2691669"/>
                  <a:pt x="1509473" y="3036127"/>
                  <a:pt x="1467702" y="3378418"/>
                </a:cubicBezTo>
                <a:cubicBezTo>
                  <a:pt x="1425934" y="3772241"/>
                  <a:pt x="1467702" y="4202409"/>
                  <a:pt x="1602233" y="4734016"/>
                </a:cubicBezTo>
                <a:cubicBezTo>
                  <a:pt x="1820843" y="5579164"/>
                  <a:pt x="2148487" y="6219261"/>
                  <a:pt x="2635610" y="6745443"/>
                </a:cubicBezTo>
                <a:lnTo>
                  <a:pt x="2747940" y="6858000"/>
                </a:lnTo>
                <a:lnTo>
                  <a:pt x="2724848" y="6858000"/>
                </a:lnTo>
                <a:lnTo>
                  <a:pt x="2618794" y="6751411"/>
                </a:lnTo>
                <a:cubicBezTo>
                  <a:pt x="2131671" y="6222516"/>
                  <a:pt x="1804027" y="5582417"/>
                  <a:pt x="1585418" y="4737271"/>
                </a:cubicBezTo>
                <a:cubicBezTo>
                  <a:pt x="1450887" y="4202951"/>
                  <a:pt x="1409117" y="3772784"/>
                  <a:pt x="1450887" y="3378960"/>
                </a:cubicBezTo>
                <a:cubicBezTo>
                  <a:pt x="1488861" y="3033959"/>
                  <a:pt x="1597894" y="2691669"/>
                  <a:pt x="1703129" y="2357515"/>
                </a:cubicBezTo>
                <a:cubicBezTo>
                  <a:pt x="1744898" y="2222445"/>
                  <a:pt x="1791007" y="2082490"/>
                  <a:pt x="1828979" y="1945249"/>
                </a:cubicBezTo>
                <a:cubicBezTo>
                  <a:pt x="2013414" y="1294301"/>
                  <a:pt x="2085019" y="643897"/>
                  <a:pt x="2051388" y="1086"/>
                </a:cubicBezTo>
                <a:close/>
                <a:moveTo>
                  <a:pt x="1867492" y="1086"/>
                </a:moveTo>
                <a:lnTo>
                  <a:pt x="1888650" y="1086"/>
                </a:lnTo>
                <a:cubicBezTo>
                  <a:pt x="1926078" y="659085"/>
                  <a:pt x="1855017" y="1327934"/>
                  <a:pt x="1670038" y="1994070"/>
                </a:cubicBezTo>
                <a:cubicBezTo>
                  <a:pt x="1632067" y="2131311"/>
                  <a:pt x="1589756" y="2269095"/>
                  <a:pt x="1547986" y="2403625"/>
                </a:cubicBezTo>
                <a:cubicBezTo>
                  <a:pt x="1447090" y="2737777"/>
                  <a:pt x="1338056" y="3085492"/>
                  <a:pt x="1304425" y="3432664"/>
                </a:cubicBezTo>
                <a:cubicBezTo>
                  <a:pt x="1262111" y="3829198"/>
                  <a:pt x="1308220" y="4259366"/>
                  <a:pt x="1447090" y="4790975"/>
                </a:cubicBezTo>
                <a:cubicBezTo>
                  <a:pt x="1665701" y="5636121"/>
                  <a:pt x="2001480" y="6273506"/>
                  <a:pt x="2497284" y="6802402"/>
                </a:cubicBezTo>
                <a:lnTo>
                  <a:pt x="2552770" y="6858000"/>
                </a:lnTo>
                <a:lnTo>
                  <a:pt x="2530391" y="6858000"/>
                </a:lnTo>
                <a:lnTo>
                  <a:pt x="2480468" y="6807825"/>
                </a:lnTo>
                <a:cubicBezTo>
                  <a:pt x="1984664" y="6278931"/>
                  <a:pt x="1648884" y="5638834"/>
                  <a:pt x="1430274" y="4793686"/>
                </a:cubicBezTo>
                <a:cubicBezTo>
                  <a:pt x="1287609" y="4259366"/>
                  <a:pt x="1245296" y="3829198"/>
                  <a:pt x="1283269" y="3432664"/>
                </a:cubicBezTo>
                <a:cubicBezTo>
                  <a:pt x="1321240" y="3084949"/>
                  <a:pt x="1430274" y="2737777"/>
                  <a:pt x="1531170" y="2400912"/>
                </a:cubicBezTo>
                <a:cubicBezTo>
                  <a:pt x="1573482" y="2268553"/>
                  <a:pt x="1615252" y="2128600"/>
                  <a:pt x="1653223" y="1994070"/>
                </a:cubicBezTo>
                <a:cubicBezTo>
                  <a:pt x="1838202" y="1325764"/>
                  <a:pt x="1909262" y="656915"/>
                  <a:pt x="1867492" y="1086"/>
                </a:cubicBezTo>
                <a:close/>
                <a:moveTo>
                  <a:pt x="1685229" y="1086"/>
                </a:moveTo>
                <a:lnTo>
                  <a:pt x="1702045" y="1086"/>
                </a:lnTo>
                <a:cubicBezTo>
                  <a:pt x="1744356" y="672103"/>
                  <a:pt x="1677092" y="1359397"/>
                  <a:pt x="1492113" y="2043433"/>
                </a:cubicBezTo>
                <a:cubicBezTo>
                  <a:pt x="1454143" y="2177963"/>
                  <a:pt x="1412373" y="2315203"/>
                  <a:pt x="1374400" y="2447564"/>
                </a:cubicBezTo>
                <a:cubicBezTo>
                  <a:pt x="1274047" y="2784429"/>
                  <a:pt x="1168811" y="3137026"/>
                  <a:pt x="1135179" y="3486909"/>
                </a:cubicBezTo>
                <a:cubicBezTo>
                  <a:pt x="1097748" y="3883445"/>
                  <a:pt x="1143858" y="4316326"/>
                  <a:pt x="1286523" y="4847931"/>
                </a:cubicBezTo>
                <a:cubicBezTo>
                  <a:pt x="1484928" y="5585063"/>
                  <a:pt x="1770547" y="6167278"/>
                  <a:pt x="2173546" y="6655634"/>
                </a:cubicBezTo>
                <a:lnTo>
                  <a:pt x="2352333" y="6858000"/>
                </a:lnTo>
                <a:lnTo>
                  <a:pt x="2331196" y="6858000"/>
                </a:lnTo>
                <a:lnTo>
                  <a:pt x="2156574" y="6660662"/>
                </a:lnTo>
                <a:cubicBezTo>
                  <a:pt x="1753315" y="6172500"/>
                  <a:pt x="1468109" y="5589334"/>
                  <a:pt x="1269707" y="4847931"/>
                </a:cubicBezTo>
                <a:cubicBezTo>
                  <a:pt x="1126498" y="4316326"/>
                  <a:pt x="1076593" y="3883445"/>
                  <a:pt x="1118360" y="3486909"/>
                </a:cubicBezTo>
                <a:cubicBezTo>
                  <a:pt x="1151995" y="3134313"/>
                  <a:pt x="1256687" y="2784429"/>
                  <a:pt x="1357583" y="2444851"/>
                </a:cubicBezTo>
                <a:cubicBezTo>
                  <a:pt x="1395557" y="2313035"/>
                  <a:pt x="1437327" y="2175250"/>
                  <a:pt x="1475296" y="2040722"/>
                </a:cubicBezTo>
                <a:cubicBezTo>
                  <a:pt x="1655934" y="1356684"/>
                  <a:pt x="1726996" y="672647"/>
                  <a:pt x="1685229" y="1086"/>
                </a:cubicBezTo>
                <a:close/>
                <a:moveTo>
                  <a:pt x="1501334" y="1086"/>
                </a:moveTo>
                <a:lnTo>
                  <a:pt x="1518153" y="1086"/>
                </a:lnTo>
                <a:cubicBezTo>
                  <a:pt x="1568600" y="687835"/>
                  <a:pt x="1496998" y="1390316"/>
                  <a:pt x="1316358" y="2092797"/>
                </a:cubicBezTo>
                <a:cubicBezTo>
                  <a:pt x="1278387" y="2225157"/>
                  <a:pt x="1240957" y="2359686"/>
                  <a:pt x="1202986" y="2489332"/>
                </a:cubicBezTo>
                <a:cubicBezTo>
                  <a:pt x="1102087" y="2831622"/>
                  <a:pt x="1001191" y="3186389"/>
                  <a:pt x="967559" y="3541698"/>
                </a:cubicBezTo>
                <a:cubicBezTo>
                  <a:pt x="933926" y="3940403"/>
                  <a:pt x="984376" y="4373282"/>
                  <a:pt x="1127040" y="4904889"/>
                </a:cubicBezTo>
                <a:cubicBezTo>
                  <a:pt x="1333040" y="5642020"/>
                  <a:pt x="1622516" y="6224237"/>
                  <a:pt x="2029268" y="6712591"/>
                </a:cubicBezTo>
                <a:lnTo>
                  <a:pt x="2158886" y="6858000"/>
                </a:lnTo>
                <a:lnTo>
                  <a:pt x="2141652" y="6858000"/>
                </a:lnTo>
                <a:lnTo>
                  <a:pt x="2015538" y="6717531"/>
                </a:lnTo>
                <a:cubicBezTo>
                  <a:pt x="1606242" y="6228984"/>
                  <a:pt x="1316766" y="5644394"/>
                  <a:pt x="1110768" y="4904889"/>
                </a:cubicBezTo>
                <a:cubicBezTo>
                  <a:pt x="963762" y="4373825"/>
                  <a:pt x="913312" y="3940945"/>
                  <a:pt x="951284" y="3538985"/>
                </a:cubicBezTo>
                <a:cubicBezTo>
                  <a:pt x="981119" y="3184219"/>
                  <a:pt x="1085814" y="2831622"/>
                  <a:pt x="1186709" y="2489332"/>
                </a:cubicBezTo>
                <a:cubicBezTo>
                  <a:pt x="1224140" y="2356973"/>
                  <a:pt x="1262111" y="2222445"/>
                  <a:pt x="1295746" y="2090085"/>
                </a:cubicBezTo>
                <a:cubicBezTo>
                  <a:pt x="1480179" y="1387604"/>
                  <a:pt x="1547444" y="685123"/>
                  <a:pt x="1501334" y="1086"/>
                </a:cubicBezTo>
                <a:close/>
                <a:moveTo>
                  <a:pt x="1316901" y="1086"/>
                </a:moveTo>
                <a:lnTo>
                  <a:pt x="1333717" y="1086"/>
                </a:lnTo>
                <a:cubicBezTo>
                  <a:pt x="1388503" y="700853"/>
                  <a:pt x="1321240" y="1419067"/>
                  <a:pt x="1136262" y="2142160"/>
                </a:cubicBezTo>
                <a:cubicBezTo>
                  <a:pt x="1102630" y="2271808"/>
                  <a:pt x="1064659" y="2404167"/>
                  <a:pt x="1031027" y="2533814"/>
                </a:cubicBezTo>
                <a:cubicBezTo>
                  <a:pt x="930128" y="2878274"/>
                  <a:pt x="829234" y="3236295"/>
                  <a:pt x="799941" y="3593773"/>
                </a:cubicBezTo>
                <a:cubicBezTo>
                  <a:pt x="766308" y="3995190"/>
                  <a:pt x="820555" y="4430782"/>
                  <a:pt x="971898" y="4959678"/>
                </a:cubicBezTo>
                <a:cubicBezTo>
                  <a:pt x="1181694" y="5699181"/>
                  <a:pt x="1474552" y="6281695"/>
                  <a:pt x="1887905" y="6770087"/>
                </a:cubicBezTo>
                <a:lnTo>
                  <a:pt x="1967579" y="6858000"/>
                </a:lnTo>
                <a:lnTo>
                  <a:pt x="1944323" y="6858000"/>
                </a:lnTo>
                <a:lnTo>
                  <a:pt x="1871067" y="6776848"/>
                </a:lnTo>
                <a:cubicBezTo>
                  <a:pt x="1457617" y="6286484"/>
                  <a:pt x="1164403" y="5701894"/>
                  <a:pt x="955083" y="4962390"/>
                </a:cubicBezTo>
                <a:cubicBezTo>
                  <a:pt x="804279" y="4430782"/>
                  <a:pt x="749492" y="3997904"/>
                  <a:pt x="783124" y="3593773"/>
                </a:cubicBezTo>
                <a:cubicBezTo>
                  <a:pt x="812418" y="3236295"/>
                  <a:pt x="913312" y="2878274"/>
                  <a:pt x="1014212" y="2531102"/>
                </a:cubicBezTo>
                <a:cubicBezTo>
                  <a:pt x="1047843" y="2403625"/>
                  <a:pt x="1085814" y="2271808"/>
                  <a:pt x="1119447" y="2139448"/>
                </a:cubicBezTo>
                <a:cubicBezTo>
                  <a:pt x="1304425" y="1419067"/>
                  <a:pt x="1371688" y="700853"/>
                  <a:pt x="1316901" y="1086"/>
                </a:cubicBezTo>
                <a:close/>
                <a:moveTo>
                  <a:pt x="1131381" y="1086"/>
                </a:moveTo>
                <a:lnTo>
                  <a:pt x="1148196" y="1086"/>
                </a:lnTo>
                <a:cubicBezTo>
                  <a:pt x="1207326" y="713874"/>
                  <a:pt x="1144400" y="1449986"/>
                  <a:pt x="959422" y="2188812"/>
                </a:cubicBezTo>
                <a:cubicBezTo>
                  <a:pt x="925791" y="2318458"/>
                  <a:pt x="892157" y="2450817"/>
                  <a:pt x="858526" y="2575041"/>
                </a:cubicBezTo>
                <a:cubicBezTo>
                  <a:pt x="761969" y="2924924"/>
                  <a:pt x="661071" y="3287829"/>
                  <a:pt x="631777" y="3648020"/>
                </a:cubicBezTo>
                <a:cubicBezTo>
                  <a:pt x="602486" y="4052148"/>
                  <a:pt x="661071" y="4487740"/>
                  <a:pt x="812418" y="5016636"/>
                </a:cubicBezTo>
                <a:cubicBezTo>
                  <a:pt x="1025534" y="5756140"/>
                  <a:pt x="1325868" y="6338653"/>
                  <a:pt x="1743582" y="6827044"/>
                </a:cubicBezTo>
                <a:lnTo>
                  <a:pt x="1771889" y="6858000"/>
                </a:lnTo>
                <a:lnTo>
                  <a:pt x="1751982" y="6858000"/>
                </a:lnTo>
                <a:lnTo>
                  <a:pt x="1729154" y="6833027"/>
                </a:lnTo>
                <a:cubicBezTo>
                  <a:pt x="1308637" y="6341365"/>
                  <a:pt x="1008718" y="5758851"/>
                  <a:pt x="795600" y="5019348"/>
                </a:cubicBezTo>
                <a:cubicBezTo>
                  <a:pt x="644256" y="4487740"/>
                  <a:pt x="585670" y="4052148"/>
                  <a:pt x="614961" y="3648020"/>
                </a:cubicBezTo>
                <a:cubicBezTo>
                  <a:pt x="644256" y="3285116"/>
                  <a:pt x="740813" y="2924924"/>
                  <a:pt x="837370" y="2575041"/>
                </a:cubicBezTo>
                <a:cubicBezTo>
                  <a:pt x="875341" y="2448106"/>
                  <a:pt x="908975" y="2318458"/>
                  <a:pt x="942606" y="2188812"/>
                </a:cubicBezTo>
                <a:cubicBezTo>
                  <a:pt x="1127040" y="1449986"/>
                  <a:pt x="1189966" y="713874"/>
                  <a:pt x="1131381" y="1086"/>
                </a:cubicBezTo>
                <a:close/>
                <a:moveTo>
                  <a:pt x="946947" y="1086"/>
                </a:moveTo>
                <a:lnTo>
                  <a:pt x="968102" y="1086"/>
                </a:lnTo>
                <a:cubicBezTo>
                  <a:pt x="1026685" y="729605"/>
                  <a:pt x="968102" y="1481448"/>
                  <a:pt x="783124" y="2238175"/>
                </a:cubicBezTo>
                <a:cubicBezTo>
                  <a:pt x="749492" y="2365110"/>
                  <a:pt x="715861" y="2494757"/>
                  <a:pt x="682227" y="2618979"/>
                </a:cubicBezTo>
                <a:cubicBezTo>
                  <a:pt x="590010" y="2971576"/>
                  <a:pt x="492911" y="3336650"/>
                  <a:pt x="467957" y="3702263"/>
                </a:cubicBezTo>
                <a:cubicBezTo>
                  <a:pt x="438121" y="4109107"/>
                  <a:pt x="497249" y="4544699"/>
                  <a:pt x="656732" y="5073592"/>
                </a:cubicBezTo>
                <a:cubicBezTo>
                  <a:pt x="842660" y="5705012"/>
                  <a:pt x="1092359" y="6223228"/>
                  <a:pt x="1427113" y="6668060"/>
                </a:cubicBezTo>
                <a:lnTo>
                  <a:pt x="1580273" y="6858000"/>
                </a:lnTo>
                <a:lnTo>
                  <a:pt x="1558574" y="6858000"/>
                </a:lnTo>
                <a:lnTo>
                  <a:pt x="1409772" y="6673398"/>
                </a:lnTo>
                <a:cubicBezTo>
                  <a:pt x="1074967" y="6228313"/>
                  <a:pt x="824759" y="5709081"/>
                  <a:pt x="635576" y="5073592"/>
                </a:cubicBezTo>
                <a:cubicBezTo>
                  <a:pt x="480434" y="4544699"/>
                  <a:pt x="421848" y="4109107"/>
                  <a:pt x="446802" y="3702263"/>
                </a:cubicBezTo>
                <a:cubicBezTo>
                  <a:pt x="472296" y="3336650"/>
                  <a:pt x="573194" y="2968863"/>
                  <a:pt x="665412" y="2616267"/>
                </a:cubicBezTo>
                <a:cubicBezTo>
                  <a:pt x="699043" y="2492044"/>
                  <a:pt x="732677" y="2362398"/>
                  <a:pt x="766308" y="2235463"/>
                </a:cubicBezTo>
                <a:cubicBezTo>
                  <a:pt x="946947" y="1478736"/>
                  <a:pt x="1009869" y="726892"/>
                  <a:pt x="946947" y="1086"/>
                </a:cubicBezTo>
                <a:close/>
                <a:moveTo>
                  <a:pt x="761427" y="1086"/>
                </a:moveTo>
                <a:lnTo>
                  <a:pt x="782582" y="1086"/>
                </a:lnTo>
                <a:cubicBezTo>
                  <a:pt x="845505" y="742082"/>
                  <a:pt x="786920" y="1509656"/>
                  <a:pt x="606284" y="2286996"/>
                </a:cubicBezTo>
                <a:cubicBezTo>
                  <a:pt x="576991" y="2411218"/>
                  <a:pt x="543358" y="2538153"/>
                  <a:pt x="509728" y="2660207"/>
                </a:cubicBezTo>
                <a:cubicBezTo>
                  <a:pt x="417510" y="3017686"/>
                  <a:pt x="320950" y="3386011"/>
                  <a:pt x="299795" y="3756510"/>
                </a:cubicBezTo>
                <a:cubicBezTo>
                  <a:pt x="274843" y="4158470"/>
                  <a:pt x="337766" y="4607080"/>
                  <a:pt x="497249" y="5127839"/>
                </a:cubicBezTo>
                <a:cubicBezTo>
                  <a:pt x="689686" y="5761292"/>
                  <a:pt x="943147" y="6280016"/>
                  <a:pt x="1281208" y="6724974"/>
                </a:cubicBezTo>
                <a:lnTo>
                  <a:pt x="1389455" y="6858000"/>
                </a:lnTo>
                <a:lnTo>
                  <a:pt x="1370500" y="6858000"/>
                </a:lnTo>
                <a:lnTo>
                  <a:pt x="1265918" y="6730051"/>
                </a:lnTo>
                <a:cubicBezTo>
                  <a:pt x="926129" y="6284458"/>
                  <a:pt x="672463" y="5764412"/>
                  <a:pt x="480434" y="5130551"/>
                </a:cubicBezTo>
                <a:cubicBezTo>
                  <a:pt x="320950" y="4609794"/>
                  <a:pt x="258027" y="4159012"/>
                  <a:pt x="282979" y="3757052"/>
                </a:cubicBezTo>
                <a:cubicBezTo>
                  <a:pt x="304134" y="3386555"/>
                  <a:pt x="400692" y="3015514"/>
                  <a:pt x="492911" y="2658035"/>
                </a:cubicBezTo>
                <a:cubicBezTo>
                  <a:pt x="526542" y="2535984"/>
                  <a:pt x="555835" y="2409049"/>
                  <a:pt x="585128" y="2284827"/>
                </a:cubicBezTo>
                <a:cubicBezTo>
                  <a:pt x="769561" y="1509656"/>
                  <a:pt x="828691" y="739910"/>
                  <a:pt x="761427" y="1086"/>
                </a:cubicBezTo>
                <a:close/>
                <a:moveTo>
                  <a:pt x="581330" y="1086"/>
                </a:moveTo>
                <a:lnTo>
                  <a:pt x="598146" y="1086"/>
                </a:lnTo>
                <a:cubicBezTo>
                  <a:pt x="669751" y="755100"/>
                  <a:pt x="611166" y="1540576"/>
                  <a:pt x="426187" y="2336360"/>
                </a:cubicBezTo>
                <a:cubicBezTo>
                  <a:pt x="400692" y="2458412"/>
                  <a:pt x="367060" y="2582635"/>
                  <a:pt x="337766" y="2701975"/>
                </a:cubicBezTo>
                <a:cubicBezTo>
                  <a:pt x="245548" y="3062166"/>
                  <a:pt x="153332" y="3438088"/>
                  <a:pt x="132176" y="3808585"/>
                </a:cubicBezTo>
                <a:cubicBezTo>
                  <a:pt x="111020" y="4215427"/>
                  <a:pt x="178284" y="4664039"/>
                  <a:pt x="337766" y="5184796"/>
                </a:cubicBezTo>
                <a:cubicBezTo>
                  <a:pt x="533051" y="5818251"/>
                  <a:pt x="792108" y="6336974"/>
                  <a:pt x="1136221" y="6781932"/>
                </a:cubicBezTo>
                <a:lnTo>
                  <a:pt x="1199192" y="6858000"/>
                </a:lnTo>
                <a:lnTo>
                  <a:pt x="1178104" y="6858000"/>
                </a:lnTo>
                <a:lnTo>
                  <a:pt x="1119405" y="6787010"/>
                </a:lnTo>
                <a:cubicBezTo>
                  <a:pt x="775293" y="6341416"/>
                  <a:pt x="516235" y="5821370"/>
                  <a:pt x="320950" y="5187509"/>
                </a:cubicBezTo>
                <a:cubicBezTo>
                  <a:pt x="161469" y="4666751"/>
                  <a:pt x="94204" y="4215427"/>
                  <a:pt x="115360" y="3808585"/>
                </a:cubicBezTo>
                <a:cubicBezTo>
                  <a:pt x="135974" y="3435376"/>
                  <a:pt x="228733" y="3062166"/>
                  <a:pt x="320950" y="2699264"/>
                </a:cubicBezTo>
                <a:cubicBezTo>
                  <a:pt x="350786" y="2579922"/>
                  <a:pt x="380078" y="2455700"/>
                  <a:pt x="409371" y="2333648"/>
                </a:cubicBezTo>
                <a:cubicBezTo>
                  <a:pt x="593806" y="1538406"/>
                  <a:pt x="648596" y="752930"/>
                  <a:pt x="581330" y="1086"/>
                </a:cubicBezTo>
                <a:close/>
                <a:moveTo>
                  <a:pt x="211917" y="1086"/>
                </a:moveTo>
                <a:lnTo>
                  <a:pt x="228733" y="1086"/>
                </a:lnTo>
                <a:cubicBezTo>
                  <a:pt x="228733" y="21699"/>
                  <a:pt x="233074" y="45025"/>
                  <a:pt x="233074" y="65638"/>
                </a:cubicBezTo>
                <a:cubicBezTo>
                  <a:pt x="304677" y="825076"/>
                  <a:pt x="249888" y="1620859"/>
                  <a:pt x="73591" y="2432375"/>
                </a:cubicBezTo>
                <a:lnTo>
                  <a:pt x="0" y="2740979"/>
                </a:lnTo>
                <a:lnTo>
                  <a:pt x="0" y="2669289"/>
                </a:lnTo>
                <a:lnTo>
                  <a:pt x="14734" y="2608334"/>
                </a:lnTo>
                <a:cubicBezTo>
                  <a:pt x="28431" y="2549681"/>
                  <a:pt x="42128" y="2490688"/>
                  <a:pt x="56774" y="2432375"/>
                </a:cubicBezTo>
                <a:cubicBezTo>
                  <a:pt x="233074" y="1620859"/>
                  <a:pt x="287861" y="825076"/>
                  <a:pt x="216257" y="65638"/>
                </a:cubicBezTo>
                <a:cubicBezTo>
                  <a:pt x="216257" y="45025"/>
                  <a:pt x="211917" y="21699"/>
                  <a:pt x="211917" y="1086"/>
                </a:cubicBezTo>
                <a:close/>
                <a:moveTo>
                  <a:pt x="3332125" y="544"/>
                </a:moveTo>
                <a:lnTo>
                  <a:pt x="3348941" y="544"/>
                </a:lnTo>
                <a:cubicBezTo>
                  <a:pt x="3348941" y="537033"/>
                  <a:pt x="3264860" y="1076233"/>
                  <a:pt x="3088562" y="1605129"/>
                </a:cubicBezTo>
                <a:cubicBezTo>
                  <a:pt x="3038114" y="1755389"/>
                  <a:pt x="2983870" y="1905650"/>
                  <a:pt x="2929079" y="2051028"/>
                </a:cubicBezTo>
                <a:cubicBezTo>
                  <a:pt x="2811367" y="2359686"/>
                  <a:pt x="2694196" y="2680819"/>
                  <a:pt x="2639409" y="3002496"/>
                </a:cubicBezTo>
                <a:cubicBezTo>
                  <a:pt x="2576485" y="3383842"/>
                  <a:pt x="2597639" y="3798279"/>
                  <a:pt x="2711012" y="4340193"/>
                </a:cubicBezTo>
                <a:cubicBezTo>
                  <a:pt x="2887310" y="5197816"/>
                  <a:pt x="3168845" y="5814588"/>
                  <a:pt x="3622339" y="6346196"/>
                </a:cubicBezTo>
                <a:cubicBezTo>
                  <a:pt x="3740052" y="6480725"/>
                  <a:pt x="3870240" y="6615797"/>
                  <a:pt x="4017247" y="6742732"/>
                </a:cubicBezTo>
                <a:lnTo>
                  <a:pt x="4153244" y="6858000"/>
                </a:lnTo>
                <a:lnTo>
                  <a:pt x="4131719" y="6858000"/>
                </a:lnTo>
                <a:lnTo>
                  <a:pt x="4000431" y="6747070"/>
                </a:lnTo>
                <a:cubicBezTo>
                  <a:pt x="3857764" y="6620136"/>
                  <a:pt x="3723235" y="6485064"/>
                  <a:pt x="3605523" y="6350535"/>
                </a:cubicBezTo>
                <a:cubicBezTo>
                  <a:pt x="3152029" y="5819472"/>
                  <a:pt x="2870494" y="5199986"/>
                  <a:pt x="2694196" y="4341820"/>
                </a:cubicBezTo>
                <a:cubicBezTo>
                  <a:pt x="2580823" y="3797737"/>
                  <a:pt x="2559668" y="3382757"/>
                  <a:pt x="2622594" y="3001954"/>
                </a:cubicBezTo>
                <a:cubicBezTo>
                  <a:pt x="2676838" y="2678108"/>
                  <a:pt x="2794551" y="2356973"/>
                  <a:pt x="2912265" y="2048314"/>
                </a:cubicBezTo>
                <a:cubicBezTo>
                  <a:pt x="2966509" y="1902938"/>
                  <a:pt x="3021297" y="1752677"/>
                  <a:pt x="3071746" y="1602417"/>
                </a:cubicBezTo>
                <a:cubicBezTo>
                  <a:pt x="3243705" y="1073522"/>
                  <a:pt x="3332125" y="537033"/>
                  <a:pt x="3332125" y="544"/>
                </a:cubicBezTo>
                <a:close/>
                <a:moveTo>
                  <a:pt x="26939" y="544"/>
                </a:moveTo>
                <a:lnTo>
                  <a:pt x="43756" y="544"/>
                </a:lnTo>
                <a:cubicBezTo>
                  <a:pt x="47552" y="36888"/>
                  <a:pt x="51892" y="70520"/>
                  <a:pt x="51892" y="106864"/>
                </a:cubicBezTo>
                <a:cubicBezTo>
                  <a:pt x="105596" y="676444"/>
                  <a:pt x="88203" y="1267992"/>
                  <a:pt x="3605" y="1872585"/>
                </a:cubicBezTo>
                <a:lnTo>
                  <a:pt x="0" y="1893117"/>
                </a:lnTo>
                <a:lnTo>
                  <a:pt x="0" y="1720977"/>
                </a:lnTo>
                <a:lnTo>
                  <a:pt x="46671" y="1272332"/>
                </a:lnTo>
                <a:cubicBezTo>
                  <a:pt x="72912" y="876068"/>
                  <a:pt x="68708" y="486584"/>
                  <a:pt x="35076" y="106864"/>
                </a:cubicBezTo>
                <a:cubicBezTo>
                  <a:pt x="31279" y="70520"/>
                  <a:pt x="31279" y="36888"/>
                  <a:pt x="26939" y="544"/>
                </a:cubicBezTo>
                <a:close/>
                <a:moveTo>
                  <a:pt x="3513847" y="0"/>
                </a:moveTo>
                <a:lnTo>
                  <a:pt x="3530663" y="0"/>
                </a:lnTo>
                <a:cubicBezTo>
                  <a:pt x="3526324" y="520759"/>
                  <a:pt x="3437903" y="1042060"/>
                  <a:pt x="3265944" y="1555224"/>
                </a:cubicBezTo>
                <a:cubicBezTo>
                  <a:pt x="3215497" y="1706025"/>
                  <a:pt x="3156911" y="1858456"/>
                  <a:pt x="3102124" y="2003834"/>
                </a:cubicBezTo>
                <a:cubicBezTo>
                  <a:pt x="2984412" y="2311950"/>
                  <a:pt x="2862900" y="2628201"/>
                  <a:pt x="2808112" y="2947165"/>
                </a:cubicBezTo>
                <a:cubicBezTo>
                  <a:pt x="2740848" y="3328513"/>
                  <a:pt x="2762003" y="3740778"/>
                  <a:pt x="2871036" y="4284862"/>
                </a:cubicBezTo>
                <a:cubicBezTo>
                  <a:pt x="3038657" y="5140315"/>
                  <a:pt x="3315851" y="5759800"/>
                  <a:pt x="3765548" y="6288695"/>
                </a:cubicBezTo>
                <a:cubicBezTo>
                  <a:pt x="3878920" y="6423224"/>
                  <a:pt x="4009110" y="6558296"/>
                  <a:pt x="4151774" y="6685231"/>
                </a:cubicBezTo>
                <a:cubicBezTo>
                  <a:pt x="4207987" y="6735137"/>
                  <a:pt x="4266555" y="6784679"/>
                  <a:pt x="4327448" y="6833830"/>
                </a:cubicBezTo>
                <a:lnTo>
                  <a:pt x="4358784" y="6858000"/>
                </a:lnTo>
                <a:lnTo>
                  <a:pt x="4338751" y="6858000"/>
                </a:lnTo>
                <a:lnTo>
                  <a:pt x="4314974" y="6839584"/>
                </a:lnTo>
                <a:cubicBezTo>
                  <a:pt x="4254081" y="6790187"/>
                  <a:pt x="4195513" y="6740357"/>
                  <a:pt x="4139300" y="6690112"/>
                </a:cubicBezTo>
                <a:cubicBezTo>
                  <a:pt x="3996633" y="6563177"/>
                  <a:pt x="3862105" y="6428107"/>
                  <a:pt x="3748732" y="6293577"/>
                </a:cubicBezTo>
                <a:cubicBezTo>
                  <a:pt x="3299578" y="5762513"/>
                  <a:pt x="3021841" y="5143028"/>
                  <a:pt x="2849882" y="4284862"/>
                </a:cubicBezTo>
                <a:cubicBezTo>
                  <a:pt x="2740848" y="3740236"/>
                  <a:pt x="2724032" y="3327971"/>
                  <a:pt x="2791295" y="2947165"/>
                </a:cubicBezTo>
                <a:cubicBezTo>
                  <a:pt x="2846085" y="2626031"/>
                  <a:pt x="2967596" y="2309779"/>
                  <a:pt x="3085308" y="2001123"/>
                </a:cubicBezTo>
                <a:cubicBezTo>
                  <a:pt x="3140095" y="1855744"/>
                  <a:pt x="3198680" y="1702771"/>
                  <a:pt x="3249128" y="1555224"/>
                </a:cubicBezTo>
                <a:cubicBezTo>
                  <a:pt x="3421629" y="1042060"/>
                  <a:pt x="3509508" y="520759"/>
                  <a:pt x="3513847" y="0"/>
                </a:cubicBezTo>
                <a:close/>
              </a:path>
            </a:pathLst>
          </a:custGeom>
          <a:solidFill>
            <a:schemeClr val="tx2">
              <a:alpha val="1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799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06B9D0E-8C9B-4109-AFF5-A7240534E9BA}"/>
              </a:ext>
            </a:extLst>
          </p:cNvPr>
          <p:cNvSpPr/>
          <p:nvPr/>
        </p:nvSpPr>
        <p:spPr>
          <a:xfrm>
            <a:off x="4021995" y="0"/>
            <a:ext cx="1162537" cy="6858000"/>
          </a:xfrm>
          <a:custGeom>
            <a:avLst/>
            <a:gdLst>
              <a:gd name="connsiteX0" fmla="*/ 1117940 w 1117940"/>
              <a:gd name="connsiteY0" fmla="*/ 0 h 6858000"/>
              <a:gd name="connsiteX1" fmla="*/ 889340 w 1117940"/>
              <a:gd name="connsiteY1" fmla="*/ 1168400 h 6858000"/>
              <a:gd name="connsiteX2" fmla="*/ 178140 w 1117940"/>
              <a:gd name="connsiteY2" fmla="*/ 3048000 h 6858000"/>
              <a:gd name="connsiteX3" fmla="*/ 340 w 1117940"/>
              <a:gd name="connsiteY3" fmla="*/ 4343400 h 6858000"/>
              <a:gd name="connsiteX4" fmla="*/ 203540 w 1117940"/>
              <a:gd name="connsiteY4" fmla="*/ 5613400 h 6858000"/>
              <a:gd name="connsiteX5" fmla="*/ 1003640 w 111794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7940" h="6858000">
                <a:moveTo>
                  <a:pt x="1117940" y="0"/>
                </a:moveTo>
                <a:cubicBezTo>
                  <a:pt x="1081956" y="330200"/>
                  <a:pt x="1045973" y="660400"/>
                  <a:pt x="889340" y="1168400"/>
                </a:cubicBezTo>
                <a:cubicBezTo>
                  <a:pt x="732707" y="1676400"/>
                  <a:pt x="326307" y="2518833"/>
                  <a:pt x="178140" y="3048000"/>
                </a:cubicBezTo>
                <a:cubicBezTo>
                  <a:pt x="29973" y="3577167"/>
                  <a:pt x="-3893" y="3915833"/>
                  <a:pt x="340" y="4343400"/>
                </a:cubicBezTo>
                <a:cubicBezTo>
                  <a:pt x="4573" y="4770967"/>
                  <a:pt x="36323" y="5194300"/>
                  <a:pt x="203540" y="5613400"/>
                </a:cubicBezTo>
                <a:cubicBezTo>
                  <a:pt x="370757" y="6032500"/>
                  <a:pt x="687198" y="6445250"/>
                  <a:pt x="1003640" y="6858000"/>
                </a:cubicBezTo>
              </a:path>
            </a:pathLst>
          </a:cu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D2E57840-A944-4D4D-95A2-6D75D6106F59}"/>
              </a:ext>
            </a:extLst>
          </p:cNvPr>
          <p:cNvPicPr>
            <a:picLocks noChangeAspect="1"/>
          </p:cNvPicPr>
          <p:nvPr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7446" y="404132"/>
            <a:ext cx="1099754" cy="464540"/>
          </a:xfrm>
          <a:prstGeom prst="rect">
            <a:avLst/>
          </a:prstGeom>
        </p:spPr>
      </p:pic>
      <p:sp>
        <p:nvSpPr>
          <p:cNvPr id="2" name="Freeform: Shape 1">
            <a:extLst>
              <a:ext uri="{FF2B5EF4-FFF2-40B4-BE49-F238E27FC236}">
                <a16:creationId xmlns:a16="http://schemas.microsoft.com/office/drawing/2014/main" id="{2D4E0E04-9EB5-23C9-4CF3-CDBCA16EB4C5}"/>
              </a:ext>
            </a:extLst>
          </p:cNvPr>
          <p:cNvSpPr/>
          <p:nvPr userDrawn="1"/>
        </p:nvSpPr>
        <p:spPr>
          <a:xfrm>
            <a:off x="253348" y="1405467"/>
            <a:ext cx="4951525" cy="6860868"/>
          </a:xfrm>
          <a:custGeom>
            <a:avLst/>
            <a:gdLst>
              <a:gd name="connsiteX0" fmla="*/ 4386826 w 4951525"/>
              <a:gd name="connsiteY0" fmla="*/ 0 h 6860868"/>
              <a:gd name="connsiteX1" fmla="*/ 4830606 w 4951525"/>
              <a:gd name="connsiteY1" fmla="*/ 6695429 h 6860868"/>
              <a:gd name="connsiteX2" fmla="*/ 4951525 w 4951525"/>
              <a:gd name="connsiteY2" fmla="*/ 6860868 h 6860868"/>
              <a:gd name="connsiteX3" fmla="*/ 0 w 4951525"/>
              <a:gd name="connsiteY3" fmla="*/ 6860868 h 6860868"/>
              <a:gd name="connsiteX4" fmla="*/ 0 w 4951525"/>
              <a:gd name="connsiteY4" fmla="*/ 2905 h 6860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1525" h="6860868">
                <a:moveTo>
                  <a:pt x="4386826" y="0"/>
                </a:moveTo>
                <a:cubicBezTo>
                  <a:pt x="5165363" y="2561287"/>
                  <a:pt x="3038487" y="4101959"/>
                  <a:pt x="4830606" y="6695429"/>
                </a:cubicBezTo>
                <a:lnTo>
                  <a:pt x="4951525" y="6860868"/>
                </a:lnTo>
                <a:lnTo>
                  <a:pt x="0" y="6860868"/>
                </a:lnTo>
                <a:lnTo>
                  <a:pt x="0" y="2905"/>
                </a:lnTo>
                <a:close/>
              </a:path>
            </a:pathLst>
          </a:custGeom>
          <a:gradFill>
            <a:gsLst>
              <a:gs pos="33000">
                <a:srgbClr val="3EB6AD">
                  <a:lumMod val="100000"/>
                  <a:alpha val="0"/>
                </a:srgbClr>
              </a:gs>
              <a:gs pos="0">
                <a:srgbClr val="3BCCFF">
                  <a:lumMod val="45000"/>
                  <a:alpha val="46000"/>
                </a:srgb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412724545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5554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701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7"/>
            <a:ext cx="11585448" cy="365125"/>
          </a:xfrm>
        </p:spPr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008AEB-F092-4B15-A9B2-344A1F6810C5}"/>
              </a:ext>
            </a:extLst>
          </p:cNvPr>
          <p:cNvSpPr/>
          <p:nvPr/>
        </p:nvSpPr>
        <p:spPr>
          <a:xfrm>
            <a:off x="1" y="0"/>
            <a:ext cx="12192000" cy="563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2154272654"/>
      </p:ext>
    </p:extLst>
  </p:cSld>
  <p:clrMapOvr>
    <a:masterClrMapping/>
  </p:clrMapOvr>
  <p:hf sldNum="0"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E914221-A0A7-878A-1B18-C37FAEFAA501}"/>
              </a:ext>
            </a:extLst>
          </p:cNvPr>
          <p:cNvGrpSpPr/>
          <p:nvPr userDrawn="1"/>
        </p:nvGrpSpPr>
        <p:grpSpPr>
          <a:xfrm>
            <a:off x="-5247226" y="5100691"/>
            <a:ext cx="11539831" cy="6019315"/>
            <a:chOff x="4868423" y="9747437"/>
            <a:chExt cx="11536826" cy="601931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2E7353C-5CAA-0EBA-015E-8C88C972225E}"/>
                </a:ext>
              </a:extLst>
            </p:cNvPr>
            <p:cNvSpPr/>
            <p:nvPr/>
          </p:nvSpPr>
          <p:spPr>
            <a:xfrm rot="5102068" flipH="1">
              <a:off x="9962425" y="8948970"/>
              <a:ext cx="5088940" cy="7796708"/>
            </a:xfrm>
            <a:prstGeom prst="ellipse">
              <a:avLst/>
            </a:prstGeom>
            <a:gradFill flip="none" rotWithShape="1">
              <a:gsLst>
                <a:gs pos="47000">
                  <a:schemeClr val="accent3">
                    <a:alpha val="50000"/>
                  </a:schemeClr>
                </a:gs>
                <a:gs pos="0">
                  <a:schemeClr val="tx2">
                    <a:alpha val="50000"/>
                  </a:schemeClr>
                </a:gs>
                <a:gs pos="23836">
                  <a:srgbClr val="757FD9"/>
                </a:gs>
                <a:gs pos="15000">
                  <a:srgbClr val="7A7CD4"/>
                </a:gs>
                <a:gs pos="89000">
                  <a:schemeClr val="accent4">
                    <a:alpha val="63000"/>
                  </a:schemeClr>
                </a:gs>
              </a:gsLst>
              <a:lin ang="18900000" scaled="1"/>
              <a:tileRect/>
            </a:gra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8">
                <a:latin typeface="InspireTWDC" panose="00000000000000020000" pitchFamily="50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66A0C0EC-3111-72D6-B4F9-55E7736E15D3}"/>
                </a:ext>
              </a:extLst>
            </p:cNvPr>
            <p:cNvSpPr/>
            <p:nvPr/>
          </p:nvSpPr>
          <p:spPr>
            <a:xfrm rot="13500000" flipH="1">
              <a:off x="5628098" y="8987762"/>
              <a:ext cx="6019315" cy="7538666"/>
            </a:xfrm>
            <a:prstGeom prst="ellipse">
              <a:avLst/>
            </a:prstGeom>
            <a:gradFill flip="none" rotWithShape="1">
              <a:gsLst>
                <a:gs pos="62000">
                  <a:schemeClr val="accent3">
                    <a:alpha val="32000"/>
                  </a:schemeClr>
                </a:gs>
                <a:gs pos="0">
                  <a:schemeClr val="tx2">
                    <a:alpha val="29000"/>
                  </a:schemeClr>
                </a:gs>
                <a:gs pos="34000">
                  <a:srgbClr val="7A7CD4">
                    <a:alpha val="72000"/>
                  </a:srgbClr>
                </a:gs>
                <a:gs pos="89000">
                  <a:schemeClr val="accent4">
                    <a:alpha val="50000"/>
                  </a:schemeClr>
                </a:gs>
              </a:gsLst>
              <a:lin ang="18900000" scaled="1"/>
              <a:tileRect/>
            </a:gra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8">
                <a:latin typeface="InspireTWDC" panose="00000000000000020000" pitchFamily="50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EF73BAD-B836-CEC5-B439-31D498C658B5}"/>
                </a:ext>
              </a:extLst>
            </p:cNvPr>
            <p:cNvSpPr/>
            <p:nvPr/>
          </p:nvSpPr>
          <p:spPr>
            <a:xfrm rot="19800000" flipH="1">
              <a:off x="7605435" y="9977978"/>
              <a:ext cx="5900438" cy="4901479"/>
            </a:xfrm>
            <a:prstGeom prst="ellipse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95250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8">
                <a:latin typeface="InspireTWDC" panose="00000000000000020000" pitchFamily="50" charset="0"/>
              </a:endParaRPr>
            </a:p>
          </p:txBody>
        </p:sp>
      </p:grp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D5C24FF9-06CA-AEFF-2EF7-2072ED7D8E5C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289" y="472030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2251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235D"/>
              </a:gs>
              <a:gs pos="86000">
                <a:schemeClr val="accent3"/>
              </a:gs>
              <a:gs pos="5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084842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EA9CA8-4796-209C-5BCA-E0DF9973CFE0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pPr algn="r"/>
              <a:t>‹#›</a:t>
            </a:fld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C48E51-5614-F41E-5FFA-45EBB46E59B4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rPr>
              <a:t>©2025 Acquis Consulting Group, L.L.C.</a:t>
            </a:r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C618CC-DE1B-0404-40DF-E8BF747E1918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7E7F0135-6C98-6B87-C11D-73289AD24D90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53" y="6308721"/>
            <a:ext cx="878053" cy="374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866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05D9941-CF8B-266C-2C4A-05C68135654D}"/>
              </a:ext>
            </a:extLst>
          </p:cNvPr>
          <p:cNvSpPr/>
          <p:nvPr userDrawn="1"/>
        </p:nvSpPr>
        <p:spPr>
          <a:xfrm rot="16200000" flipH="1">
            <a:off x="2683715" y="-2682025"/>
            <a:ext cx="6857999" cy="12192000"/>
          </a:xfrm>
          <a:custGeom>
            <a:avLst/>
            <a:gdLst>
              <a:gd name="connsiteX0" fmla="*/ 2608751 w 4703181"/>
              <a:gd name="connsiteY0" fmla="*/ 5105305 h 12188825"/>
              <a:gd name="connsiteX1" fmla="*/ 2639362 w 4703181"/>
              <a:gd name="connsiteY1" fmla="*/ 6171565 h 12188825"/>
              <a:gd name="connsiteX2" fmla="*/ 3151435 w 4703181"/>
              <a:gd name="connsiteY2" fmla="*/ 9535377 h 12188825"/>
              <a:gd name="connsiteX3" fmla="*/ 3923653 w 4703181"/>
              <a:gd name="connsiteY3" fmla="*/ 11210893 h 12188825"/>
              <a:gd name="connsiteX4" fmla="*/ 4428881 w 4703181"/>
              <a:gd name="connsiteY4" fmla="*/ 11906322 h 12188825"/>
              <a:gd name="connsiteX5" fmla="*/ 4680688 w 4703181"/>
              <a:gd name="connsiteY5" fmla="*/ 12188825 h 12188825"/>
              <a:gd name="connsiteX6" fmla="*/ 4703181 w 4703181"/>
              <a:gd name="connsiteY6" fmla="*/ 12188825 h 12188825"/>
              <a:gd name="connsiteX7" fmla="*/ 4426466 w 4703181"/>
              <a:gd name="connsiteY7" fmla="*/ 11877318 h 12188825"/>
              <a:gd name="connsiteX8" fmla="*/ 3163562 w 4703181"/>
              <a:gd name="connsiteY8" fmla="*/ 9527159 h 12188825"/>
              <a:gd name="connsiteX9" fmla="*/ 2654618 w 4703181"/>
              <a:gd name="connsiteY9" fmla="*/ 6167910 h 12188825"/>
              <a:gd name="connsiteX10" fmla="*/ 2682002 w 4703181"/>
              <a:gd name="connsiteY10" fmla="*/ 3969193 h 12188825"/>
              <a:gd name="connsiteX11" fmla="*/ 2936278 w 4703181"/>
              <a:gd name="connsiteY11" fmla="*/ 2523777 h 12188825"/>
              <a:gd name="connsiteX12" fmla="*/ 3093930 w 4703181"/>
              <a:gd name="connsiteY12" fmla="*/ 1721172 h 12188825"/>
              <a:gd name="connsiteX13" fmla="*/ 3293830 w 4703181"/>
              <a:gd name="connsiteY13" fmla="*/ 1828 h 12188825"/>
              <a:gd name="connsiteX14" fmla="*/ 3281703 w 4703181"/>
              <a:gd name="connsiteY14" fmla="*/ 1828 h 12188825"/>
              <a:gd name="connsiteX15" fmla="*/ 3081803 w 4703181"/>
              <a:gd name="connsiteY15" fmla="*/ 1716605 h 12188825"/>
              <a:gd name="connsiteX16" fmla="*/ 2924151 w 4703181"/>
              <a:gd name="connsiteY16" fmla="*/ 2519212 h 12188825"/>
              <a:gd name="connsiteX17" fmla="*/ 2666745 w 4703181"/>
              <a:gd name="connsiteY17" fmla="*/ 3963715 h 12188825"/>
              <a:gd name="connsiteX18" fmla="*/ 2608751 w 4703181"/>
              <a:gd name="connsiteY18" fmla="*/ 5105305 h 12188825"/>
              <a:gd name="connsiteX19" fmla="*/ 2492175 w 4703181"/>
              <a:gd name="connsiteY19" fmla="*/ 5200265 h 12188825"/>
              <a:gd name="connsiteX20" fmla="*/ 2527089 w 4703181"/>
              <a:gd name="connsiteY20" fmla="*/ 6267436 h 12188825"/>
              <a:gd name="connsiteX21" fmla="*/ 3048160 w 4703181"/>
              <a:gd name="connsiteY21" fmla="*/ 9631249 h 12188825"/>
              <a:gd name="connsiteX22" fmla="*/ 3302436 w 4703181"/>
              <a:gd name="connsiteY22" fmla="*/ 10307849 h 12188825"/>
              <a:gd name="connsiteX23" fmla="*/ 4337932 w 4703181"/>
              <a:gd name="connsiteY23" fmla="*/ 12000941 h 12188825"/>
              <a:gd name="connsiteX24" fmla="*/ 4501908 w 4703181"/>
              <a:gd name="connsiteY24" fmla="*/ 12188825 h 12188825"/>
              <a:gd name="connsiteX25" fmla="*/ 4522453 w 4703181"/>
              <a:gd name="connsiteY25" fmla="*/ 12188825 h 12188825"/>
              <a:gd name="connsiteX26" fmla="*/ 4347456 w 4703181"/>
              <a:gd name="connsiteY26" fmla="*/ 11988315 h 12188825"/>
              <a:gd name="connsiteX27" fmla="*/ 3314954 w 4703181"/>
              <a:gd name="connsiteY27" fmla="*/ 10298717 h 12188825"/>
              <a:gd name="connsiteX28" fmla="*/ 3060679 w 4703181"/>
              <a:gd name="connsiteY28" fmla="*/ 9622121 h 12188825"/>
              <a:gd name="connsiteX29" fmla="*/ 2539607 w 4703181"/>
              <a:gd name="connsiteY29" fmla="*/ 6262871 h 12188825"/>
              <a:gd name="connsiteX30" fmla="*/ 2560732 w 4703181"/>
              <a:gd name="connsiteY30" fmla="*/ 4059590 h 12188825"/>
              <a:gd name="connsiteX31" fmla="*/ 2812269 w 4703181"/>
              <a:gd name="connsiteY31" fmla="*/ 2602301 h 12188825"/>
              <a:gd name="connsiteX32" fmla="*/ 2966791 w 4703181"/>
              <a:gd name="connsiteY32" fmla="*/ 1804263 h 12188825"/>
              <a:gd name="connsiteX33" fmla="*/ 3166692 w 4703181"/>
              <a:gd name="connsiteY33" fmla="*/ 2740 h 12188825"/>
              <a:gd name="connsiteX34" fmla="*/ 3154565 w 4703181"/>
              <a:gd name="connsiteY34" fmla="*/ 2740 h 12188825"/>
              <a:gd name="connsiteX35" fmla="*/ 2954274 w 4703181"/>
              <a:gd name="connsiteY35" fmla="*/ 1799697 h 12188825"/>
              <a:gd name="connsiteX36" fmla="*/ 2796622 w 4703181"/>
              <a:gd name="connsiteY36" fmla="*/ 2597736 h 12188825"/>
              <a:gd name="connsiteX37" fmla="*/ 2548215 w 4703181"/>
              <a:gd name="connsiteY37" fmla="*/ 4055025 h 12188825"/>
              <a:gd name="connsiteX38" fmla="*/ 2492175 w 4703181"/>
              <a:gd name="connsiteY38" fmla="*/ 5200265 h 12188825"/>
              <a:gd name="connsiteX39" fmla="*/ 2374376 w 4703181"/>
              <a:gd name="connsiteY39" fmla="*/ 5294998 h 12188825"/>
              <a:gd name="connsiteX40" fmla="*/ 2412078 w 4703181"/>
              <a:gd name="connsiteY40" fmla="*/ 6358744 h 12188825"/>
              <a:gd name="connsiteX41" fmla="*/ 2948406 w 4703181"/>
              <a:gd name="connsiteY41" fmla="*/ 9727125 h 12188825"/>
              <a:gd name="connsiteX42" fmla="*/ 3205812 w 4703181"/>
              <a:gd name="connsiteY42" fmla="*/ 10403723 h 12188825"/>
              <a:gd name="connsiteX43" fmla="*/ 4245239 w 4703181"/>
              <a:gd name="connsiteY43" fmla="*/ 12093056 h 12188825"/>
              <a:gd name="connsiteX44" fmla="*/ 4329667 w 4703181"/>
              <a:gd name="connsiteY44" fmla="*/ 12188825 h 12188825"/>
              <a:gd name="connsiteX45" fmla="*/ 4346385 w 4703181"/>
              <a:gd name="connsiteY45" fmla="*/ 12188825 h 12188825"/>
              <a:gd name="connsiteX46" fmla="*/ 4252139 w 4703181"/>
              <a:gd name="connsiteY46" fmla="*/ 12081456 h 12188825"/>
              <a:gd name="connsiteX47" fmla="*/ 3214810 w 4703181"/>
              <a:gd name="connsiteY47" fmla="*/ 10396417 h 12188825"/>
              <a:gd name="connsiteX48" fmla="*/ 2960533 w 4703181"/>
              <a:gd name="connsiteY48" fmla="*/ 9719821 h 12188825"/>
              <a:gd name="connsiteX49" fmla="*/ 2424205 w 4703181"/>
              <a:gd name="connsiteY49" fmla="*/ 6360572 h 12188825"/>
              <a:gd name="connsiteX50" fmla="*/ 2439462 w 4703181"/>
              <a:gd name="connsiteY50" fmla="*/ 4148159 h 12188825"/>
              <a:gd name="connsiteX51" fmla="*/ 2687870 w 4703181"/>
              <a:gd name="connsiteY51" fmla="*/ 2682653 h 12188825"/>
              <a:gd name="connsiteX52" fmla="*/ 2839262 w 4703181"/>
              <a:gd name="connsiteY52" fmla="*/ 1888267 h 12188825"/>
              <a:gd name="connsiteX53" fmla="*/ 3039162 w 4703181"/>
              <a:gd name="connsiteY53" fmla="*/ 3653 h 12188825"/>
              <a:gd name="connsiteX54" fmla="*/ 3027035 w 4703181"/>
              <a:gd name="connsiteY54" fmla="*/ 3653 h 12188825"/>
              <a:gd name="connsiteX55" fmla="*/ 2824006 w 4703181"/>
              <a:gd name="connsiteY55" fmla="*/ 1881876 h 12188825"/>
              <a:gd name="connsiteX56" fmla="*/ 2672613 w 4703181"/>
              <a:gd name="connsiteY56" fmla="*/ 2676260 h 12188825"/>
              <a:gd name="connsiteX57" fmla="*/ 2427334 w 4703181"/>
              <a:gd name="connsiteY57" fmla="*/ 4146333 h 12188825"/>
              <a:gd name="connsiteX58" fmla="*/ 2374376 w 4703181"/>
              <a:gd name="connsiteY58" fmla="*/ 5294998 h 12188825"/>
              <a:gd name="connsiteX59" fmla="*/ 2257654 w 4703181"/>
              <a:gd name="connsiteY59" fmla="*/ 5387105 h 12188825"/>
              <a:gd name="connsiteX60" fmla="*/ 2297458 w 4703181"/>
              <a:gd name="connsiteY60" fmla="*/ 6454621 h 12188825"/>
              <a:gd name="connsiteX61" fmla="*/ 2845912 w 4703181"/>
              <a:gd name="connsiteY61" fmla="*/ 9822999 h 12188825"/>
              <a:gd name="connsiteX62" fmla="*/ 3106448 w 4703181"/>
              <a:gd name="connsiteY62" fmla="*/ 10499599 h 12188825"/>
              <a:gd name="connsiteX63" fmla="*/ 4153715 w 4703181"/>
              <a:gd name="connsiteY63" fmla="*/ 12187433 h 12188825"/>
              <a:gd name="connsiteX64" fmla="*/ 4154941 w 4703181"/>
              <a:gd name="connsiteY64" fmla="*/ 12188825 h 12188825"/>
              <a:gd name="connsiteX65" fmla="*/ 4172800 w 4703181"/>
              <a:gd name="connsiteY65" fmla="*/ 12188825 h 12188825"/>
              <a:gd name="connsiteX66" fmla="*/ 4160605 w 4703181"/>
              <a:gd name="connsiteY66" fmla="*/ 12174920 h 12188825"/>
              <a:gd name="connsiteX67" fmla="*/ 3118184 w 4703181"/>
              <a:gd name="connsiteY67" fmla="*/ 10491381 h 12188825"/>
              <a:gd name="connsiteX68" fmla="*/ 2857649 w 4703181"/>
              <a:gd name="connsiteY68" fmla="*/ 9814781 h 12188825"/>
              <a:gd name="connsiteX69" fmla="*/ 2312323 w 4703181"/>
              <a:gd name="connsiteY69" fmla="*/ 6455534 h 12188825"/>
              <a:gd name="connsiteX70" fmla="*/ 2318191 w 4703181"/>
              <a:gd name="connsiteY70" fmla="*/ 4239467 h 12188825"/>
              <a:gd name="connsiteX71" fmla="*/ 2560341 w 4703181"/>
              <a:gd name="connsiteY71" fmla="*/ 2760265 h 12188825"/>
              <a:gd name="connsiteX72" fmla="*/ 2708603 w 4703181"/>
              <a:gd name="connsiteY72" fmla="*/ 1965881 h 12188825"/>
              <a:gd name="connsiteX73" fmla="*/ 2911633 w 4703181"/>
              <a:gd name="connsiteY73" fmla="*/ 2740 h 12188825"/>
              <a:gd name="connsiteX74" fmla="*/ 2899506 w 4703181"/>
              <a:gd name="connsiteY74" fmla="*/ 2740 h 12188825"/>
              <a:gd name="connsiteX75" fmla="*/ 2696868 w 4703181"/>
              <a:gd name="connsiteY75" fmla="*/ 1960401 h 12188825"/>
              <a:gd name="connsiteX76" fmla="*/ 2548606 w 4703181"/>
              <a:gd name="connsiteY76" fmla="*/ 2754787 h 12188825"/>
              <a:gd name="connsiteX77" fmla="*/ 2306455 w 4703181"/>
              <a:gd name="connsiteY77" fmla="*/ 4233992 h 12188825"/>
              <a:gd name="connsiteX78" fmla="*/ 2257654 w 4703181"/>
              <a:gd name="connsiteY78" fmla="*/ 5387105 h 12188825"/>
              <a:gd name="connsiteX79" fmla="*/ 2140304 w 4703181"/>
              <a:gd name="connsiteY79" fmla="*/ 5197653 h 12188825"/>
              <a:gd name="connsiteX80" fmla="*/ 2184795 w 4703181"/>
              <a:gd name="connsiteY80" fmla="*/ 6550494 h 12188825"/>
              <a:gd name="connsiteX81" fmla="*/ 2744985 w 4703181"/>
              <a:gd name="connsiteY81" fmla="*/ 9918873 h 12188825"/>
              <a:gd name="connsiteX82" fmla="*/ 3005520 w 4703181"/>
              <a:gd name="connsiteY82" fmla="*/ 10595473 h 12188825"/>
              <a:gd name="connsiteX83" fmla="*/ 3881746 w 4703181"/>
              <a:gd name="connsiteY83" fmla="*/ 12060806 h 12188825"/>
              <a:gd name="connsiteX84" fmla="*/ 3985674 w 4703181"/>
              <a:gd name="connsiteY84" fmla="*/ 12188825 h 12188825"/>
              <a:gd name="connsiteX85" fmla="*/ 4004655 w 4703181"/>
              <a:gd name="connsiteY85" fmla="*/ 12188825 h 12188825"/>
              <a:gd name="connsiteX86" fmla="*/ 3890402 w 4703181"/>
              <a:gd name="connsiteY86" fmla="*/ 12048093 h 12188825"/>
              <a:gd name="connsiteX87" fmla="*/ 3017256 w 4703181"/>
              <a:gd name="connsiteY87" fmla="*/ 10587253 h 12188825"/>
              <a:gd name="connsiteX88" fmla="*/ 2756720 w 4703181"/>
              <a:gd name="connsiteY88" fmla="*/ 9910657 h 12188825"/>
              <a:gd name="connsiteX89" fmla="*/ 2196530 w 4703181"/>
              <a:gd name="connsiteY89" fmla="*/ 6546842 h 12188825"/>
              <a:gd name="connsiteX90" fmla="*/ 2196530 w 4703181"/>
              <a:gd name="connsiteY90" fmla="*/ 4330779 h 12188825"/>
              <a:gd name="connsiteX91" fmla="*/ 2435940 w 4703181"/>
              <a:gd name="connsiteY91" fmla="*/ 2838792 h 12188825"/>
              <a:gd name="connsiteX92" fmla="*/ 2581465 w 4703181"/>
              <a:gd name="connsiteY92" fmla="*/ 2048971 h 12188825"/>
              <a:gd name="connsiteX93" fmla="*/ 2781366 w 4703181"/>
              <a:gd name="connsiteY93" fmla="*/ 2740 h 12188825"/>
              <a:gd name="connsiteX94" fmla="*/ 2769238 w 4703181"/>
              <a:gd name="connsiteY94" fmla="*/ 2740 h 12188825"/>
              <a:gd name="connsiteX95" fmla="*/ 2569730 w 4703181"/>
              <a:gd name="connsiteY95" fmla="*/ 2043491 h 12188825"/>
              <a:gd name="connsiteX96" fmla="*/ 2424205 w 4703181"/>
              <a:gd name="connsiteY96" fmla="*/ 2833314 h 12188825"/>
              <a:gd name="connsiteX97" fmla="*/ 2184795 w 4703181"/>
              <a:gd name="connsiteY97" fmla="*/ 4325297 h 12188825"/>
              <a:gd name="connsiteX98" fmla="*/ 2140304 w 4703181"/>
              <a:gd name="connsiteY98" fmla="*/ 5197653 h 12188825"/>
              <a:gd name="connsiteX99" fmla="*/ 2021831 w 4703181"/>
              <a:gd name="connsiteY99" fmla="*/ 5292172 h 12188825"/>
              <a:gd name="connsiteX100" fmla="*/ 2069783 w 4703181"/>
              <a:gd name="connsiteY100" fmla="*/ 6646365 h 12188825"/>
              <a:gd name="connsiteX101" fmla="*/ 2642100 w 4703181"/>
              <a:gd name="connsiteY101" fmla="*/ 10014747 h 12188825"/>
              <a:gd name="connsiteX102" fmla="*/ 2908504 w 4703181"/>
              <a:gd name="connsiteY102" fmla="*/ 10691345 h 12188825"/>
              <a:gd name="connsiteX103" fmla="*/ 3787206 w 4703181"/>
              <a:gd name="connsiteY103" fmla="*/ 12152185 h 12188825"/>
              <a:gd name="connsiteX104" fmla="*/ 3816965 w 4703181"/>
              <a:gd name="connsiteY104" fmla="*/ 12188825 h 12188825"/>
              <a:gd name="connsiteX105" fmla="*/ 3837535 w 4703181"/>
              <a:gd name="connsiteY105" fmla="*/ 12188825 h 12188825"/>
              <a:gd name="connsiteX106" fmla="*/ 3795646 w 4703181"/>
              <a:gd name="connsiteY106" fmla="*/ 12137547 h 12188825"/>
              <a:gd name="connsiteX107" fmla="*/ 2917110 w 4703181"/>
              <a:gd name="connsiteY107" fmla="*/ 10683127 h 12188825"/>
              <a:gd name="connsiteX108" fmla="*/ 2653445 w 4703181"/>
              <a:gd name="connsiteY108" fmla="*/ 10006529 h 12188825"/>
              <a:gd name="connsiteX109" fmla="*/ 2081128 w 4703181"/>
              <a:gd name="connsiteY109" fmla="*/ 6642714 h 12188825"/>
              <a:gd name="connsiteX110" fmla="*/ 2077998 w 4703181"/>
              <a:gd name="connsiteY110" fmla="*/ 4422087 h 12188825"/>
              <a:gd name="connsiteX111" fmla="*/ 2311150 w 4703181"/>
              <a:gd name="connsiteY111" fmla="*/ 2912753 h 12188825"/>
              <a:gd name="connsiteX112" fmla="*/ 2453544 w 4703181"/>
              <a:gd name="connsiteY112" fmla="*/ 2132061 h 12188825"/>
              <a:gd name="connsiteX113" fmla="*/ 2653445 w 4703181"/>
              <a:gd name="connsiteY113" fmla="*/ 2740 h 12188825"/>
              <a:gd name="connsiteX114" fmla="*/ 2641318 w 4703181"/>
              <a:gd name="connsiteY114" fmla="*/ 2740 h 12188825"/>
              <a:gd name="connsiteX115" fmla="*/ 2442591 w 4703181"/>
              <a:gd name="connsiteY115" fmla="*/ 2126581 h 12188825"/>
              <a:gd name="connsiteX116" fmla="*/ 2300196 w 4703181"/>
              <a:gd name="connsiteY116" fmla="*/ 2907272 h 12188825"/>
              <a:gd name="connsiteX117" fmla="*/ 2063915 w 4703181"/>
              <a:gd name="connsiteY117" fmla="*/ 4416608 h 12188825"/>
              <a:gd name="connsiteX118" fmla="*/ 2021831 w 4703181"/>
              <a:gd name="connsiteY118" fmla="*/ 5292172 h 12188825"/>
              <a:gd name="connsiteX119" fmla="*/ 1904686 w 4703181"/>
              <a:gd name="connsiteY119" fmla="*/ 5400875 h 12188825"/>
              <a:gd name="connsiteX120" fmla="*/ 1958292 w 4703181"/>
              <a:gd name="connsiteY120" fmla="*/ 6739501 h 12188825"/>
              <a:gd name="connsiteX121" fmla="*/ 2542738 w 4703181"/>
              <a:gd name="connsiteY121" fmla="*/ 10112449 h 12188825"/>
              <a:gd name="connsiteX122" fmla="*/ 2809140 w 4703181"/>
              <a:gd name="connsiteY122" fmla="*/ 10789045 h 12188825"/>
              <a:gd name="connsiteX123" fmla="*/ 3523933 w 4703181"/>
              <a:gd name="connsiteY123" fmla="*/ 12019084 h 12188825"/>
              <a:gd name="connsiteX124" fmla="*/ 3651957 w 4703181"/>
              <a:gd name="connsiteY124" fmla="*/ 12188825 h 12188825"/>
              <a:gd name="connsiteX125" fmla="*/ 3669378 w 4703181"/>
              <a:gd name="connsiteY125" fmla="*/ 12188825 h 12188825"/>
              <a:gd name="connsiteX126" fmla="*/ 3532332 w 4703181"/>
              <a:gd name="connsiteY126" fmla="*/ 12006541 h 12188825"/>
              <a:gd name="connsiteX127" fmla="*/ 2821267 w 4703181"/>
              <a:gd name="connsiteY127" fmla="*/ 10780829 h 12188825"/>
              <a:gd name="connsiteX128" fmla="*/ 2551735 w 4703181"/>
              <a:gd name="connsiteY128" fmla="*/ 10104229 h 12188825"/>
              <a:gd name="connsiteX129" fmla="*/ 1970028 w 4703181"/>
              <a:gd name="connsiteY129" fmla="*/ 6740414 h 12188825"/>
              <a:gd name="connsiteX130" fmla="*/ 1957901 w 4703181"/>
              <a:gd name="connsiteY130" fmla="*/ 4510657 h 12188825"/>
              <a:gd name="connsiteX131" fmla="*/ 2187923 w 4703181"/>
              <a:gd name="connsiteY131" fmla="*/ 2992193 h 12188825"/>
              <a:gd name="connsiteX132" fmla="*/ 2327189 w 4703181"/>
              <a:gd name="connsiteY132" fmla="*/ 2215153 h 12188825"/>
              <a:gd name="connsiteX133" fmla="*/ 2523959 w 4703181"/>
              <a:gd name="connsiteY133" fmla="*/ 2740 h 12188825"/>
              <a:gd name="connsiteX134" fmla="*/ 2511832 w 4703181"/>
              <a:gd name="connsiteY134" fmla="*/ 2740 h 12188825"/>
              <a:gd name="connsiteX135" fmla="*/ 2312323 w 4703181"/>
              <a:gd name="connsiteY135" fmla="*/ 2209675 h 12188825"/>
              <a:gd name="connsiteX136" fmla="*/ 2176187 w 4703181"/>
              <a:gd name="connsiteY136" fmla="*/ 2986712 h 12188825"/>
              <a:gd name="connsiteX137" fmla="*/ 1946165 w 4703181"/>
              <a:gd name="connsiteY137" fmla="*/ 4509744 h 12188825"/>
              <a:gd name="connsiteX138" fmla="*/ 1904686 w 4703181"/>
              <a:gd name="connsiteY138" fmla="*/ 5400875 h 12188825"/>
              <a:gd name="connsiteX139" fmla="*/ 1787040 w 4703181"/>
              <a:gd name="connsiteY139" fmla="*/ 5492377 h 12188825"/>
              <a:gd name="connsiteX140" fmla="*/ 1843281 w 4703181"/>
              <a:gd name="connsiteY140" fmla="*/ 6834463 h 12188825"/>
              <a:gd name="connsiteX141" fmla="*/ 2439853 w 4703181"/>
              <a:gd name="connsiteY141" fmla="*/ 10207409 h 12188825"/>
              <a:gd name="connsiteX142" fmla="*/ 2709386 w 4703181"/>
              <a:gd name="connsiteY142" fmla="*/ 10884007 h 12188825"/>
              <a:gd name="connsiteX143" fmla="*/ 3427751 w 4703181"/>
              <a:gd name="connsiteY143" fmla="*/ 12110033 h 12188825"/>
              <a:gd name="connsiteX144" fmla="*/ 3487403 w 4703181"/>
              <a:gd name="connsiteY144" fmla="*/ 12188825 h 12188825"/>
              <a:gd name="connsiteX145" fmla="*/ 3507219 w 4703181"/>
              <a:gd name="connsiteY145" fmla="*/ 12188825 h 12188825"/>
              <a:gd name="connsiteX146" fmla="*/ 3436975 w 4703181"/>
              <a:gd name="connsiteY146" fmla="*/ 12096025 h 12188825"/>
              <a:gd name="connsiteX147" fmla="*/ 2721513 w 4703181"/>
              <a:gd name="connsiteY147" fmla="*/ 10870309 h 12188825"/>
              <a:gd name="connsiteX148" fmla="*/ 2451980 w 4703181"/>
              <a:gd name="connsiteY148" fmla="*/ 10198279 h 12188825"/>
              <a:gd name="connsiteX149" fmla="*/ 1855408 w 4703181"/>
              <a:gd name="connsiteY149" fmla="*/ 6834463 h 12188825"/>
              <a:gd name="connsiteX150" fmla="*/ 1837413 w 4703181"/>
              <a:gd name="connsiteY150" fmla="*/ 4601050 h 12188825"/>
              <a:gd name="connsiteX151" fmla="*/ 2064697 w 4703181"/>
              <a:gd name="connsiteY151" fmla="*/ 3069802 h 12188825"/>
              <a:gd name="connsiteX152" fmla="*/ 2198094 w 4703181"/>
              <a:gd name="connsiteY152" fmla="*/ 2292765 h 12188825"/>
              <a:gd name="connsiteX153" fmla="*/ 2397994 w 4703181"/>
              <a:gd name="connsiteY153" fmla="*/ 1828 h 12188825"/>
              <a:gd name="connsiteX154" fmla="*/ 2385867 w 4703181"/>
              <a:gd name="connsiteY154" fmla="*/ 1828 h 12188825"/>
              <a:gd name="connsiteX155" fmla="*/ 2185968 w 4703181"/>
              <a:gd name="connsiteY155" fmla="*/ 2288202 h 12188825"/>
              <a:gd name="connsiteX156" fmla="*/ 2052571 w 4703181"/>
              <a:gd name="connsiteY156" fmla="*/ 3065236 h 12188825"/>
              <a:gd name="connsiteX157" fmla="*/ 1825286 w 4703181"/>
              <a:gd name="connsiteY157" fmla="*/ 4601050 h 12188825"/>
              <a:gd name="connsiteX158" fmla="*/ 1787040 w 4703181"/>
              <a:gd name="connsiteY158" fmla="*/ 5492377 h 12188825"/>
              <a:gd name="connsiteX159" fmla="*/ 1667909 w 4703181"/>
              <a:gd name="connsiteY159" fmla="*/ 5586534 h 12188825"/>
              <a:gd name="connsiteX160" fmla="*/ 1727879 w 4703181"/>
              <a:gd name="connsiteY160" fmla="*/ 6931252 h 12188825"/>
              <a:gd name="connsiteX161" fmla="*/ 2339707 w 4703181"/>
              <a:gd name="connsiteY161" fmla="*/ 10304197 h 12188825"/>
              <a:gd name="connsiteX162" fmla="*/ 2612370 w 4703181"/>
              <a:gd name="connsiteY162" fmla="*/ 10980795 h 12188825"/>
              <a:gd name="connsiteX163" fmla="*/ 3169382 w 4703181"/>
              <a:gd name="connsiteY163" fmla="*/ 11968983 h 12188825"/>
              <a:gd name="connsiteX164" fmla="*/ 3323303 w 4703181"/>
              <a:gd name="connsiteY164" fmla="*/ 12188825 h 12188825"/>
              <a:gd name="connsiteX165" fmla="*/ 3342512 w 4703181"/>
              <a:gd name="connsiteY165" fmla="*/ 12188825 h 12188825"/>
              <a:gd name="connsiteX166" fmla="*/ 3179553 w 4703181"/>
              <a:gd name="connsiteY166" fmla="*/ 11956086 h 12188825"/>
              <a:gd name="connsiteX167" fmla="*/ 2621367 w 4703181"/>
              <a:gd name="connsiteY167" fmla="*/ 10966185 h 12188825"/>
              <a:gd name="connsiteX168" fmla="*/ 2348705 w 4703181"/>
              <a:gd name="connsiteY168" fmla="*/ 10294153 h 12188825"/>
              <a:gd name="connsiteX169" fmla="*/ 1740006 w 4703181"/>
              <a:gd name="connsiteY169" fmla="*/ 6925774 h 12188825"/>
              <a:gd name="connsiteX170" fmla="*/ 1715752 w 4703181"/>
              <a:gd name="connsiteY170" fmla="*/ 4692361 h 12188825"/>
              <a:gd name="connsiteX171" fmla="*/ 1939906 w 4703181"/>
              <a:gd name="connsiteY171" fmla="*/ 3147416 h 12188825"/>
              <a:gd name="connsiteX172" fmla="*/ 2070174 w 4703181"/>
              <a:gd name="connsiteY172" fmla="*/ 2374942 h 12188825"/>
              <a:gd name="connsiteX173" fmla="*/ 2266945 w 4703181"/>
              <a:gd name="connsiteY173" fmla="*/ 1828 h 12188825"/>
              <a:gd name="connsiteX174" fmla="*/ 2254818 w 4703181"/>
              <a:gd name="connsiteY174" fmla="*/ 1828 h 12188825"/>
              <a:gd name="connsiteX175" fmla="*/ 2058047 w 4703181"/>
              <a:gd name="connsiteY175" fmla="*/ 2371292 h 12188825"/>
              <a:gd name="connsiteX176" fmla="*/ 1927780 w 4703181"/>
              <a:gd name="connsiteY176" fmla="*/ 3143763 h 12188825"/>
              <a:gd name="connsiteX177" fmla="*/ 1703625 w 4703181"/>
              <a:gd name="connsiteY177" fmla="*/ 4688707 h 12188825"/>
              <a:gd name="connsiteX178" fmla="*/ 1667909 w 4703181"/>
              <a:gd name="connsiteY178" fmla="*/ 5586534 h 12188825"/>
              <a:gd name="connsiteX179" fmla="*/ 1550530 w 4703181"/>
              <a:gd name="connsiteY179" fmla="*/ 5681294 h 12188825"/>
              <a:gd name="connsiteX180" fmla="*/ 1615997 w 4703181"/>
              <a:gd name="connsiteY180" fmla="*/ 7027126 h 12188825"/>
              <a:gd name="connsiteX181" fmla="*/ 2236823 w 4703181"/>
              <a:gd name="connsiteY181" fmla="*/ 10400071 h 12188825"/>
              <a:gd name="connsiteX182" fmla="*/ 2512615 w 4703181"/>
              <a:gd name="connsiteY182" fmla="*/ 11076669 h 12188825"/>
              <a:gd name="connsiteX183" fmla="*/ 3074126 w 4703181"/>
              <a:gd name="connsiteY183" fmla="*/ 12061434 h 12188825"/>
              <a:gd name="connsiteX184" fmla="*/ 3163837 w 4703181"/>
              <a:gd name="connsiteY184" fmla="*/ 12188825 h 12188825"/>
              <a:gd name="connsiteX185" fmla="*/ 3182377 w 4703181"/>
              <a:gd name="connsiteY185" fmla="*/ 12188825 h 12188825"/>
              <a:gd name="connsiteX186" fmla="*/ 3083514 w 4703181"/>
              <a:gd name="connsiteY186" fmla="*/ 12048879 h 12188825"/>
              <a:gd name="connsiteX187" fmla="*/ 2524742 w 4703181"/>
              <a:gd name="connsiteY187" fmla="*/ 11062973 h 12188825"/>
              <a:gd name="connsiteX188" fmla="*/ 2248950 w 4703181"/>
              <a:gd name="connsiteY188" fmla="*/ 10390941 h 12188825"/>
              <a:gd name="connsiteX189" fmla="*/ 1628124 w 4703181"/>
              <a:gd name="connsiteY189" fmla="*/ 7022561 h 12188825"/>
              <a:gd name="connsiteX190" fmla="*/ 1594873 w 4703181"/>
              <a:gd name="connsiteY190" fmla="*/ 4784582 h 12188825"/>
              <a:gd name="connsiteX191" fmla="*/ 1815897 w 4703181"/>
              <a:gd name="connsiteY191" fmla="*/ 3222290 h 12188825"/>
              <a:gd name="connsiteX192" fmla="*/ 1943036 w 4703181"/>
              <a:gd name="connsiteY192" fmla="*/ 2458948 h 12188825"/>
              <a:gd name="connsiteX193" fmla="*/ 2137069 w 4703181"/>
              <a:gd name="connsiteY193" fmla="*/ 2740 h 12188825"/>
              <a:gd name="connsiteX194" fmla="*/ 2124941 w 4703181"/>
              <a:gd name="connsiteY194" fmla="*/ 2740 h 12188825"/>
              <a:gd name="connsiteX195" fmla="*/ 1930909 w 4703181"/>
              <a:gd name="connsiteY195" fmla="*/ 2454383 h 12188825"/>
              <a:gd name="connsiteX196" fmla="*/ 1803770 w 4703181"/>
              <a:gd name="connsiteY196" fmla="*/ 3217722 h 12188825"/>
              <a:gd name="connsiteX197" fmla="*/ 1582746 w 4703181"/>
              <a:gd name="connsiteY197" fmla="*/ 4780017 h 12188825"/>
              <a:gd name="connsiteX198" fmla="*/ 1550530 w 4703181"/>
              <a:gd name="connsiteY198" fmla="*/ 5681294 h 12188825"/>
              <a:gd name="connsiteX199" fmla="*/ 1431558 w 4703181"/>
              <a:gd name="connsiteY199" fmla="*/ 5774658 h 12188825"/>
              <a:gd name="connsiteX200" fmla="*/ 1500204 w 4703181"/>
              <a:gd name="connsiteY200" fmla="*/ 7117519 h 12188825"/>
              <a:gd name="connsiteX201" fmla="*/ 2133156 w 4703181"/>
              <a:gd name="connsiteY201" fmla="*/ 10494119 h 12188825"/>
              <a:gd name="connsiteX202" fmla="*/ 2411687 w 4703181"/>
              <a:gd name="connsiteY202" fmla="*/ 11170717 h 12188825"/>
              <a:gd name="connsiteX203" fmla="*/ 2976670 w 4703181"/>
              <a:gd name="connsiteY203" fmla="*/ 12150117 h 12188825"/>
              <a:gd name="connsiteX204" fmla="*/ 3004167 w 4703181"/>
              <a:gd name="connsiteY204" fmla="*/ 12188825 h 12188825"/>
              <a:gd name="connsiteX205" fmla="*/ 3021808 w 4703181"/>
              <a:gd name="connsiteY205" fmla="*/ 12188825 h 12188825"/>
              <a:gd name="connsiteX206" fmla="*/ 2986254 w 4703181"/>
              <a:gd name="connsiteY206" fmla="*/ 12138704 h 12188825"/>
              <a:gd name="connsiteX207" fmla="*/ 2424205 w 4703181"/>
              <a:gd name="connsiteY207" fmla="*/ 11157933 h 12188825"/>
              <a:gd name="connsiteX208" fmla="*/ 2145674 w 4703181"/>
              <a:gd name="connsiteY208" fmla="*/ 10490465 h 12188825"/>
              <a:gd name="connsiteX209" fmla="*/ 1512722 w 4703181"/>
              <a:gd name="connsiteY209" fmla="*/ 7117519 h 12188825"/>
              <a:gd name="connsiteX210" fmla="*/ 1476341 w 4703181"/>
              <a:gd name="connsiteY210" fmla="*/ 4870413 h 12188825"/>
              <a:gd name="connsiteX211" fmla="*/ 1691498 w 4703181"/>
              <a:gd name="connsiteY211" fmla="*/ 3299899 h 12188825"/>
              <a:gd name="connsiteX212" fmla="*/ 1815506 w 4703181"/>
              <a:gd name="connsiteY212" fmla="*/ 2541124 h 12188825"/>
              <a:gd name="connsiteX213" fmla="*/ 2006409 w 4703181"/>
              <a:gd name="connsiteY213" fmla="*/ 1828 h 12188825"/>
              <a:gd name="connsiteX214" fmla="*/ 1994282 w 4703181"/>
              <a:gd name="connsiteY214" fmla="*/ 1828 h 12188825"/>
              <a:gd name="connsiteX215" fmla="*/ 1800249 w 4703181"/>
              <a:gd name="connsiteY215" fmla="*/ 2536561 h 12188825"/>
              <a:gd name="connsiteX216" fmla="*/ 1678979 w 4703181"/>
              <a:gd name="connsiteY216" fmla="*/ 3295335 h 12188825"/>
              <a:gd name="connsiteX217" fmla="*/ 1460694 w 4703181"/>
              <a:gd name="connsiteY217" fmla="*/ 4870413 h 12188825"/>
              <a:gd name="connsiteX218" fmla="*/ 1431558 w 4703181"/>
              <a:gd name="connsiteY218" fmla="*/ 5774658 h 12188825"/>
              <a:gd name="connsiteX219" fmla="*/ 1316783 w 4703181"/>
              <a:gd name="connsiteY219" fmla="*/ 5983239 h 12188825"/>
              <a:gd name="connsiteX220" fmla="*/ 1385585 w 4703181"/>
              <a:gd name="connsiteY220" fmla="*/ 7212481 h 12188825"/>
              <a:gd name="connsiteX221" fmla="*/ 2033793 w 4703181"/>
              <a:gd name="connsiteY221" fmla="*/ 10593645 h 12188825"/>
              <a:gd name="connsiteX222" fmla="*/ 2315453 w 4703181"/>
              <a:gd name="connsiteY222" fmla="*/ 11261111 h 12188825"/>
              <a:gd name="connsiteX223" fmla="*/ 2725552 w 4703181"/>
              <a:gd name="connsiteY223" fmla="*/ 12002591 h 12188825"/>
              <a:gd name="connsiteX224" fmla="*/ 2848013 w 4703181"/>
              <a:gd name="connsiteY224" fmla="*/ 12188825 h 12188825"/>
              <a:gd name="connsiteX225" fmla="*/ 2864698 w 4703181"/>
              <a:gd name="connsiteY225" fmla="*/ 12188825 h 12188825"/>
              <a:gd name="connsiteX226" fmla="*/ 2734549 w 4703181"/>
              <a:gd name="connsiteY226" fmla="*/ 11991212 h 12188825"/>
              <a:gd name="connsiteX227" fmla="*/ 2324449 w 4703181"/>
              <a:gd name="connsiteY227" fmla="*/ 11252895 h 12188825"/>
              <a:gd name="connsiteX228" fmla="*/ 2045921 w 4703181"/>
              <a:gd name="connsiteY228" fmla="*/ 10585427 h 12188825"/>
              <a:gd name="connsiteX229" fmla="*/ 1400840 w 4703181"/>
              <a:gd name="connsiteY229" fmla="*/ 7212481 h 12188825"/>
              <a:gd name="connsiteX230" fmla="*/ 1355462 w 4703181"/>
              <a:gd name="connsiteY230" fmla="*/ 4960808 h 12188825"/>
              <a:gd name="connsiteX231" fmla="*/ 1567490 w 4703181"/>
              <a:gd name="connsiteY231" fmla="*/ 3372947 h 12188825"/>
              <a:gd name="connsiteX232" fmla="*/ 1685629 w 4703181"/>
              <a:gd name="connsiteY232" fmla="*/ 2617826 h 12188825"/>
              <a:gd name="connsiteX233" fmla="*/ 1876533 w 4703181"/>
              <a:gd name="connsiteY233" fmla="*/ 0 h 12188825"/>
              <a:gd name="connsiteX234" fmla="*/ 1864406 w 4703181"/>
              <a:gd name="connsiteY234" fmla="*/ 0 h 12188825"/>
              <a:gd name="connsiteX235" fmla="*/ 1673502 w 4703181"/>
              <a:gd name="connsiteY235" fmla="*/ 2617826 h 12188825"/>
              <a:gd name="connsiteX236" fmla="*/ 1555363 w 4703181"/>
              <a:gd name="connsiteY236" fmla="*/ 3368384 h 12188825"/>
              <a:gd name="connsiteX237" fmla="*/ 1343334 w 4703181"/>
              <a:gd name="connsiteY237" fmla="*/ 4960808 h 12188825"/>
              <a:gd name="connsiteX238" fmla="*/ 1316783 w 4703181"/>
              <a:gd name="connsiteY238" fmla="*/ 5983239 h 12188825"/>
              <a:gd name="connsiteX239" fmla="*/ 1197424 w 4703181"/>
              <a:gd name="connsiteY239" fmla="*/ 5940738 h 12188825"/>
              <a:gd name="connsiteX240" fmla="*/ 1273311 w 4703181"/>
              <a:gd name="connsiteY240" fmla="*/ 7308355 h 12188825"/>
              <a:gd name="connsiteX241" fmla="*/ 1930518 w 4703181"/>
              <a:gd name="connsiteY241" fmla="*/ 10689519 h 12188825"/>
              <a:gd name="connsiteX242" fmla="*/ 2215308 w 4703181"/>
              <a:gd name="connsiteY242" fmla="*/ 11356985 h 12188825"/>
              <a:gd name="connsiteX243" fmla="*/ 2626706 w 4703181"/>
              <a:gd name="connsiteY243" fmla="*/ 12095496 h 12188825"/>
              <a:gd name="connsiteX244" fmla="*/ 2688496 w 4703181"/>
              <a:gd name="connsiteY244" fmla="*/ 12188825 h 12188825"/>
              <a:gd name="connsiteX245" fmla="*/ 2705295 w 4703181"/>
              <a:gd name="connsiteY245" fmla="*/ 12188825 h 12188825"/>
              <a:gd name="connsiteX246" fmla="*/ 2636193 w 4703181"/>
              <a:gd name="connsiteY246" fmla="*/ 12084548 h 12188825"/>
              <a:gd name="connsiteX247" fmla="*/ 2227435 w 4703181"/>
              <a:gd name="connsiteY247" fmla="*/ 11349683 h 12188825"/>
              <a:gd name="connsiteX248" fmla="*/ 1942645 w 4703181"/>
              <a:gd name="connsiteY248" fmla="*/ 10682215 h 12188825"/>
              <a:gd name="connsiteX249" fmla="*/ 1285438 w 4703181"/>
              <a:gd name="connsiteY249" fmla="*/ 7305617 h 12188825"/>
              <a:gd name="connsiteX250" fmla="*/ 1233801 w 4703181"/>
              <a:gd name="connsiteY250" fmla="*/ 5053943 h 12188825"/>
              <a:gd name="connsiteX251" fmla="*/ 1442698 w 4703181"/>
              <a:gd name="connsiteY251" fmla="*/ 3452387 h 12188825"/>
              <a:gd name="connsiteX252" fmla="*/ 1557710 w 4703181"/>
              <a:gd name="connsiteY252" fmla="*/ 2701828 h 12188825"/>
              <a:gd name="connsiteX253" fmla="*/ 1745483 w 4703181"/>
              <a:gd name="connsiteY253" fmla="*/ 915 h 12188825"/>
              <a:gd name="connsiteX254" fmla="*/ 1733356 w 4703181"/>
              <a:gd name="connsiteY254" fmla="*/ 915 h 12188825"/>
              <a:gd name="connsiteX255" fmla="*/ 1545583 w 4703181"/>
              <a:gd name="connsiteY255" fmla="*/ 2697263 h 12188825"/>
              <a:gd name="connsiteX256" fmla="*/ 1430572 w 4703181"/>
              <a:gd name="connsiteY256" fmla="*/ 3447819 h 12188825"/>
              <a:gd name="connsiteX257" fmla="*/ 1221675 w 4703181"/>
              <a:gd name="connsiteY257" fmla="*/ 5053030 h 12188825"/>
              <a:gd name="connsiteX258" fmla="*/ 1199101 w 4703181"/>
              <a:gd name="connsiteY258" fmla="*/ 5547053 h 12188825"/>
              <a:gd name="connsiteX259" fmla="*/ 1197424 w 4703181"/>
              <a:gd name="connsiteY259" fmla="*/ 5940738 h 12188825"/>
              <a:gd name="connsiteX260" fmla="*/ 1078828 w 4703181"/>
              <a:gd name="connsiteY260" fmla="*/ 6036519 h 12188825"/>
              <a:gd name="connsiteX261" fmla="*/ 1157909 w 4703181"/>
              <a:gd name="connsiteY261" fmla="*/ 7406058 h 12188825"/>
              <a:gd name="connsiteX262" fmla="*/ 1830372 w 4703181"/>
              <a:gd name="connsiteY262" fmla="*/ 10787217 h 12188825"/>
              <a:gd name="connsiteX263" fmla="*/ 2115162 w 4703181"/>
              <a:gd name="connsiteY263" fmla="*/ 11454687 h 12188825"/>
              <a:gd name="connsiteX264" fmla="*/ 2381296 w 4703181"/>
              <a:gd name="connsiteY264" fmla="*/ 11948440 h 12188825"/>
              <a:gd name="connsiteX265" fmla="*/ 2529188 w 4703181"/>
              <a:gd name="connsiteY265" fmla="*/ 12188825 h 12188825"/>
              <a:gd name="connsiteX266" fmla="*/ 2547321 w 4703181"/>
              <a:gd name="connsiteY266" fmla="*/ 12188825 h 12188825"/>
              <a:gd name="connsiteX267" fmla="*/ 2539574 w 4703181"/>
              <a:gd name="connsiteY267" fmla="*/ 12177213 h 12188825"/>
              <a:gd name="connsiteX268" fmla="*/ 2127288 w 4703181"/>
              <a:gd name="connsiteY268" fmla="*/ 11445557 h 12188825"/>
              <a:gd name="connsiteX269" fmla="*/ 1842499 w 4703181"/>
              <a:gd name="connsiteY269" fmla="*/ 10778089 h 12188825"/>
              <a:gd name="connsiteX270" fmla="*/ 1170035 w 4703181"/>
              <a:gd name="connsiteY270" fmla="*/ 7401491 h 12188825"/>
              <a:gd name="connsiteX271" fmla="*/ 1112530 w 4703181"/>
              <a:gd name="connsiteY271" fmla="*/ 5146165 h 12188825"/>
              <a:gd name="connsiteX272" fmla="*/ 1318690 w 4703181"/>
              <a:gd name="connsiteY272" fmla="*/ 3527258 h 12188825"/>
              <a:gd name="connsiteX273" fmla="*/ 1430572 w 4703181"/>
              <a:gd name="connsiteY273" fmla="*/ 2785833 h 12188825"/>
              <a:gd name="connsiteX274" fmla="*/ 1612477 w 4703181"/>
              <a:gd name="connsiteY274" fmla="*/ 1828 h 12188825"/>
              <a:gd name="connsiteX275" fmla="*/ 1600350 w 4703181"/>
              <a:gd name="connsiteY275" fmla="*/ 1828 h 12188825"/>
              <a:gd name="connsiteX276" fmla="*/ 1418445 w 4703181"/>
              <a:gd name="connsiteY276" fmla="*/ 2781267 h 12188825"/>
              <a:gd name="connsiteX277" fmla="*/ 1306563 w 4703181"/>
              <a:gd name="connsiteY277" fmla="*/ 3522695 h 12188825"/>
              <a:gd name="connsiteX278" fmla="*/ 1100403 w 4703181"/>
              <a:gd name="connsiteY278" fmla="*/ 5141598 h 12188825"/>
              <a:gd name="connsiteX279" fmla="*/ 1079627 w 4703181"/>
              <a:gd name="connsiteY279" fmla="*/ 5640773 h 12188825"/>
              <a:gd name="connsiteX280" fmla="*/ 1078828 w 4703181"/>
              <a:gd name="connsiteY280" fmla="*/ 6036519 h 12188825"/>
              <a:gd name="connsiteX281" fmla="*/ 959287 w 4703181"/>
              <a:gd name="connsiteY281" fmla="*/ 5865907 h 12188825"/>
              <a:gd name="connsiteX282" fmla="*/ 1043290 w 4703181"/>
              <a:gd name="connsiteY282" fmla="*/ 7499191 h 12188825"/>
              <a:gd name="connsiteX283" fmla="*/ 1727879 w 4703181"/>
              <a:gd name="connsiteY283" fmla="*/ 10884919 h 12188825"/>
              <a:gd name="connsiteX284" fmla="*/ 2018536 w 4703181"/>
              <a:gd name="connsiteY284" fmla="*/ 11552387 h 12188825"/>
              <a:gd name="connsiteX285" fmla="*/ 2284769 w 4703181"/>
              <a:gd name="connsiteY285" fmla="*/ 12042929 h 12188825"/>
              <a:gd name="connsiteX286" fmla="*/ 2375119 w 4703181"/>
              <a:gd name="connsiteY286" fmla="*/ 12188825 h 12188825"/>
              <a:gd name="connsiteX287" fmla="*/ 2392293 w 4703181"/>
              <a:gd name="connsiteY287" fmla="*/ 12188825 h 12188825"/>
              <a:gd name="connsiteX288" fmla="*/ 2293718 w 4703181"/>
              <a:gd name="connsiteY288" fmla="*/ 12030174 h 12188825"/>
              <a:gd name="connsiteX289" fmla="*/ 2027534 w 4703181"/>
              <a:gd name="connsiteY289" fmla="*/ 11542343 h 12188825"/>
              <a:gd name="connsiteX290" fmla="*/ 1739615 w 4703181"/>
              <a:gd name="connsiteY290" fmla="*/ 10874877 h 12188825"/>
              <a:gd name="connsiteX291" fmla="*/ 1058154 w 4703181"/>
              <a:gd name="connsiteY291" fmla="*/ 7498278 h 12188825"/>
              <a:gd name="connsiteX292" fmla="*/ 991652 w 4703181"/>
              <a:gd name="connsiteY292" fmla="*/ 5238385 h 12188825"/>
              <a:gd name="connsiteX293" fmla="*/ 1194681 w 4703181"/>
              <a:gd name="connsiteY293" fmla="*/ 3602132 h 12188825"/>
              <a:gd name="connsiteX294" fmla="*/ 1303825 w 4703181"/>
              <a:gd name="connsiteY294" fmla="*/ 2868924 h 12188825"/>
              <a:gd name="connsiteX295" fmla="*/ 1482601 w 4703181"/>
              <a:gd name="connsiteY295" fmla="*/ 2740 h 12188825"/>
              <a:gd name="connsiteX296" fmla="*/ 1470474 w 4703181"/>
              <a:gd name="connsiteY296" fmla="*/ 2740 h 12188825"/>
              <a:gd name="connsiteX297" fmla="*/ 1288567 w 4703181"/>
              <a:gd name="connsiteY297" fmla="*/ 2865272 h 12188825"/>
              <a:gd name="connsiteX298" fmla="*/ 1182554 w 4703181"/>
              <a:gd name="connsiteY298" fmla="*/ 3598481 h 12188825"/>
              <a:gd name="connsiteX299" fmla="*/ 979525 w 4703181"/>
              <a:gd name="connsiteY299" fmla="*/ 5234734 h 12188825"/>
              <a:gd name="connsiteX300" fmla="*/ 959287 w 4703181"/>
              <a:gd name="connsiteY300" fmla="*/ 5865907 h 12188825"/>
              <a:gd name="connsiteX301" fmla="*/ 840186 w 4703181"/>
              <a:gd name="connsiteY301" fmla="*/ 5825530 h 12188825"/>
              <a:gd name="connsiteX302" fmla="*/ 930625 w 4703181"/>
              <a:gd name="connsiteY302" fmla="*/ 7594154 h 12188825"/>
              <a:gd name="connsiteX303" fmla="*/ 1627342 w 4703181"/>
              <a:gd name="connsiteY303" fmla="*/ 10979883 h 12188825"/>
              <a:gd name="connsiteX304" fmla="*/ 1917999 w 4703181"/>
              <a:gd name="connsiteY304" fmla="*/ 11647349 h 12188825"/>
              <a:gd name="connsiteX305" fmla="*/ 2186524 w 4703181"/>
              <a:gd name="connsiteY305" fmla="*/ 12137948 h 12188825"/>
              <a:gd name="connsiteX306" fmla="*/ 2218239 w 4703181"/>
              <a:gd name="connsiteY306" fmla="*/ 12188825 h 12188825"/>
              <a:gd name="connsiteX307" fmla="*/ 2235959 w 4703181"/>
              <a:gd name="connsiteY307" fmla="*/ 12188825 h 12188825"/>
              <a:gd name="connsiteX308" fmla="*/ 2196903 w 4703181"/>
              <a:gd name="connsiteY308" fmla="*/ 12126177 h 12188825"/>
              <a:gd name="connsiteX309" fmla="*/ 1930127 w 4703181"/>
              <a:gd name="connsiteY309" fmla="*/ 11638217 h 12188825"/>
              <a:gd name="connsiteX310" fmla="*/ 1636339 w 4703181"/>
              <a:gd name="connsiteY310" fmla="*/ 10970751 h 12188825"/>
              <a:gd name="connsiteX311" fmla="*/ 942752 w 4703181"/>
              <a:gd name="connsiteY311" fmla="*/ 7589586 h 12188825"/>
              <a:gd name="connsiteX312" fmla="*/ 873120 w 4703181"/>
              <a:gd name="connsiteY312" fmla="*/ 5325130 h 12188825"/>
              <a:gd name="connsiteX313" fmla="*/ 1069890 w 4703181"/>
              <a:gd name="connsiteY313" fmla="*/ 3676093 h 12188825"/>
              <a:gd name="connsiteX314" fmla="*/ 1172775 w 4703181"/>
              <a:gd name="connsiteY314" fmla="*/ 2947449 h 12188825"/>
              <a:gd name="connsiteX315" fmla="*/ 1351550 w 4703181"/>
              <a:gd name="connsiteY315" fmla="*/ 2740 h 12188825"/>
              <a:gd name="connsiteX316" fmla="*/ 1336294 w 4703181"/>
              <a:gd name="connsiteY316" fmla="*/ 2740 h 12188825"/>
              <a:gd name="connsiteX317" fmla="*/ 1160646 w 4703181"/>
              <a:gd name="connsiteY317" fmla="*/ 2947449 h 12188825"/>
              <a:gd name="connsiteX318" fmla="*/ 1057764 w 4703181"/>
              <a:gd name="connsiteY318" fmla="*/ 3671527 h 12188825"/>
              <a:gd name="connsiteX319" fmla="*/ 857863 w 4703181"/>
              <a:gd name="connsiteY319" fmla="*/ 5325130 h 12188825"/>
              <a:gd name="connsiteX320" fmla="*/ 840186 w 4703181"/>
              <a:gd name="connsiteY320" fmla="*/ 5825530 h 12188825"/>
              <a:gd name="connsiteX321" fmla="*/ 722094 w 4703181"/>
              <a:gd name="connsiteY321" fmla="*/ 5919464 h 12188825"/>
              <a:gd name="connsiteX322" fmla="*/ 815614 w 4703181"/>
              <a:gd name="connsiteY322" fmla="*/ 7689116 h 12188825"/>
              <a:gd name="connsiteX323" fmla="*/ 1524458 w 4703181"/>
              <a:gd name="connsiteY323" fmla="*/ 11074841 h 12188825"/>
              <a:gd name="connsiteX324" fmla="*/ 1821373 w 4703181"/>
              <a:gd name="connsiteY324" fmla="*/ 11742309 h 12188825"/>
              <a:gd name="connsiteX325" fmla="*/ 1950186 w 4703181"/>
              <a:gd name="connsiteY325" fmla="*/ 11988534 h 12188825"/>
              <a:gd name="connsiteX326" fmla="*/ 2065263 w 4703181"/>
              <a:gd name="connsiteY326" fmla="*/ 12188825 h 12188825"/>
              <a:gd name="connsiteX327" fmla="*/ 2081369 w 4703181"/>
              <a:gd name="connsiteY327" fmla="*/ 12188825 h 12188825"/>
              <a:gd name="connsiteX328" fmla="*/ 1959970 w 4703181"/>
              <a:gd name="connsiteY328" fmla="*/ 11978801 h 12188825"/>
              <a:gd name="connsiteX329" fmla="*/ 1830372 w 4703181"/>
              <a:gd name="connsiteY329" fmla="*/ 11734091 h 12188825"/>
              <a:gd name="connsiteX330" fmla="*/ 1536586 w 4703181"/>
              <a:gd name="connsiteY330" fmla="*/ 11066623 h 12188825"/>
              <a:gd name="connsiteX331" fmla="*/ 827740 w 4703181"/>
              <a:gd name="connsiteY331" fmla="*/ 7685460 h 12188825"/>
              <a:gd name="connsiteX332" fmla="*/ 751848 w 4703181"/>
              <a:gd name="connsiteY332" fmla="*/ 5416439 h 12188825"/>
              <a:gd name="connsiteX333" fmla="*/ 945882 w 4703181"/>
              <a:gd name="connsiteY333" fmla="*/ 3750052 h 12188825"/>
              <a:gd name="connsiteX334" fmla="*/ 1046028 w 4703181"/>
              <a:gd name="connsiteY334" fmla="*/ 3030539 h 12188825"/>
              <a:gd name="connsiteX335" fmla="*/ 1218545 w 4703181"/>
              <a:gd name="connsiteY335" fmla="*/ 2740 h 12188825"/>
              <a:gd name="connsiteX336" fmla="*/ 1206418 w 4703181"/>
              <a:gd name="connsiteY336" fmla="*/ 2740 h 12188825"/>
              <a:gd name="connsiteX337" fmla="*/ 1033901 w 4703181"/>
              <a:gd name="connsiteY337" fmla="*/ 3025976 h 12188825"/>
              <a:gd name="connsiteX338" fmla="*/ 933753 w 4703181"/>
              <a:gd name="connsiteY338" fmla="*/ 3750052 h 12188825"/>
              <a:gd name="connsiteX339" fmla="*/ 739722 w 4703181"/>
              <a:gd name="connsiteY339" fmla="*/ 5416439 h 12188825"/>
              <a:gd name="connsiteX340" fmla="*/ 722094 w 4703181"/>
              <a:gd name="connsiteY340" fmla="*/ 5919464 h 12188825"/>
              <a:gd name="connsiteX341" fmla="*/ 603508 w 4703181"/>
              <a:gd name="connsiteY341" fmla="*/ 6013313 h 12188825"/>
              <a:gd name="connsiteX342" fmla="*/ 700603 w 4703181"/>
              <a:gd name="connsiteY342" fmla="*/ 7786812 h 12188825"/>
              <a:gd name="connsiteX343" fmla="*/ 1424703 w 4703181"/>
              <a:gd name="connsiteY343" fmla="*/ 11172543 h 12188825"/>
              <a:gd name="connsiteX344" fmla="*/ 1721620 w 4703181"/>
              <a:gd name="connsiteY344" fmla="*/ 11840011 h 12188825"/>
              <a:gd name="connsiteX345" fmla="*/ 1851477 w 4703181"/>
              <a:gd name="connsiteY345" fmla="*/ 12084841 h 12188825"/>
              <a:gd name="connsiteX346" fmla="*/ 1911933 w 4703181"/>
              <a:gd name="connsiteY346" fmla="*/ 12188825 h 12188825"/>
              <a:gd name="connsiteX347" fmla="*/ 1927592 w 4703181"/>
              <a:gd name="connsiteY347" fmla="*/ 12188825 h 12188825"/>
              <a:gd name="connsiteX348" fmla="*/ 1860469 w 4703181"/>
              <a:gd name="connsiteY348" fmla="*/ 12073940 h 12188825"/>
              <a:gd name="connsiteX349" fmla="*/ 1730618 w 4703181"/>
              <a:gd name="connsiteY349" fmla="*/ 11830879 h 12188825"/>
              <a:gd name="connsiteX350" fmla="*/ 1433702 w 4703181"/>
              <a:gd name="connsiteY350" fmla="*/ 11163411 h 12188825"/>
              <a:gd name="connsiteX351" fmla="*/ 715859 w 4703181"/>
              <a:gd name="connsiteY351" fmla="*/ 7782246 h 12188825"/>
              <a:gd name="connsiteX352" fmla="*/ 630971 w 4703181"/>
              <a:gd name="connsiteY352" fmla="*/ 5509573 h 12188825"/>
              <a:gd name="connsiteX353" fmla="*/ 821873 w 4703181"/>
              <a:gd name="connsiteY353" fmla="*/ 3829491 h 12188825"/>
              <a:gd name="connsiteX354" fmla="*/ 918889 w 4703181"/>
              <a:gd name="connsiteY354" fmla="*/ 3113632 h 12188825"/>
              <a:gd name="connsiteX355" fmla="*/ 1088668 w 4703181"/>
              <a:gd name="connsiteY355" fmla="*/ 2740 h 12188825"/>
              <a:gd name="connsiteX356" fmla="*/ 1073411 w 4703181"/>
              <a:gd name="connsiteY356" fmla="*/ 2740 h 12188825"/>
              <a:gd name="connsiteX357" fmla="*/ 906763 w 4703181"/>
              <a:gd name="connsiteY357" fmla="*/ 3109066 h 12188825"/>
              <a:gd name="connsiteX358" fmla="*/ 806616 w 4703181"/>
              <a:gd name="connsiteY358" fmla="*/ 3824928 h 12188825"/>
              <a:gd name="connsiteX359" fmla="*/ 618843 w 4703181"/>
              <a:gd name="connsiteY359" fmla="*/ 5505008 h 12188825"/>
              <a:gd name="connsiteX360" fmla="*/ 603508 w 4703181"/>
              <a:gd name="connsiteY360" fmla="*/ 6013313 h 12188825"/>
              <a:gd name="connsiteX361" fmla="*/ 484138 w 4703181"/>
              <a:gd name="connsiteY361" fmla="*/ 6104622 h 12188825"/>
              <a:gd name="connsiteX362" fmla="*/ 588330 w 4703181"/>
              <a:gd name="connsiteY362" fmla="*/ 7878123 h 12188825"/>
              <a:gd name="connsiteX363" fmla="*/ 1321429 w 4703181"/>
              <a:gd name="connsiteY363" fmla="*/ 11268417 h 12188825"/>
              <a:gd name="connsiteX364" fmla="*/ 1621474 w 4703181"/>
              <a:gd name="connsiteY364" fmla="*/ 11935885 h 12188825"/>
              <a:gd name="connsiteX365" fmla="*/ 1752247 w 4703181"/>
              <a:gd name="connsiteY365" fmla="*/ 12177898 h 12188825"/>
              <a:gd name="connsiteX366" fmla="*/ 1758681 w 4703181"/>
              <a:gd name="connsiteY366" fmla="*/ 12188825 h 12188825"/>
              <a:gd name="connsiteX367" fmla="*/ 1777889 w 4703181"/>
              <a:gd name="connsiteY367" fmla="*/ 12188825 h 12188825"/>
              <a:gd name="connsiteX368" fmla="*/ 1763464 w 4703181"/>
              <a:gd name="connsiteY368" fmla="*/ 12164202 h 12188825"/>
              <a:gd name="connsiteX369" fmla="*/ 1633601 w 4703181"/>
              <a:gd name="connsiteY369" fmla="*/ 11922189 h 12188825"/>
              <a:gd name="connsiteX370" fmla="*/ 1333556 w 4703181"/>
              <a:gd name="connsiteY370" fmla="*/ 11259285 h 12188825"/>
              <a:gd name="connsiteX371" fmla="*/ 600457 w 4703181"/>
              <a:gd name="connsiteY371" fmla="*/ 7878123 h 12188825"/>
              <a:gd name="connsiteX372" fmla="*/ 509699 w 4703181"/>
              <a:gd name="connsiteY372" fmla="*/ 5600881 h 12188825"/>
              <a:gd name="connsiteX373" fmla="*/ 694343 w 4703181"/>
              <a:gd name="connsiteY373" fmla="*/ 3898887 h 12188825"/>
              <a:gd name="connsiteX374" fmla="*/ 791360 w 4703181"/>
              <a:gd name="connsiteY374" fmla="*/ 3196721 h 12188825"/>
              <a:gd name="connsiteX375" fmla="*/ 954878 w 4703181"/>
              <a:gd name="connsiteY375" fmla="*/ 2740 h 12188825"/>
              <a:gd name="connsiteX376" fmla="*/ 942752 w 4703181"/>
              <a:gd name="connsiteY376" fmla="*/ 2740 h 12188825"/>
              <a:gd name="connsiteX377" fmla="*/ 776104 w 4703181"/>
              <a:gd name="connsiteY377" fmla="*/ 3192156 h 12188825"/>
              <a:gd name="connsiteX378" fmla="*/ 682216 w 4703181"/>
              <a:gd name="connsiteY378" fmla="*/ 3898887 h 12188825"/>
              <a:gd name="connsiteX379" fmla="*/ 497572 w 4703181"/>
              <a:gd name="connsiteY379" fmla="*/ 5596316 h 12188825"/>
              <a:gd name="connsiteX380" fmla="*/ 484138 w 4703181"/>
              <a:gd name="connsiteY380" fmla="*/ 6104622 h 12188825"/>
              <a:gd name="connsiteX381" fmla="*/ 365502 w 4703181"/>
              <a:gd name="connsiteY381" fmla="*/ 6198056 h 12188825"/>
              <a:gd name="connsiteX382" fmla="*/ 473711 w 4703181"/>
              <a:gd name="connsiteY382" fmla="*/ 7973996 h 12188825"/>
              <a:gd name="connsiteX383" fmla="*/ 1218935 w 4703181"/>
              <a:gd name="connsiteY383" fmla="*/ 11364293 h 12188825"/>
              <a:gd name="connsiteX384" fmla="*/ 1524850 w 4703181"/>
              <a:gd name="connsiteY384" fmla="*/ 12031759 h 12188825"/>
              <a:gd name="connsiteX385" fmla="*/ 1609825 w 4703181"/>
              <a:gd name="connsiteY385" fmla="*/ 12188825 h 12188825"/>
              <a:gd name="connsiteX386" fmla="*/ 1626613 w 4703181"/>
              <a:gd name="connsiteY386" fmla="*/ 12188825 h 12188825"/>
              <a:gd name="connsiteX387" fmla="*/ 1533847 w 4703181"/>
              <a:gd name="connsiteY387" fmla="*/ 12017149 h 12188825"/>
              <a:gd name="connsiteX388" fmla="*/ 1231062 w 4703181"/>
              <a:gd name="connsiteY388" fmla="*/ 11354247 h 12188825"/>
              <a:gd name="connsiteX389" fmla="*/ 485837 w 4703181"/>
              <a:gd name="connsiteY389" fmla="*/ 7968518 h 12188825"/>
              <a:gd name="connsiteX390" fmla="*/ 388820 w 4703181"/>
              <a:gd name="connsiteY390" fmla="*/ 5686713 h 12188825"/>
              <a:gd name="connsiteX391" fmla="*/ 570726 w 4703181"/>
              <a:gd name="connsiteY391" fmla="*/ 3971935 h 12188825"/>
              <a:gd name="connsiteX392" fmla="*/ 661483 w 4703181"/>
              <a:gd name="connsiteY392" fmla="*/ 3277986 h 12188825"/>
              <a:gd name="connsiteX393" fmla="*/ 821873 w 4703181"/>
              <a:gd name="connsiteY393" fmla="*/ 1828 h 12188825"/>
              <a:gd name="connsiteX394" fmla="*/ 809747 w 4703181"/>
              <a:gd name="connsiteY394" fmla="*/ 1828 h 12188825"/>
              <a:gd name="connsiteX395" fmla="*/ 649356 w 4703181"/>
              <a:gd name="connsiteY395" fmla="*/ 3274335 h 12188825"/>
              <a:gd name="connsiteX396" fmla="*/ 558599 w 4703181"/>
              <a:gd name="connsiteY396" fmla="*/ 3968280 h 12188825"/>
              <a:gd name="connsiteX397" fmla="*/ 376694 w 4703181"/>
              <a:gd name="connsiteY397" fmla="*/ 5687625 h 12188825"/>
              <a:gd name="connsiteX398" fmla="*/ 365502 w 4703181"/>
              <a:gd name="connsiteY398" fmla="*/ 6198056 h 12188825"/>
              <a:gd name="connsiteX399" fmla="*/ 246359 w 4703181"/>
              <a:gd name="connsiteY399" fmla="*/ 6291090 h 12188825"/>
              <a:gd name="connsiteX400" fmla="*/ 361829 w 4703181"/>
              <a:gd name="connsiteY400" fmla="*/ 8068958 h 12188825"/>
              <a:gd name="connsiteX401" fmla="*/ 1119180 w 4703181"/>
              <a:gd name="connsiteY401" fmla="*/ 11459251 h 12188825"/>
              <a:gd name="connsiteX402" fmla="*/ 1425096 w 4703181"/>
              <a:gd name="connsiteY402" fmla="*/ 12126717 h 12188825"/>
              <a:gd name="connsiteX403" fmla="*/ 1459172 w 4703181"/>
              <a:gd name="connsiteY403" fmla="*/ 12188825 h 12188825"/>
              <a:gd name="connsiteX404" fmla="*/ 1475636 w 4703181"/>
              <a:gd name="connsiteY404" fmla="*/ 12188825 h 12188825"/>
              <a:gd name="connsiteX405" fmla="*/ 1434092 w 4703181"/>
              <a:gd name="connsiteY405" fmla="*/ 12113023 h 12188825"/>
              <a:gd name="connsiteX406" fmla="*/ 1131307 w 4703181"/>
              <a:gd name="connsiteY406" fmla="*/ 11450123 h 12188825"/>
              <a:gd name="connsiteX407" fmla="*/ 373956 w 4703181"/>
              <a:gd name="connsiteY407" fmla="*/ 8064394 h 12188825"/>
              <a:gd name="connsiteX408" fmla="*/ 271072 w 4703181"/>
              <a:gd name="connsiteY408" fmla="*/ 5778021 h 12188825"/>
              <a:gd name="connsiteX409" fmla="*/ 446717 w 4703181"/>
              <a:gd name="connsiteY409" fmla="*/ 4045894 h 12188825"/>
              <a:gd name="connsiteX410" fmla="*/ 534736 w 4703181"/>
              <a:gd name="connsiteY410" fmla="*/ 3356513 h 12188825"/>
              <a:gd name="connsiteX411" fmla="*/ 692388 w 4703181"/>
              <a:gd name="connsiteY411" fmla="*/ 1828 h 12188825"/>
              <a:gd name="connsiteX412" fmla="*/ 677130 w 4703181"/>
              <a:gd name="connsiteY412" fmla="*/ 1828 h 12188825"/>
              <a:gd name="connsiteX413" fmla="*/ 522609 w 4703181"/>
              <a:gd name="connsiteY413" fmla="*/ 3356513 h 12188825"/>
              <a:gd name="connsiteX414" fmla="*/ 434590 w 4703181"/>
              <a:gd name="connsiteY414" fmla="*/ 4041328 h 12188825"/>
              <a:gd name="connsiteX415" fmla="*/ 255815 w 4703181"/>
              <a:gd name="connsiteY415" fmla="*/ 5778021 h 12188825"/>
              <a:gd name="connsiteX416" fmla="*/ 246359 w 4703181"/>
              <a:gd name="connsiteY416" fmla="*/ 6291090 h 12188825"/>
              <a:gd name="connsiteX417" fmla="*/ 126714 w 4703181"/>
              <a:gd name="connsiteY417" fmla="*/ 6383042 h 12188825"/>
              <a:gd name="connsiteX418" fmla="*/ 246035 w 4703181"/>
              <a:gd name="connsiteY418" fmla="*/ 8160267 h 12188825"/>
              <a:gd name="connsiteX419" fmla="*/ 1015514 w 4703181"/>
              <a:gd name="connsiteY419" fmla="*/ 11554213 h 12188825"/>
              <a:gd name="connsiteX420" fmla="*/ 1163142 w 4703181"/>
              <a:gd name="connsiteY420" fmla="*/ 11894453 h 12188825"/>
              <a:gd name="connsiteX421" fmla="*/ 1308351 w 4703181"/>
              <a:gd name="connsiteY421" fmla="*/ 12188825 h 12188825"/>
              <a:gd name="connsiteX422" fmla="*/ 1326652 w 4703181"/>
              <a:gd name="connsiteY422" fmla="*/ 12188825 h 12188825"/>
              <a:gd name="connsiteX423" fmla="*/ 1174242 w 4703181"/>
              <a:gd name="connsiteY423" fmla="*/ 11883952 h 12188825"/>
              <a:gd name="connsiteX424" fmla="*/ 1027641 w 4703181"/>
              <a:gd name="connsiteY424" fmla="*/ 11545997 h 12188825"/>
              <a:gd name="connsiteX425" fmla="*/ 258162 w 4703181"/>
              <a:gd name="connsiteY425" fmla="*/ 8160267 h 12188825"/>
              <a:gd name="connsiteX426" fmla="*/ 149019 w 4703181"/>
              <a:gd name="connsiteY426" fmla="*/ 5869330 h 12188825"/>
              <a:gd name="connsiteX427" fmla="*/ 321534 w 4703181"/>
              <a:gd name="connsiteY427" fmla="*/ 4119855 h 12188825"/>
              <a:gd name="connsiteX428" fmla="*/ 406424 w 4703181"/>
              <a:gd name="connsiteY428" fmla="*/ 3439603 h 12188825"/>
              <a:gd name="connsiteX429" fmla="*/ 557818 w 4703181"/>
              <a:gd name="connsiteY429" fmla="*/ 1828 h 12188825"/>
              <a:gd name="connsiteX430" fmla="*/ 545691 w 4703181"/>
              <a:gd name="connsiteY430" fmla="*/ 1828 h 12188825"/>
              <a:gd name="connsiteX431" fmla="*/ 394297 w 4703181"/>
              <a:gd name="connsiteY431" fmla="*/ 3435039 h 12188825"/>
              <a:gd name="connsiteX432" fmla="*/ 309407 w 4703181"/>
              <a:gd name="connsiteY432" fmla="*/ 4115287 h 12188825"/>
              <a:gd name="connsiteX433" fmla="*/ 136890 w 4703181"/>
              <a:gd name="connsiteY433" fmla="*/ 5869330 h 12188825"/>
              <a:gd name="connsiteX434" fmla="*/ 126714 w 4703181"/>
              <a:gd name="connsiteY434" fmla="*/ 6383042 h 12188825"/>
              <a:gd name="connsiteX435" fmla="*/ 7913 w 4703181"/>
              <a:gd name="connsiteY435" fmla="*/ 6475962 h 12188825"/>
              <a:gd name="connsiteX436" fmla="*/ 131415 w 4703181"/>
              <a:gd name="connsiteY436" fmla="*/ 8256141 h 12188825"/>
              <a:gd name="connsiteX437" fmla="*/ 915760 w 4703181"/>
              <a:gd name="connsiteY437" fmla="*/ 11650087 h 12188825"/>
              <a:gd name="connsiteX438" fmla="*/ 1063778 w 4703181"/>
              <a:gd name="connsiteY438" fmla="*/ 11990327 h 12188825"/>
              <a:gd name="connsiteX439" fmla="*/ 1163355 w 4703181"/>
              <a:gd name="connsiteY439" fmla="*/ 12188825 h 12188825"/>
              <a:gd name="connsiteX440" fmla="*/ 1179133 w 4703181"/>
              <a:gd name="connsiteY440" fmla="*/ 12188825 h 12188825"/>
              <a:gd name="connsiteX441" fmla="*/ 1074096 w 4703181"/>
              <a:gd name="connsiteY441" fmla="*/ 11978115 h 12188825"/>
              <a:gd name="connsiteX442" fmla="*/ 924758 w 4703181"/>
              <a:gd name="connsiteY442" fmla="*/ 11641871 h 12188825"/>
              <a:gd name="connsiteX443" fmla="*/ 143150 w 4703181"/>
              <a:gd name="connsiteY443" fmla="*/ 8256141 h 12188825"/>
              <a:gd name="connsiteX444" fmla="*/ 28140 w 4703181"/>
              <a:gd name="connsiteY444" fmla="*/ 5961553 h 12188825"/>
              <a:gd name="connsiteX445" fmla="*/ 197919 w 4703181"/>
              <a:gd name="connsiteY445" fmla="*/ 4190161 h 12188825"/>
              <a:gd name="connsiteX446" fmla="*/ 279678 w 4703181"/>
              <a:gd name="connsiteY446" fmla="*/ 3522695 h 12188825"/>
              <a:gd name="connsiteX447" fmla="*/ 425203 w 4703181"/>
              <a:gd name="connsiteY447" fmla="*/ 1828 h 12188825"/>
              <a:gd name="connsiteX448" fmla="*/ 413074 w 4703181"/>
              <a:gd name="connsiteY448" fmla="*/ 1828 h 12188825"/>
              <a:gd name="connsiteX449" fmla="*/ 264813 w 4703181"/>
              <a:gd name="connsiteY449" fmla="*/ 3518129 h 12188825"/>
              <a:gd name="connsiteX450" fmla="*/ 186181 w 4703181"/>
              <a:gd name="connsiteY450" fmla="*/ 4190161 h 12188825"/>
              <a:gd name="connsiteX451" fmla="*/ 16403 w 4703181"/>
              <a:gd name="connsiteY451" fmla="*/ 5956988 h 12188825"/>
              <a:gd name="connsiteX452" fmla="*/ 7913 w 4703181"/>
              <a:gd name="connsiteY452" fmla="*/ 6475962 h 12188825"/>
              <a:gd name="connsiteX453" fmla="*/ 0 w 4703181"/>
              <a:gd name="connsiteY453" fmla="*/ 12143747 h 12188825"/>
              <a:gd name="connsiteX454" fmla="*/ 0 w 4703181"/>
              <a:gd name="connsiteY454" fmla="*/ 12180859 h 12188825"/>
              <a:gd name="connsiteX455" fmla="*/ 3313 w 4703181"/>
              <a:gd name="connsiteY455" fmla="*/ 12188825 h 12188825"/>
              <a:gd name="connsiteX456" fmla="*/ 18829 w 4703181"/>
              <a:gd name="connsiteY456" fmla="*/ 12188825 h 12188825"/>
              <a:gd name="connsiteX457" fmla="*/ 0 w 4703181"/>
              <a:gd name="connsiteY457" fmla="*/ 11770999 h 12188825"/>
              <a:gd name="connsiteX458" fmla="*/ 0 w 4703181"/>
              <a:gd name="connsiteY458" fmla="*/ 11814171 h 12188825"/>
              <a:gd name="connsiteX459" fmla="*/ 60618 w 4703181"/>
              <a:gd name="connsiteY459" fmla="*/ 11981565 h 12188825"/>
              <a:gd name="connsiteX460" fmla="*/ 146370 w 4703181"/>
              <a:gd name="connsiteY460" fmla="*/ 12188825 h 12188825"/>
              <a:gd name="connsiteX461" fmla="*/ 162634 w 4703181"/>
              <a:gd name="connsiteY461" fmla="*/ 12188825 h 12188825"/>
              <a:gd name="connsiteX462" fmla="*/ 73136 w 4703181"/>
              <a:gd name="connsiteY462" fmla="*/ 11972637 h 12188825"/>
              <a:gd name="connsiteX463" fmla="*/ 0 w 4703181"/>
              <a:gd name="connsiteY463" fmla="*/ 11369071 h 12188825"/>
              <a:gd name="connsiteX464" fmla="*/ 0 w 4703181"/>
              <a:gd name="connsiteY464" fmla="*/ 11418249 h 12188825"/>
              <a:gd name="connsiteX465" fmla="*/ 32033 w 4703181"/>
              <a:gd name="connsiteY465" fmla="*/ 11521001 h 12188825"/>
              <a:gd name="connsiteX466" fmla="*/ 162467 w 4703181"/>
              <a:gd name="connsiteY466" fmla="*/ 11885886 h 12188825"/>
              <a:gd name="connsiteX467" fmla="*/ 286040 w 4703181"/>
              <a:gd name="connsiteY467" fmla="*/ 12188825 h 12188825"/>
              <a:gd name="connsiteX468" fmla="*/ 302282 w 4703181"/>
              <a:gd name="connsiteY468" fmla="*/ 12188825 h 12188825"/>
              <a:gd name="connsiteX469" fmla="*/ 174974 w 4703181"/>
              <a:gd name="connsiteY469" fmla="*/ 11876763 h 12188825"/>
              <a:gd name="connsiteX470" fmla="*/ 44539 w 4703181"/>
              <a:gd name="connsiteY470" fmla="*/ 11511941 h 12188825"/>
              <a:gd name="connsiteX471" fmla="*/ 0 w 4703181"/>
              <a:gd name="connsiteY471" fmla="*/ 10915801 h 12188825"/>
              <a:gd name="connsiteX472" fmla="*/ 0 w 4703181"/>
              <a:gd name="connsiteY472" fmla="*/ 10968869 h 12188825"/>
              <a:gd name="connsiteX473" fmla="*/ 18605 w 4703181"/>
              <a:gd name="connsiteY473" fmla="*/ 11038443 h 12188825"/>
              <a:gd name="connsiteX474" fmla="*/ 406816 w 4703181"/>
              <a:gd name="connsiteY474" fmla="*/ 12134939 h 12188825"/>
              <a:gd name="connsiteX475" fmla="*/ 431731 w 4703181"/>
              <a:gd name="connsiteY475" fmla="*/ 12188825 h 12188825"/>
              <a:gd name="connsiteX476" fmla="*/ 447977 w 4703181"/>
              <a:gd name="connsiteY476" fmla="*/ 12188825 h 12188825"/>
              <a:gd name="connsiteX477" fmla="*/ 418943 w 4703181"/>
              <a:gd name="connsiteY477" fmla="*/ 12125805 h 12188825"/>
              <a:gd name="connsiteX478" fmla="*/ 30732 w 4703181"/>
              <a:gd name="connsiteY478" fmla="*/ 11030513 h 12188825"/>
              <a:gd name="connsiteX479" fmla="*/ 0 w 4703181"/>
              <a:gd name="connsiteY479" fmla="*/ 10393437 h 12188825"/>
              <a:gd name="connsiteX480" fmla="*/ 0 w 4703181"/>
              <a:gd name="connsiteY480" fmla="*/ 10453311 h 12188825"/>
              <a:gd name="connsiteX481" fmla="*/ 18311 w 4703181"/>
              <a:gd name="connsiteY481" fmla="*/ 10534067 h 12188825"/>
              <a:gd name="connsiteX482" fmla="*/ 509699 w 4703181"/>
              <a:gd name="connsiteY482" fmla="*/ 12039063 h 12188825"/>
              <a:gd name="connsiteX483" fmla="*/ 577788 w 4703181"/>
              <a:gd name="connsiteY483" fmla="*/ 12188825 h 12188825"/>
              <a:gd name="connsiteX484" fmla="*/ 592107 w 4703181"/>
              <a:gd name="connsiteY484" fmla="*/ 12188825 h 12188825"/>
              <a:gd name="connsiteX485" fmla="*/ 519088 w 4703181"/>
              <a:gd name="connsiteY485" fmla="*/ 12029931 h 12188825"/>
              <a:gd name="connsiteX486" fmla="*/ 30241 w 4703181"/>
              <a:gd name="connsiteY486" fmla="*/ 10526875 h 12188825"/>
              <a:gd name="connsiteX487" fmla="*/ 0 w 4703181"/>
              <a:gd name="connsiteY487" fmla="*/ 9782675 h 12188825"/>
              <a:gd name="connsiteX488" fmla="*/ 0 w 4703181"/>
              <a:gd name="connsiteY488" fmla="*/ 9857953 h 12188825"/>
              <a:gd name="connsiteX489" fmla="*/ 28505 w 4703181"/>
              <a:gd name="connsiteY489" fmla="*/ 10006729 h 12188825"/>
              <a:gd name="connsiteX490" fmla="*/ 609455 w 4703181"/>
              <a:gd name="connsiteY490" fmla="*/ 11943189 h 12188825"/>
              <a:gd name="connsiteX491" fmla="*/ 721132 w 4703181"/>
              <a:gd name="connsiteY491" fmla="*/ 12188825 h 12188825"/>
              <a:gd name="connsiteX492" fmla="*/ 736965 w 4703181"/>
              <a:gd name="connsiteY492" fmla="*/ 12188825 h 12188825"/>
              <a:gd name="connsiteX493" fmla="*/ 621973 w 4703181"/>
              <a:gd name="connsiteY493" fmla="*/ 11934059 h 12188825"/>
              <a:gd name="connsiteX494" fmla="*/ 41519 w 4703181"/>
              <a:gd name="connsiteY494" fmla="*/ 9999829 h 12188825"/>
              <a:gd name="connsiteX495" fmla="*/ 0 w 4703181"/>
              <a:gd name="connsiteY495" fmla="*/ 9049167 h 12188825"/>
              <a:gd name="connsiteX496" fmla="*/ 0 w 4703181"/>
              <a:gd name="connsiteY496" fmla="*/ 9129723 h 12188825"/>
              <a:gd name="connsiteX497" fmla="*/ 51764 w 4703181"/>
              <a:gd name="connsiteY497" fmla="*/ 9453627 h 12188825"/>
              <a:gd name="connsiteX498" fmla="*/ 712731 w 4703181"/>
              <a:gd name="connsiteY498" fmla="*/ 11847315 h 12188825"/>
              <a:gd name="connsiteX499" fmla="*/ 862264 w 4703181"/>
              <a:gd name="connsiteY499" fmla="*/ 12183103 h 12188825"/>
              <a:gd name="connsiteX500" fmla="*/ 865190 w 4703181"/>
              <a:gd name="connsiteY500" fmla="*/ 12188825 h 12188825"/>
              <a:gd name="connsiteX501" fmla="*/ 882725 w 4703181"/>
              <a:gd name="connsiteY501" fmla="*/ 12188825 h 12188825"/>
              <a:gd name="connsiteX502" fmla="*/ 874391 w 4703181"/>
              <a:gd name="connsiteY502" fmla="*/ 12172488 h 12188825"/>
              <a:gd name="connsiteX503" fmla="*/ 722119 w 4703181"/>
              <a:gd name="connsiteY503" fmla="*/ 11834531 h 12188825"/>
              <a:gd name="connsiteX504" fmla="*/ 63904 w 4703181"/>
              <a:gd name="connsiteY504" fmla="*/ 9448935 h 12188825"/>
              <a:gd name="connsiteX505" fmla="*/ 0 w 4703181"/>
              <a:gd name="connsiteY505" fmla="*/ 8077111 h 12188825"/>
              <a:gd name="connsiteX506" fmla="*/ 0 w 4703181"/>
              <a:gd name="connsiteY506" fmla="*/ 8185701 h 12188825"/>
              <a:gd name="connsiteX507" fmla="*/ 19143 w 4703181"/>
              <a:gd name="connsiteY507" fmla="*/ 8352928 h 12188825"/>
              <a:gd name="connsiteX508" fmla="*/ 812876 w 4703181"/>
              <a:gd name="connsiteY508" fmla="*/ 11751441 h 12188825"/>
              <a:gd name="connsiteX509" fmla="*/ 962410 w 4703181"/>
              <a:gd name="connsiteY509" fmla="*/ 12087684 h 12188825"/>
              <a:gd name="connsiteX510" fmla="*/ 1013614 w 4703181"/>
              <a:gd name="connsiteY510" fmla="*/ 12188825 h 12188825"/>
              <a:gd name="connsiteX511" fmla="*/ 1031131 w 4703181"/>
              <a:gd name="connsiteY511" fmla="*/ 12188825 h 12188825"/>
              <a:gd name="connsiteX512" fmla="*/ 974341 w 4703181"/>
              <a:gd name="connsiteY512" fmla="*/ 12074901 h 12188825"/>
              <a:gd name="connsiteX513" fmla="*/ 825003 w 4703181"/>
              <a:gd name="connsiteY513" fmla="*/ 11738659 h 12188825"/>
              <a:gd name="connsiteX514" fmla="*/ 31269 w 4703181"/>
              <a:gd name="connsiteY514" fmla="*/ 8348363 h 12188825"/>
              <a:gd name="connsiteX515" fmla="*/ 0 w 4703181"/>
              <a:gd name="connsiteY515" fmla="*/ 4775048 h 12188825"/>
              <a:gd name="connsiteX516" fmla="*/ 0 w 4703181"/>
              <a:gd name="connsiteY516" fmla="*/ 4887079 h 12188825"/>
              <a:gd name="connsiteX517" fmla="*/ 20145 w 4703181"/>
              <a:gd name="connsiteY517" fmla="*/ 4703802 h 12188825"/>
              <a:gd name="connsiteX518" fmla="*/ 73910 w 4703181"/>
              <a:gd name="connsiteY518" fmla="*/ 4265036 h 12188825"/>
              <a:gd name="connsiteX519" fmla="*/ 149800 w 4703181"/>
              <a:gd name="connsiteY519" fmla="*/ 3605785 h 12188825"/>
              <a:gd name="connsiteX520" fmla="*/ 292196 w 4703181"/>
              <a:gd name="connsiteY520" fmla="*/ 1828 h 12188825"/>
              <a:gd name="connsiteX521" fmla="*/ 280069 w 4703181"/>
              <a:gd name="connsiteY521" fmla="*/ 1828 h 12188825"/>
              <a:gd name="connsiteX522" fmla="*/ 137674 w 4703181"/>
              <a:gd name="connsiteY522" fmla="*/ 3601219 h 12188825"/>
              <a:gd name="connsiteX523" fmla="*/ 61784 w 4703181"/>
              <a:gd name="connsiteY523" fmla="*/ 4260470 h 12188825"/>
              <a:gd name="connsiteX524" fmla="*/ 8018 w 4703181"/>
              <a:gd name="connsiteY524" fmla="*/ 4701876 h 12188825"/>
              <a:gd name="connsiteX525" fmla="*/ 0 w 4703181"/>
              <a:gd name="connsiteY525" fmla="*/ 3771216 h 12188825"/>
              <a:gd name="connsiteX526" fmla="*/ 0 w 4703181"/>
              <a:gd name="connsiteY526" fmla="*/ 3885405 h 12188825"/>
              <a:gd name="connsiteX527" fmla="*/ 22272 w 4703181"/>
              <a:gd name="connsiteY527" fmla="*/ 3684311 h 12188825"/>
              <a:gd name="connsiteX528" fmla="*/ 158407 w 4703181"/>
              <a:gd name="connsiteY528" fmla="*/ 1828 h 12188825"/>
              <a:gd name="connsiteX529" fmla="*/ 146280 w 4703181"/>
              <a:gd name="connsiteY529" fmla="*/ 1828 h 12188825"/>
              <a:gd name="connsiteX530" fmla="*/ 10144 w 4703181"/>
              <a:gd name="connsiteY530" fmla="*/ 3684311 h 12188825"/>
              <a:gd name="connsiteX531" fmla="*/ 0 w 4703181"/>
              <a:gd name="connsiteY531" fmla="*/ 2184485 h 12188825"/>
              <a:gd name="connsiteX532" fmla="*/ 0 w 4703181"/>
              <a:gd name="connsiteY532" fmla="*/ 2456148 h 12188825"/>
              <a:gd name="connsiteX533" fmla="*/ 7103 w 4703181"/>
              <a:gd name="connsiteY533" fmla="*/ 2339528 h 12188825"/>
              <a:gd name="connsiteX534" fmla="*/ 28532 w 4703181"/>
              <a:gd name="connsiteY534" fmla="*/ 1828 h 12188825"/>
              <a:gd name="connsiteX535" fmla="*/ 13275 w 4703181"/>
              <a:gd name="connsiteY535" fmla="*/ 1828 h 12188825"/>
              <a:gd name="connsiteX536" fmla="*/ 14008 w 4703181"/>
              <a:gd name="connsiteY536" fmla="*/ 1862814 h 12188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</a:cxnLst>
            <a:rect l="l" t="t" r="r" b="b"/>
            <a:pathLst>
              <a:path w="4703181" h="12188825">
                <a:moveTo>
                  <a:pt x="2608751" y="5105305"/>
                </a:moveTo>
                <a:cubicBezTo>
                  <a:pt x="2608359" y="5478986"/>
                  <a:pt x="2622736" y="5840113"/>
                  <a:pt x="2639362" y="6171565"/>
                </a:cubicBezTo>
                <a:cubicBezTo>
                  <a:pt x="2691000" y="7144914"/>
                  <a:pt x="2797013" y="8409541"/>
                  <a:pt x="3151435" y="9535377"/>
                </a:cubicBezTo>
                <a:cubicBezTo>
                  <a:pt x="3339209" y="10133449"/>
                  <a:pt x="3599744" y="10695911"/>
                  <a:pt x="3923653" y="11210893"/>
                </a:cubicBezTo>
                <a:cubicBezTo>
                  <a:pt x="4079740" y="11457426"/>
                  <a:pt x="4248639" y="11689807"/>
                  <a:pt x="4428881" y="11906322"/>
                </a:cubicBezTo>
                <a:lnTo>
                  <a:pt x="4680688" y="12188825"/>
                </a:lnTo>
                <a:lnTo>
                  <a:pt x="4703181" y="12188825"/>
                </a:lnTo>
                <a:lnTo>
                  <a:pt x="4426466" y="11877318"/>
                </a:lnTo>
                <a:cubicBezTo>
                  <a:pt x="3876881" y="11212833"/>
                  <a:pt x="3438475" y="10400298"/>
                  <a:pt x="3163562" y="9527159"/>
                </a:cubicBezTo>
                <a:cubicBezTo>
                  <a:pt x="2809140" y="8401321"/>
                  <a:pt x="2703127" y="7140349"/>
                  <a:pt x="2654618" y="6167910"/>
                </a:cubicBezTo>
                <a:cubicBezTo>
                  <a:pt x="2618238" y="5508662"/>
                  <a:pt x="2593983" y="4727970"/>
                  <a:pt x="2682002" y="3969193"/>
                </a:cubicBezTo>
                <a:cubicBezTo>
                  <a:pt x="2736378" y="3474299"/>
                  <a:pt x="2836133" y="2990362"/>
                  <a:pt x="2936278" y="2523777"/>
                </a:cubicBezTo>
                <a:cubicBezTo>
                  <a:pt x="2990654" y="2261721"/>
                  <a:pt x="3045422" y="1991445"/>
                  <a:pt x="3093930" y="1721172"/>
                </a:cubicBezTo>
                <a:cubicBezTo>
                  <a:pt x="3194075" y="1158709"/>
                  <a:pt x="3260577" y="582551"/>
                  <a:pt x="3293830" y="1828"/>
                </a:cubicBezTo>
                <a:lnTo>
                  <a:pt x="3281703" y="1828"/>
                </a:lnTo>
                <a:cubicBezTo>
                  <a:pt x="3248451" y="577988"/>
                  <a:pt x="3181557" y="1153231"/>
                  <a:pt x="3081803" y="1716605"/>
                </a:cubicBezTo>
                <a:cubicBezTo>
                  <a:pt x="3033295" y="1986881"/>
                  <a:pt x="2978918" y="2258068"/>
                  <a:pt x="2924151" y="2519212"/>
                </a:cubicBezTo>
                <a:cubicBezTo>
                  <a:pt x="2824006" y="2985799"/>
                  <a:pt x="2724252" y="3470649"/>
                  <a:pt x="2666745" y="3963715"/>
                </a:cubicBezTo>
                <a:cubicBezTo>
                  <a:pt x="2624300" y="4345387"/>
                  <a:pt x="2609142" y="4731622"/>
                  <a:pt x="2608751" y="5105305"/>
                </a:cubicBezTo>
                <a:close/>
                <a:moveTo>
                  <a:pt x="2492175" y="5200265"/>
                </a:moveTo>
                <a:cubicBezTo>
                  <a:pt x="2492957" y="5574402"/>
                  <a:pt x="2508898" y="5935529"/>
                  <a:pt x="2527089" y="6267436"/>
                </a:cubicBezTo>
                <a:cubicBezTo>
                  <a:pt x="2581465" y="7240788"/>
                  <a:pt x="2687479" y="8500849"/>
                  <a:pt x="3048160" y="9631249"/>
                </a:cubicBezTo>
                <a:cubicBezTo>
                  <a:pt x="3124052" y="9862263"/>
                  <a:pt x="3208550" y="10089623"/>
                  <a:pt x="3302436" y="10307849"/>
                </a:cubicBezTo>
                <a:cubicBezTo>
                  <a:pt x="3572849" y="10934228"/>
                  <a:pt x="3922033" y="11503282"/>
                  <a:pt x="4337932" y="12000941"/>
                </a:cubicBezTo>
                <a:lnTo>
                  <a:pt x="4501908" y="12188825"/>
                </a:lnTo>
                <a:lnTo>
                  <a:pt x="4522453" y="12188825"/>
                </a:lnTo>
                <a:lnTo>
                  <a:pt x="4347456" y="11988315"/>
                </a:lnTo>
                <a:cubicBezTo>
                  <a:pt x="3932155" y="11491354"/>
                  <a:pt x="3585368" y="10925095"/>
                  <a:pt x="3314954" y="10298717"/>
                </a:cubicBezTo>
                <a:cubicBezTo>
                  <a:pt x="3221069" y="10080491"/>
                  <a:pt x="3136179" y="9854045"/>
                  <a:pt x="3060679" y="9622121"/>
                </a:cubicBezTo>
                <a:cubicBezTo>
                  <a:pt x="2703127" y="8496283"/>
                  <a:pt x="2594374" y="7235309"/>
                  <a:pt x="2539607" y="6262871"/>
                </a:cubicBezTo>
                <a:cubicBezTo>
                  <a:pt x="2503226" y="5603622"/>
                  <a:pt x="2475842" y="4822930"/>
                  <a:pt x="2560732" y="4059590"/>
                </a:cubicBezTo>
                <a:cubicBezTo>
                  <a:pt x="2615108" y="3561957"/>
                  <a:pt x="2715253" y="3073458"/>
                  <a:pt x="2812269" y="2602301"/>
                </a:cubicBezTo>
                <a:cubicBezTo>
                  <a:pt x="2863908" y="2340246"/>
                  <a:pt x="2918283" y="2069971"/>
                  <a:pt x="2966791" y="1804263"/>
                </a:cubicBezTo>
                <a:cubicBezTo>
                  <a:pt x="3069675" y="1210755"/>
                  <a:pt x="3136570" y="609029"/>
                  <a:pt x="3166692" y="2740"/>
                </a:cubicBezTo>
                <a:lnTo>
                  <a:pt x="3154565" y="2740"/>
                </a:lnTo>
                <a:cubicBezTo>
                  <a:pt x="3124052" y="608117"/>
                  <a:pt x="3057548" y="1210755"/>
                  <a:pt x="2954274" y="1799697"/>
                </a:cubicBezTo>
                <a:cubicBezTo>
                  <a:pt x="2905766" y="2065406"/>
                  <a:pt x="2851389" y="2336593"/>
                  <a:pt x="2796622" y="2597736"/>
                </a:cubicBezTo>
                <a:cubicBezTo>
                  <a:pt x="2702736" y="3068889"/>
                  <a:pt x="2602590" y="3557391"/>
                  <a:pt x="2548215" y="4055025"/>
                </a:cubicBezTo>
                <a:cubicBezTo>
                  <a:pt x="2505769" y="4438978"/>
                  <a:pt x="2491392" y="4826128"/>
                  <a:pt x="2492175" y="5200265"/>
                </a:cubicBezTo>
                <a:close/>
                <a:moveTo>
                  <a:pt x="2374376" y="5294998"/>
                </a:moveTo>
                <a:cubicBezTo>
                  <a:pt x="2375892" y="5669136"/>
                  <a:pt x="2392518" y="6029120"/>
                  <a:pt x="2412078" y="6358744"/>
                </a:cubicBezTo>
                <a:cubicBezTo>
                  <a:pt x="2469583" y="7335748"/>
                  <a:pt x="2581856" y="8596723"/>
                  <a:pt x="2948406" y="9727125"/>
                </a:cubicBezTo>
                <a:cubicBezTo>
                  <a:pt x="3024297" y="9958135"/>
                  <a:pt x="3108795" y="10185495"/>
                  <a:pt x="3205812" y="10403723"/>
                </a:cubicBezTo>
                <a:cubicBezTo>
                  <a:pt x="3476225" y="11030102"/>
                  <a:pt x="3825409" y="11595660"/>
                  <a:pt x="4245239" y="12093056"/>
                </a:cubicBezTo>
                <a:lnTo>
                  <a:pt x="4329667" y="12188825"/>
                </a:lnTo>
                <a:lnTo>
                  <a:pt x="4346385" y="12188825"/>
                </a:lnTo>
                <a:lnTo>
                  <a:pt x="4252139" y="12081456"/>
                </a:lnTo>
                <a:cubicBezTo>
                  <a:pt x="3834706" y="11584558"/>
                  <a:pt x="3487619" y="11018803"/>
                  <a:pt x="3214810" y="10396417"/>
                </a:cubicBezTo>
                <a:cubicBezTo>
                  <a:pt x="3120922" y="10178191"/>
                  <a:pt x="3032904" y="9951745"/>
                  <a:pt x="2960533" y="9719821"/>
                </a:cubicBezTo>
                <a:cubicBezTo>
                  <a:pt x="2593983" y="8593985"/>
                  <a:pt x="2482101" y="7333009"/>
                  <a:pt x="2424205" y="6360572"/>
                </a:cubicBezTo>
                <a:cubicBezTo>
                  <a:pt x="2387825" y="5697668"/>
                  <a:pt x="2357702" y="4920633"/>
                  <a:pt x="2439462" y="4148159"/>
                </a:cubicBezTo>
                <a:cubicBezTo>
                  <a:pt x="2491099" y="3650527"/>
                  <a:pt x="2590855" y="3157459"/>
                  <a:pt x="2687870" y="2682653"/>
                </a:cubicBezTo>
                <a:cubicBezTo>
                  <a:pt x="2739508" y="2420598"/>
                  <a:pt x="2790754" y="2154889"/>
                  <a:pt x="2839262" y="1888267"/>
                </a:cubicBezTo>
                <a:cubicBezTo>
                  <a:pt x="2945276" y="1268282"/>
                  <a:pt x="3011779" y="640075"/>
                  <a:pt x="3039162" y="3653"/>
                </a:cubicBezTo>
                <a:lnTo>
                  <a:pt x="3027035" y="3653"/>
                </a:lnTo>
                <a:cubicBezTo>
                  <a:pt x="2999652" y="634597"/>
                  <a:pt x="2930018" y="1262803"/>
                  <a:pt x="2824006" y="1881876"/>
                </a:cubicBezTo>
                <a:cubicBezTo>
                  <a:pt x="2778627" y="2147586"/>
                  <a:pt x="2726990" y="2414206"/>
                  <a:pt x="2672613" y="2676260"/>
                </a:cubicBezTo>
                <a:cubicBezTo>
                  <a:pt x="2578727" y="3151979"/>
                  <a:pt x="2478581" y="3645049"/>
                  <a:pt x="2427334" y="4146333"/>
                </a:cubicBezTo>
                <a:cubicBezTo>
                  <a:pt x="2386455" y="4532571"/>
                  <a:pt x="2372860" y="4920861"/>
                  <a:pt x="2374376" y="5294998"/>
                </a:cubicBezTo>
                <a:close/>
                <a:moveTo>
                  <a:pt x="2257654" y="5387105"/>
                </a:moveTo>
                <a:cubicBezTo>
                  <a:pt x="2260294" y="5762270"/>
                  <a:pt x="2277703" y="6123169"/>
                  <a:pt x="2297458" y="6454621"/>
                </a:cubicBezTo>
                <a:cubicBezTo>
                  <a:pt x="2358094" y="7427973"/>
                  <a:pt x="2476233" y="8692597"/>
                  <a:pt x="2845912" y="9822999"/>
                </a:cubicBezTo>
                <a:cubicBezTo>
                  <a:pt x="2921805" y="10054009"/>
                  <a:pt x="3009432" y="10281369"/>
                  <a:pt x="3106448" y="10499599"/>
                </a:cubicBezTo>
                <a:cubicBezTo>
                  <a:pt x="3379599" y="11121981"/>
                  <a:pt x="3731221" y="11687040"/>
                  <a:pt x="4153715" y="12187433"/>
                </a:cubicBezTo>
                <a:lnTo>
                  <a:pt x="4154941" y="12188825"/>
                </a:lnTo>
                <a:lnTo>
                  <a:pt x="4172800" y="12188825"/>
                </a:lnTo>
                <a:lnTo>
                  <a:pt x="4160605" y="12174920"/>
                </a:lnTo>
                <a:cubicBezTo>
                  <a:pt x="3740176" y="11675027"/>
                  <a:pt x="3388597" y="11109768"/>
                  <a:pt x="3118184" y="10491381"/>
                </a:cubicBezTo>
                <a:cubicBezTo>
                  <a:pt x="3021168" y="10273151"/>
                  <a:pt x="2933541" y="10046705"/>
                  <a:pt x="2857649" y="9814781"/>
                </a:cubicBezTo>
                <a:cubicBezTo>
                  <a:pt x="2487970" y="8688945"/>
                  <a:pt x="2372958" y="7427973"/>
                  <a:pt x="2312323" y="6455534"/>
                </a:cubicBezTo>
                <a:cubicBezTo>
                  <a:pt x="2270075" y="5792630"/>
                  <a:pt x="2239561" y="5015591"/>
                  <a:pt x="2318191" y="4239467"/>
                </a:cubicBezTo>
                <a:cubicBezTo>
                  <a:pt x="2369830" y="3737270"/>
                  <a:pt x="2466454" y="3240551"/>
                  <a:pt x="2560341" y="2760265"/>
                </a:cubicBezTo>
                <a:cubicBezTo>
                  <a:pt x="2611978" y="2498209"/>
                  <a:pt x="2666353" y="2232501"/>
                  <a:pt x="2708603" y="1965881"/>
                </a:cubicBezTo>
                <a:cubicBezTo>
                  <a:pt x="2817746" y="1320326"/>
                  <a:pt x="2884250" y="665643"/>
                  <a:pt x="2911633" y="2740"/>
                </a:cubicBezTo>
                <a:lnTo>
                  <a:pt x="2899506" y="2740"/>
                </a:lnTo>
                <a:cubicBezTo>
                  <a:pt x="2872514" y="661078"/>
                  <a:pt x="2806010" y="1319413"/>
                  <a:pt x="2696868" y="1960401"/>
                </a:cubicBezTo>
                <a:cubicBezTo>
                  <a:pt x="2651489" y="2226110"/>
                  <a:pt x="2599851" y="2492731"/>
                  <a:pt x="2548606" y="2754787"/>
                </a:cubicBezTo>
                <a:cubicBezTo>
                  <a:pt x="2454718" y="3235073"/>
                  <a:pt x="2357702" y="3731792"/>
                  <a:pt x="2306455" y="4233992"/>
                </a:cubicBezTo>
                <a:cubicBezTo>
                  <a:pt x="2267140" y="4622509"/>
                  <a:pt x="2255013" y="5011940"/>
                  <a:pt x="2257654" y="5387105"/>
                </a:cubicBezTo>
                <a:close/>
                <a:moveTo>
                  <a:pt x="2140304" y="5197653"/>
                </a:moveTo>
                <a:cubicBezTo>
                  <a:pt x="2135345" y="5675498"/>
                  <a:pt x="2158388" y="6136181"/>
                  <a:pt x="2184795" y="6550494"/>
                </a:cubicBezTo>
                <a:cubicBezTo>
                  <a:pt x="2248559" y="7523843"/>
                  <a:pt x="2369438" y="8783905"/>
                  <a:pt x="2744985" y="9918873"/>
                </a:cubicBezTo>
                <a:cubicBezTo>
                  <a:pt x="2820876" y="10149885"/>
                  <a:pt x="2908504" y="10377245"/>
                  <a:pt x="3005520" y="10595473"/>
                </a:cubicBezTo>
                <a:cubicBezTo>
                  <a:pt x="3241703" y="11125519"/>
                  <a:pt x="3535979" y="11616532"/>
                  <a:pt x="3881746" y="12060806"/>
                </a:cubicBezTo>
                <a:lnTo>
                  <a:pt x="3985674" y="12188825"/>
                </a:lnTo>
                <a:lnTo>
                  <a:pt x="4004655" y="12188825"/>
                </a:lnTo>
                <a:lnTo>
                  <a:pt x="3890402" y="12048093"/>
                </a:lnTo>
                <a:cubicBezTo>
                  <a:pt x="3544782" y="11604032"/>
                  <a:pt x="3251092" y="11113876"/>
                  <a:pt x="3017256" y="10587253"/>
                </a:cubicBezTo>
                <a:cubicBezTo>
                  <a:pt x="2920240" y="10369025"/>
                  <a:pt x="2832611" y="10142579"/>
                  <a:pt x="2756720" y="9910657"/>
                </a:cubicBezTo>
                <a:cubicBezTo>
                  <a:pt x="2381174" y="8780251"/>
                  <a:pt x="2259903" y="7520194"/>
                  <a:pt x="2196530" y="6546842"/>
                </a:cubicBezTo>
                <a:cubicBezTo>
                  <a:pt x="2154280" y="5887591"/>
                  <a:pt x="2120638" y="5106902"/>
                  <a:pt x="2196530" y="4330779"/>
                </a:cubicBezTo>
                <a:cubicBezTo>
                  <a:pt x="2248168" y="3824928"/>
                  <a:pt x="2344792" y="3322729"/>
                  <a:pt x="2435940" y="2838792"/>
                </a:cubicBezTo>
                <a:cubicBezTo>
                  <a:pt x="2487578" y="2581299"/>
                  <a:pt x="2538825" y="2315593"/>
                  <a:pt x="2581465" y="2048971"/>
                </a:cubicBezTo>
                <a:cubicBezTo>
                  <a:pt x="2693347" y="1376939"/>
                  <a:pt x="2760240" y="692124"/>
                  <a:pt x="2781366" y="2740"/>
                </a:cubicBezTo>
                <a:lnTo>
                  <a:pt x="2769238" y="2740"/>
                </a:lnTo>
                <a:cubicBezTo>
                  <a:pt x="2748504" y="691209"/>
                  <a:pt x="2681611" y="1371459"/>
                  <a:pt x="2569730" y="2043491"/>
                </a:cubicBezTo>
                <a:cubicBezTo>
                  <a:pt x="2527481" y="2309202"/>
                  <a:pt x="2475842" y="2575821"/>
                  <a:pt x="2424205" y="2833314"/>
                </a:cubicBezTo>
                <a:cubicBezTo>
                  <a:pt x="2333448" y="3317248"/>
                  <a:pt x="2236432" y="3819448"/>
                  <a:pt x="2184795" y="4325297"/>
                </a:cubicBezTo>
                <a:cubicBezTo>
                  <a:pt x="2156335" y="4618056"/>
                  <a:pt x="2143279" y="4910944"/>
                  <a:pt x="2140304" y="5197653"/>
                </a:cubicBezTo>
                <a:close/>
                <a:moveTo>
                  <a:pt x="2021831" y="5292172"/>
                </a:moveTo>
                <a:cubicBezTo>
                  <a:pt x="2017797" y="5770944"/>
                  <a:pt x="2041421" y="6231483"/>
                  <a:pt x="2069783" y="6646365"/>
                </a:cubicBezTo>
                <a:cubicBezTo>
                  <a:pt x="2136286" y="7619717"/>
                  <a:pt x="2260686" y="8879779"/>
                  <a:pt x="2642100" y="10014747"/>
                </a:cubicBezTo>
                <a:cubicBezTo>
                  <a:pt x="2720731" y="10245759"/>
                  <a:pt x="2808749" y="10473119"/>
                  <a:pt x="2908504" y="10691345"/>
                </a:cubicBezTo>
                <a:cubicBezTo>
                  <a:pt x="3144687" y="11217968"/>
                  <a:pt x="3438963" y="11705557"/>
                  <a:pt x="3787206" y="12152185"/>
                </a:cubicBezTo>
                <a:lnTo>
                  <a:pt x="3816965" y="12188825"/>
                </a:lnTo>
                <a:lnTo>
                  <a:pt x="3837535" y="12188825"/>
                </a:lnTo>
                <a:lnTo>
                  <a:pt x="3795646" y="12137547"/>
                </a:lnTo>
                <a:cubicBezTo>
                  <a:pt x="3447349" y="11693059"/>
                  <a:pt x="3153293" y="11206327"/>
                  <a:pt x="2917110" y="10683127"/>
                </a:cubicBezTo>
                <a:cubicBezTo>
                  <a:pt x="2820093" y="10464901"/>
                  <a:pt x="2732467" y="10238455"/>
                  <a:pt x="2653445" y="10006529"/>
                </a:cubicBezTo>
                <a:cubicBezTo>
                  <a:pt x="2271639" y="8876127"/>
                  <a:pt x="2147630" y="7616067"/>
                  <a:pt x="2081128" y="6642714"/>
                </a:cubicBezTo>
                <a:cubicBezTo>
                  <a:pt x="2038879" y="5983464"/>
                  <a:pt x="2002498" y="5202776"/>
                  <a:pt x="2077998" y="4422087"/>
                </a:cubicBezTo>
                <a:cubicBezTo>
                  <a:pt x="2126506" y="3911670"/>
                  <a:pt x="2220393" y="3405819"/>
                  <a:pt x="2311150" y="2912753"/>
                </a:cubicBezTo>
                <a:cubicBezTo>
                  <a:pt x="2359659" y="2659826"/>
                  <a:pt x="2411296" y="2393204"/>
                  <a:pt x="2453544" y="2132061"/>
                </a:cubicBezTo>
                <a:cubicBezTo>
                  <a:pt x="2565427" y="1429898"/>
                  <a:pt x="2632321" y="718602"/>
                  <a:pt x="2653445" y="2740"/>
                </a:cubicBezTo>
                <a:lnTo>
                  <a:pt x="2641318" y="2740"/>
                </a:lnTo>
                <a:cubicBezTo>
                  <a:pt x="2621367" y="717687"/>
                  <a:pt x="2554473" y="1428071"/>
                  <a:pt x="2442591" y="2126581"/>
                </a:cubicBezTo>
                <a:cubicBezTo>
                  <a:pt x="2400342" y="2388641"/>
                  <a:pt x="2348705" y="2654348"/>
                  <a:pt x="2300196" y="2907272"/>
                </a:cubicBezTo>
                <a:cubicBezTo>
                  <a:pt x="2209439" y="3400340"/>
                  <a:pt x="2112423" y="3906192"/>
                  <a:pt x="2063915" y="4416608"/>
                </a:cubicBezTo>
                <a:cubicBezTo>
                  <a:pt x="2036629" y="4711079"/>
                  <a:pt x="2024252" y="5004908"/>
                  <a:pt x="2021831" y="5292172"/>
                </a:cubicBezTo>
                <a:close/>
                <a:moveTo>
                  <a:pt x="1904686" y="5400875"/>
                </a:moveTo>
                <a:cubicBezTo>
                  <a:pt x="1902639" y="5888191"/>
                  <a:pt x="1929931" y="6352011"/>
                  <a:pt x="1958292" y="6739501"/>
                </a:cubicBezTo>
                <a:cubicBezTo>
                  <a:pt x="2024795" y="7712854"/>
                  <a:pt x="2155063" y="8977479"/>
                  <a:pt x="2542738" y="10112449"/>
                </a:cubicBezTo>
                <a:cubicBezTo>
                  <a:pt x="2621367" y="10343459"/>
                  <a:pt x="2709386" y="10570817"/>
                  <a:pt x="2809140" y="10789045"/>
                </a:cubicBezTo>
                <a:cubicBezTo>
                  <a:pt x="3007916" y="11225615"/>
                  <a:pt x="3246880" y="11636148"/>
                  <a:pt x="3523933" y="12019084"/>
                </a:cubicBezTo>
                <a:lnTo>
                  <a:pt x="3651957" y="12188825"/>
                </a:lnTo>
                <a:lnTo>
                  <a:pt x="3669378" y="12188825"/>
                </a:lnTo>
                <a:lnTo>
                  <a:pt x="3532332" y="12006541"/>
                </a:lnTo>
                <a:cubicBezTo>
                  <a:pt x="3256319" y="11624007"/>
                  <a:pt x="3018087" y="11214544"/>
                  <a:pt x="2821267" y="10780829"/>
                </a:cubicBezTo>
                <a:cubicBezTo>
                  <a:pt x="2721122" y="10562601"/>
                  <a:pt x="2630364" y="10336157"/>
                  <a:pt x="2551735" y="10104229"/>
                </a:cubicBezTo>
                <a:cubicBezTo>
                  <a:pt x="2167190" y="8973827"/>
                  <a:pt x="2039661" y="7713766"/>
                  <a:pt x="1970028" y="6740414"/>
                </a:cubicBezTo>
                <a:cubicBezTo>
                  <a:pt x="1924650" y="6116776"/>
                  <a:pt x="1885140" y="5305041"/>
                  <a:pt x="1957901" y="4510657"/>
                </a:cubicBezTo>
                <a:cubicBezTo>
                  <a:pt x="2003280" y="3995673"/>
                  <a:pt x="2097166" y="3485258"/>
                  <a:pt x="2187923" y="2992193"/>
                </a:cubicBezTo>
                <a:cubicBezTo>
                  <a:pt x="2236431" y="2739265"/>
                  <a:pt x="2284940" y="2477209"/>
                  <a:pt x="2327189" y="2215153"/>
                </a:cubicBezTo>
                <a:cubicBezTo>
                  <a:pt x="2442200" y="1486508"/>
                  <a:pt x="2509094" y="745082"/>
                  <a:pt x="2523959" y="2740"/>
                </a:cubicBezTo>
                <a:lnTo>
                  <a:pt x="2511832" y="2740"/>
                </a:lnTo>
                <a:cubicBezTo>
                  <a:pt x="2496967" y="743255"/>
                  <a:pt x="2430465" y="1481029"/>
                  <a:pt x="2312323" y="2209675"/>
                </a:cubicBezTo>
                <a:cubicBezTo>
                  <a:pt x="2272813" y="2471731"/>
                  <a:pt x="2224305" y="2732874"/>
                  <a:pt x="2176187" y="2986712"/>
                </a:cubicBezTo>
                <a:cubicBezTo>
                  <a:pt x="2085430" y="3479778"/>
                  <a:pt x="1991544" y="3994760"/>
                  <a:pt x="1946165" y="4509744"/>
                </a:cubicBezTo>
                <a:cubicBezTo>
                  <a:pt x="1917706" y="4807638"/>
                  <a:pt x="1905915" y="5108485"/>
                  <a:pt x="1904686" y="5400875"/>
                </a:cubicBezTo>
                <a:close/>
                <a:moveTo>
                  <a:pt x="1787040" y="5492377"/>
                </a:moveTo>
                <a:cubicBezTo>
                  <a:pt x="1786558" y="5980014"/>
                  <a:pt x="1814919" y="6444689"/>
                  <a:pt x="1843281" y="6834463"/>
                </a:cubicBezTo>
                <a:cubicBezTo>
                  <a:pt x="1916044" y="7807817"/>
                  <a:pt x="2049441" y="9072441"/>
                  <a:pt x="2439853" y="10207409"/>
                </a:cubicBezTo>
                <a:cubicBezTo>
                  <a:pt x="2518483" y="10438421"/>
                  <a:pt x="2609631" y="10665781"/>
                  <a:pt x="2709386" y="10884007"/>
                </a:cubicBezTo>
                <a:cubicBezTo>
                  <a:pt x="2908162" y="11314870"/>
                  <a:pt x="3148349" y="11725403"/>
                  <a:pt x="3427751" y="12110033"/>
                </a:cubicBezTo>
                <a:lnTo>
                  <a:pt x="3487403" y="12188825"/>
                </a:lnTo>
                <a:lnTo>
                  <a:pt x="3507219" y="12188825"/>
                </a:lnTo>
                <a:lnTo>
                  <a:pt x="3436975" y="12096025"/>
                </a:lnTo>
                <a:cubicBezTo>
                  <a:pt x="3159253" y="11713491"/>
                  <a:pt x="2920289" y="11304028"/>
                  <a:pt x="2721513" y="10870309"/>
                </a:cubicBezTo>
                <a:cubicBezTo>
                  <a:pt x="2621367" y="10656647"/>
                  <a:pt x="2530610" y="10429289"/>
                  <a:pt x="2451980" y="10198279"/>
                </a:cubicBezTo>
                <a:cubicBezTo>
                  <a:pt x="2061177" y="9064225"/>
                  <a:pt x="1927780" y="7803250"/>
                  <a:pt x="1855408" y="6834463"/>
                </a:cubicBezTo>
                <a:cubicBezTo>
                  <a:pt x="1810029" y="6210825"/>
                  <a:pt x="1767390" y="5399088"/>
                  <a:pt x="1837413" y="4601050"/>
                </a:cubicBezTo>
                <a:cubicBezTo>
                  <a:pt x="1882792" y="4081503"/>
                  <a:pt x="1976679" y="3567435"/>
                  <a:pt x="2064697" y="3069802"/>
                </a:cubicBezTo>
                <a:cubicBezTo>
                  <a:pt x="2110076" y="2816877"/>
                  <a:pt x="2158584" y="2554821"/>
                  <a:pt x="2198094" y="2292765"/>
                </a:cubicBezTo>
                <a:cubicBezTo>
                  <a:pt x="2316235" y="1537641"/>
                  <a:pt x="2382738" y="774301"/>
                  <a:pt x="2397994" y="1828"/>
                </a:cubicBezTo>
                <a:lnTo>
                  <a:pt x="2385867" y="1828"/>
                </a:lnTo>
                <a:cubicBezTo>
                  <a:pt x="2370611" y="769733"/>
                  <a:pt x="2304109" y="1537641"/>
                  <a:pt x="2185968" y="2288202"/>
                </a:cubicBezTo>
                <a:cubicBezTo>
                  <a:pt x="2146456" y="2550255"/>
                  <a:pt x="2097949" y="2811401"/>
                  <a:pt x="2052571" y="3065236"/>
                </a:cubicBezTo>
                <a:cubicBezTo>
                  <a:pt x="1964551" y="3562872"/>
                  <a:pt x="1870665" y="4077850"/>
                  <a:pt x="1825286" y="4601050"/>
                </a:cubicBezTo>
                <a:cubicBezTo>
                  <a:pt x="1798001" y="4898946"/>
                  <a:pt x="1787329" y="5199793"/>
                  <a:pt x="1787040" y="5492377"/>
                </a:cubicBezTo>
                <a:close/>
                <a:moveTo>
                  <a:pt x="1667909" y="5586534"/>
                </a:moveTo>
                <a:cubicBezTo>
                  <a:pt x="1668466" y="6076445"/>
                  <a:pt x="1697561" y="6541477"/>
                  <a:pt x="1727879" y="6931252"/>
                </a:cubicBezTo>
                <a:cubicBezTo>
                  <a:pt x="1803770" y="7904604"/>
                  <a:pt x="1939906" y="9164663"/>
                  <a:pt x="2339707" y="10304197"/>
                </a:cubicBezTo>
                <a:cubicBezTo>
                  <a:pt x="2418337" y="10535207"/>
                  <a:pt x="2509485" y="10762567"/>
                  <a:pt x="2612370" y="10980795"/>
                </a:cubicBezTo>
                <a:cubicBezTo>
                  <a:pt x="2771390" y="11323203"/>
                  <a:pt x="2957696" y="11653740"/>
                  <a:pt x="3169382" y="11968983"/>
                </a:cubicBezTo>
                <a:lnTo>
                  <a:pt x="3323303" y="12188825"/>
                </a:lnTo>
                <a:lnTo>
                  <a:pt x="3342512" y="12188825"/>
                </a:lnTo>
                <a:lnTo>
                  <a:pt x="3179553" y="11956086"/>
                </a:lnTo>
                <a:cubicBezTo>
                  <a:pt x="2968259" y="11641413"/>
                  <a:pt x="2781952" y="11310876"/>
                  <a:pt x="2621367" y="10966185"/>
                </a:cubicBezTo>
                <a:cubicBezTo>
                  <a:pt x="2521221" y="10752523"/>
                  <a:pt x="2430465" y="10525165"/>
                  <a:pt x="2348705" y="10294153"/>
                </a:cubicBezTo>
                <a:cubicBezTo>
                  <a:pt x="1952033" y="9160099"/>
                  <a:pt x="1815506" y="7899123"/>
                  <a:pt x="1740006" y="6925774"/>
                </a:cubicBezTo>
                <a:cubicBezTo>
                  <a:pt x="1694627" y="6305788"/>
                  <a:pt x="1649249" y="5490399"/>
                  <a:pt x="1715752" y="4692361"/>
                </a:cubicBezTo>
                <a:cubicBezTo>
                  <a:pt x="1761130" y="4169161"/>
                  <a:pt x="1851887" y="3649615"/>
                  <a:pt x="1939906" y="3147416"/>
                </a:cubicBezTo>
                <a:cubicBezTo>
                  <a:pt x="1985285" y="2894491"/>
                  <a:pt x="2030663" y="2632435"/>
                  <a:pt x="2070174" y="2374942"/>
                </a:cubicBezTo>
                <a:cubicBezTo>
                  <a:pt x="2191444" y="1594253"/>
                  <a:pt x="2254818" y="799867"/>
                  <a:pt x="2266945" y="1828"/>
                </a:cubicBezTo>
                <a:lnTo>
                  <a:pt x="2254818" y="1828"/>
                </a:lnTo>
                <a:cubicBezTo>
                  <a:pt x="2242691" y="796214"/>
                  <a:pt x="2176187" y="1589687"/>
                  <a:pt x="2058047" y="2371292"/>
                </a:cubicBezTo>
                <a:cubicBezTo>
                  <a:pt x="2018536" y="2628780"/>
                  <a:pt x="1973157" y="2890836"/>
                  <a:pt x="1927780" y="3143763"/>
                </a:cubicBezTo>
                <a:cubicBezTo>
                  <a:pt x="1839760" y="3645049"/>
                  <a:pt x="1749003" y="4164595"/>
                  <a:pt x="1703625" y="4688707"/>
                </a:cubicBezTo>
                <a:cubicBezTo>
                  <a:pt x="1677513" y="4989685"/>
                  <a:pt x="1667574" y="5292586"/>
                  <a:pt x="1667909" y="5586534"/>
                </a:cubicBezTo>
                <a:close/>
                <a:moveTo>
                  <a:pt x="1550530" y="5681294"/>
                </a:moveTo>
                <a:cubicBezTo>
                  <a:pt x="1553009" y="6172319"/>
                  <a:pt x="1583969" y="6637352"/>
                  <a:pt x="1615997" y="7027126"/>
                </a:cubicBezTo>
                <a:cubicBezTo>
                  <a:pt x="1691889" y="7995910"/>
                  <a:pt x="1834284" y="9260537"/>
                  <a:pt x="2236823" y="10400071"/>
                </a:cubicBezTo>
                <a:cubicBezTo>
                  <a:pt x="2318582" y="10631081"/>
                  <a:pt x="2409340" y="10858441"/>
                  <a:pt x="2512615" y="11076669"/>
                </a:cubicBezTo>
                <a:cubicBezTo>
                  <a:pt x="2673200" y="11416794"/>
                  <a:pt x="2860974" y="11746190"/>
                  <a:pt x="3074126" y="12061434"/>
                </a:cubicBezTo>
                <a:lnTo>
                  <a:pt x="3163837" y="12188825"/>
                </a:lnTo>
                <a:lnTo>
                  <a:pt x="3182377" y="12188825"/>
                </a:lnTo>
                <a:lnTo>
                  <a:pt x="3083514" y="12048879"/>
                </a:lnTo>
                <a:cubicBezTo>
                  <a:pt x="2870753" y="11734777"/>
                  <a:pt x="2683763" y="11405381"/>
                  <a:pt x="2524742" y="11062973"/>
                </a:cubicBezTo>
                <a:cubicBezTo>
                  <a:pt x="2421857" y="10849309"/>
                  <a:pt x="2330709" y="10621951"/>
                  <a:pt x="2248950" y="10390941"/>
                </a:cubicBezTo>
                <a:cubicBezTo>
                  <a:pt x="1846019" y="9256885"/>
                  <a:pt x="1703625" y="7995910"/>
                  <a:pt x="1628124" y="7022561"/>
                </a:cubicBezTo>
                <a:cubicBezTo>
                  <a:pt x="1576487" y="6402575"/>
                  <a:pt x="1531109" y="5587186"/>
                  <a:pt x="1594873" y="4784582"/>
                </a:cubicBezTo>
                <a:cubicBezTo>
                  <a:pt x="1637121" y="4256817"/>
                  <a:pt x="1728270" y="3729053"/>
                  <a:pt x="1815897" y="3222290"/>
                </a:cubicBezTo>
                <a:cubicBezTo>
                  <a:pt x="1858146" y="2973928"/>
                  <a:pt x="1903916" y="2716437"/>
                  <a:pt x="1943036" y="2458948"/>
                </a:cubicBezTo>
                <a:cubicBezTo>
                  <a:pt x="2064306" y="1647212"/>
                  <a:pt x="2127679" y="827260"/>
                  <a:pt x="2137069" y="2740"/>
                </a:cubicBezTo>
                <a:lnTo>
                  <a:pt x="2124941" y="2740"/>
                </a:lnTo>
                <a:cubicBezTo>
                  <a:pt x="2115944" y="827260"/>
                  <a:pt x="2052180" y="1647212"/>
                  <a:pt x="1930909" y="2454383"/>
                </a:cubicBezTo>
                <a:cubicBezTo>
                  <a:pt x="1891399" y="2711872"/>
                  <a:pt x="1846019" y="2969362"/>
                  <a:pt x="1803770" y="3217722"/>
                </a:cubicBezTo>
                <a:cubicBezTo>
                  <a:pt x="1715752" y="3728139"/>
                  <a:pt x="1624994" y="4251338"/>
                  <a:pt x="1582746" y="4780017"/>
                </a:cubicBezTo>
                <a:cubicBezTo>
                  <a:pt x="1557807" y="5082705"/>
                  <a:pt x="1549042" y="5386677"/>
                  <a:pt x="1550530" y="5681294"/>
                </a:cubicBezTo>
                <a:close/>
                <a:moveTo>
                  <a:pt x="1431558" y="5774658"/>
                </a:moveTo>
                <a:cubicBezTo>
                  <a:pt x="1435657" y="6266210"/>
                  <a:pt x="1467931" y="6730030"/>
                  <a:pt x="1500204" y="7117519"/>
                </a:cubicBezTo>
                <a:cubicBezTo>
                  <a:pt x="1621474" y="8562025"/>
                  <a:pt x="1815115" y="9604771"/>
                  <a:pt x="2133156" y="10494119"/>
                </a:cubicBezTo>
                <a:cubicBezTo>
                  <a:pt x="2218046" y="10725129"/>
                  <a:pt x="2311932" y="10952487"/>
                  <a:pt x="2411687" y="11170717"/>
                </a:cubicBezTo>
                <a:cubicBezTo>
                  <a:pt x="2573837" y="11509016"/>
                  <a:pt x="2762393" y="11836129"/>
                  <a:pt x="2976670" y="12150117"/>
                </a:cubicBezTo>
                <a:lnTo>
                  <a:pt x="3004167" y="12188825"/>
                </a:lnTo>
                <a:lnTo>
                  <a:pt x="3021808" y="12188825"/>
                </a:lnTo>
                <a:lnTo>
                  <a:pt x="2986254" y="12138704"/>
                </a:lnTo>
                <a:cubicBezTo>
                  <a:pt x="2772662" y="11825173"/>
                  <a:pt x="2584791" y="11498059"/>
                  <a:pt x="2424205" y="11157933"/>
                </a:cubicBezTo>
                <a:cubicBezTo>
                  <a:pt x="2321321" y="10944271"/>
                  <a:pt x="2227435" y="10716911"/>
                  <a:pt x="2145674" y="10490465"/>
                </a:cubicBezTo>
                <a:cubicBezTo>
                  <a:pt x="1827633" y="9600205"/>
                  <a:pt x="1633601" y="8557461"/>
                  <a:pt x="1512722" y="7117519"/>
                </a:cubicBezTo>
                <a:cubicBezTo>
                  <a:pt x="1461085" y="6497536"/>
                  <a:pt x="1409839" y="5682148"/>
                  <a:pt x="1476341" y="4870413"/>
                </a:cubicBezTo>
                <a:cubicBezTo>
                  <a:pt x="1515851" y="4338081"/>
                  <a:pt x="1606609" y="3810316"/>
                  <a:pt x="1691498" y="3299899"/>
                </a:cubicBezTo>
                <a:cubicBezTo>
                  <a:pt x="1733747" y="3051541"/>
                  <a:pt x="1776387" y="2794049"/>
                  <a:pt x="1815506" y="2541124"/>
                </a:cubicBezTo>
                <a:cubicBezTo>
                  <a:pt x="1936777" y="1703823"/>
                  <a:pt x="2000150" y="852825"/>
                  <a:pt x="2006409" y="1828"/>
                </a:cubicBezTo>
                <a:lnTo>
                  <a:pt x="1994282" y="1828"/>
                </a:lnTo>
                <a:cubicBezTo>
                  <a:pt x="1988414" y="852825"/>
                  <a:pt x="1924650" y="1699258"/>
                  <a:pt x="1800249" y="2536561"/>
                </a:cubicBezTo>
                <a:cubicBezTo>
                  <a:pt x="1763869" y="2789484"/>
                  <a:pt x="1721620" y="3046976"/>
                  <a:pt x="1678979" y="3295335"/>
                </a:cubicBezTo>
                <a:cubicBezTo>
                  <a:pt x="1590961" y="3805753"/>
                  <a:pt x="1503334" y="4338081"/>
                  <a:pt x="1460694" y="4870413"/>
                </a:cubicBezTo>
                <a:cubicBezTo>
                  <a:pt x="1436782" y="5174814"/>
                  <a:pt x="1429099" y="5479728"/>
                  <a:pt x="1431558" y="5774658"/>
                </a:cubicBezTo>
                <a:close/>
                <a:moveTo>
                  <a:pt x="1316783" y="5983239"/>
                </a:moveTo>
                <a:cubicBezTo>
                  <a:pt x="1323580" y="6351441"/>
                  <a:pt x="1346269" y="6754112"/>
                  <a:pt x="1385585" y="7212481"/>
                </a:cubicBezTo>
                <a:cubicBezTo>
                  <a:pt x="1509593" y="8656987"/>
                  <a:pt x="1709885" y="9699733"/>
                  <a:pt x="2033793" y="10593645"/>
                </a:cubicBezTo>
                <a:cubicBezTo>
                  <a:pt x="2115553" y="10820091"/>
                  <a:pt x="2212569" y="11047449"/>
                  <a:pt x="2315453" y="11261111"/>
                </a:cubicBezTo>
                <a:cubicBezTo>
                  <a:pt x="2437066" y="11514836"/>
                  <a:pt x="2573972" y="11762269"/>
                  <a:pt x="2725552" y="12002591"/>
                </a:cubicBezTo>
                <a:lnTo>
                  <a:pt x="2848013" y="12188825"/>
                </a:lnTo>
                <a:lnTo>
                  <a:pt x="2864698" y="12188825"/>
                </a:lnTo>
                <a:lnTo>
                  <a:pt x="2734549" y="11991212"/>
                </a:lnTo>
                <a:cubicBezTo>
                  <a:pt x="2582968" y="11751398"/>
                  <a:pt x="2446062" y="11504907"/>
                  <a:pt x="2324449" y="11252895"/>
                </a:cubicBezTo>
                <a:cubicBezTo>
                  <a:pt x="2221567" y="11039233"/>
                  <a:pt x="2127679" y="10811873"/>
                  <a:pt x="2045921" y="10585427"/>
                </a:cubicBezTo>
                <a:cubicBezTo>
                  <a:pt x="1721620" y="9695167"/>
                  <a:pt x="1521720" y="8652419"/>
                  <a:pt x="1400840" y="7212481"/>
                </a:cubicBezTo>
                <a:cubicBezTo>
                  <a:pt x="1322210" y="6296655"/>
                  <a:pt x="1306954" y="5602710"/>
                  <a:pt x="1355462" y="4960808"/>
                </a:cubicBezTo>
                <a:cubicBezTo>
                  <a:pt x="1394973" y="4423911"/>
                  <a:pt x="1482601" y="3891583"/>
                  <a:pt x="1567490" y="3372947"/>
                </a:cubicBezTo>
                <a:cubicBezTo>
                  <a:pt x="1607000" y="3128241"/>
                  <a:pt x="1649249" y="2871662"/>
                  <a:pt x="1685629" y="2617826"/>
                </a:cubicBezTo>
                <a:cubicBezTo>
                  <a:pt x="1809638" y="1754044"/>
                  <a:pt x="1873404" y="876566"/>
                  <a:pt x="1876533" y="0"/>
                </a:cubicBezTo>
                <a:lnTo>
                  <a:pt x="1864406" y="0"/>
                </a:lnTo>
                <a:cubicBezTo>
                  <a:pt x="1861276" y="876566"/>
                  <a:pt x="1797902" y="1754044"/>
                  <a:pt x="1673502" y="2617826"/>
                </a:cubicBezTo>
                <a:cubicBezTo>
                  <a:pt x="1637121" y="2866186"/>
                  <a:pt x="1594873" y="3123676"/>
                  <a:pt x="1555363" y="3368384"/>
                </a:cubicBezTo>
                <a:cubicBezTo>
                  <a:pt x="1470474" y="3887928"/>
                  <a:pt x="1382847" y="4420260"/>
                  <a:pt x="1343334" y="4960808"/>
                </a:cubicBezTo>
                <a:cubicBezTo>
                  <a:pt x="1319081" y="5281303"/>
                  <a:pt x="1309986" y="5615037"/>
                  <a:pt x="1316783" y="5983239"/>
                </a:cubicBezTo>
                <a:close/>
                <a:moveTo>
                  <a:pt x="1197424" y="5940738"/>
                </a:moveTo>
                <a:cubicBezTo>
                  <a:pt x="1202374" y="6346811"/>
                  <a:pt x="1227321" y="6793204"/>
                  <a:pt x="1273311" y="7308355"/>
                </a:cubicBezTo>
                <a:cubicBezTo>
                  <a:pt x="1400449" y="8752861"/>
                  <a:pt x="1603479" y="9795609"/>
                  <a:pt x="1930518" y="10689519"/>
                </a:cubicBezTo>
                <a:cubicBezTo>
                  <a:pt x="2015406" y="10915965"/>
                  <a:pt x="2112423" y="11143325"/>
                  <a:pt x="2215308" y="11356985"/>
                </a:cubicBezTo>
                <a:cubicBezTo>
                  <a:pt x="2336920" y="11608998"/>
                  <a:pt x="2474266" y="11855489"/>
                  <a:pt x="2626706" y="12095496"/>
                </a:cubicBezTo>
                <a:lnTo>
                  <a:pt x="2688496" y="12188825"/>
                </a:lnTo>
                <a:lnTo>
                  <a:pt x="2705295" y="12188825"/>
                </a:lnTo>
                <a:lnTo>
                  <a:pt x="2636193" y="12084548"/>
                </a:lnTo>
                <a:cubicBezTo>
                  <a:pt x="2484248" y="11845403"/>
                  <a:pt x="2347728" y="11599983"/>
                  <a:pt x="2227435" y="11349683"/>
                </a:cubicBezTo>
                <a:cubicBezTo>
                  <a:pt x="2121420" y="11136021"/>
                  <a:pt x="2027534" y="10908661"/>
                  <a:pt x="1942645" y="10682215"/>
                </a:cubicBezTo>
                <a:cubicBezTo>
                  <a:pt x="1615606" y="9787387"/>
                  <a:pt x="1412576" y="8749207"/>
                  <a:pt x="1285438" y="7305617"/>
                </a:cubicBezTo>
                <a:cubicBezTo>
                  <a:pt x="1203679" y="6393443"/>
                  <a:pt x="1188423" y="5695841"/>
                  <a:pt x="1233801" y="5053943"/>
                </a:cubicBezTo>
                <a:cubicBezTo>
                  <a:pt x="1273311" y="4512482"/>
                  <a:pt x="1357809" y="3971935"/>
                  <a:pt x="1442698" y="3452387"/>
                </a:cubicBezTo>
                <a:cubicBezTo>
                  <a:pt x="1482210" y="3207680"/>
                  <a:pt x="1521328" y="2954754"/>
                  <a:pt x="1557710" y="2701828"/>
                </a:cubicBezTo>
                <a:cubicBezTo>
                  <a:pt x="1684847" y="1811566"/>
                  <a:pt x="1745483" y="903959"/>
                  <a:pt x="1745483" y="915"/>
                </a:cubicBezTo>
                <a:lnTo>
                  <a:pt x="1733356" y="915"/>
                </a:lnTo>
                <a:cubicBezTo>
                  <a:pt x="1733356" y="903959"/>
                  <a:pt x="1669591" y="1807003"/>
                  <a:pt x="1545583" y="2697263"/>
                </a:cubicBezTo>
                <a:cubicBezTo>
                  <a:pt x="1509201" y="2950189"/>
                  <a:pt x="1469691" y="3203114"/>
                  <a:pt x="1430572" y="3447819"/>
                </a:cubicBezTo>
                <a:cubicBezTo>
                  <a:pt x="1345682" y="3967367"/>
                  <a:pt x="1260793" y="4507919"/>
                  <a:pt x="1221675" y="5053030"/>
                </a:cubicBezTo>
                <a:cubicBezTo>
                  <a:pt x="1210330" y="5213277"/>
                  <a:pt x="1202775" y="5377119"/>
                  <a:pt x="1199101" y="5547053"/>
                </a:cubicBezTo>
                <a:cubicBezTo>
                  <a:pt x="1196346" y="5674503"/>
                  <a:pt x="1195774" y="5805381"/>
                  <a:pt x="1197424" y="5940738"/>
                </a:cubicBezTo>
                <a:close/>
                <a:moveTo>
                  <a:pt x="1078828" y="6036519"/>
                </a:moveTo>
                <a:cubicBezTo>
                  <a:pt x="1084564" y="6444062"/>
                  <a:pt x="1110159" y="6890391"/>
                  <a:pt x="1157909" y="7406058"/>
                </a:cubicBezTo>
                <a:cubicBezTo>
                  <a:pt x="1291307" y="8850559"/>
                  <a:pt x="1497074" y="9893309"/>
                  <a:pt x="1830372" y="10787217"/>
                </a:cubicBezTo>
                <a:cubicBezTo>
                  <a:pt x="1915261" y="11013665"/>
                  <a:pt x="2012277" y="11241023"/>
                  <a:pt x="2115162" y="11454687"/>
                </a:cubicBezTo>
                <a:cubicBezTo>
                  <a:pt x="2196922" y="11621554"/>
                  <a:pt x="2285698" y="11786252"/>
                  <a:pt x="2381296" y="11948440"/>
                </a:cubicBezTo>
                <a:lnTo>
                  <a:pt x="2529188" y="12188825"/>
                </a:lnTo>
                <a:lnTo>
                  <a:pt x="2547321" y="12188825"/>
                </a:lnTo>
                <a:lnTo>
                  <a:pt x="2539574" y="12177213"/>
                </a:lnTo>
                <a:cubicBezTo>
                  <a:pt x="2386632" y="11938496"/>
                  <a:pt x="2248901" y="11694145"/>
                  <a:pt x="2127288" y="11445557"/>
                </a:cubicBezTo>
                <a:cubicBezTo>
                  <a:pt x="2021274" y="11231895"/>
                  <a:pt x="1927388" y="11004535"/>
                  <a:pt x="1842499" y="10778089"/>
                </a:cubicBezTo>
                <a:cubicBezTo>
                  <a:pt x="1509201" y="9883263"/>
                  <a:pt x="1303433" y="8840517"/>
                  <a:pt x="1170035" y="7401491"/>
                </a:cubicBezTo>
                <a:cubicBezTo>
                  <a:pt x="1088277" y="6489317"/>
                  <a:pt x="1069890" y="5791717"/>
                  <a:pt x="1112530" y="5146165"/>
                </a:cubicBezTo>
                <a:cubicBezTo>
                  <a:pt x="1152042" y="4596487"/>
                  <a:pt x="1236539" y="4055025"/>
                  <a:pt x="1318690" y="3527258"/>
                </a:cubicBezTo>
                <a:cubicBezTo>
                  <a:pt x="1358200" y="3282552"/>
                  <a:pt x="1394582" y="3034192"/>
                  <a:pt x="1430572" y="2785833"/>
                </a:cubicBezTo>
                <a:cubicBezTo>
                  <a:pt x="1557710" y="1865440"/>
                  <a:pt x="1618344" y="931350"/>
                  <a:pt x="1612477" y="1828"/>
                </a:cubicBezTo>
                <a:lnTo>
                  <a:pt x="1600350" y="1828"/>
                </a:lnTo>
                <a:cubicBezTo>
                  <a:pt x="1606218" y="931350"/>
                  <a:pt x="1545974" y="1860874"/>
                  <a:pt x="1418445" y="2781267"/>
                </a:cubicBezTo>
                <a:cubicBezTo>
                  <a:pt x="1382064" y="3029627"/>
                  <a:pt x="1342552" y="3278900"/>
                  <a:pt x="1306563" y="3522695"/>
                </a:cubicBezTo>
                <a:cubicBezTo>
                  <a:pt x="1224804" y="4050457"/>
                  <a:pt x="1136784" y="4595574"/>
                  <a:pt x="1100403" y="5141598"/>
                </a:cubicBezTo>
                <a:cubicBezTo>
                  <a:pt x="1089841" y="5304128"/>
                  <a:pt x="1082848" y="5469626"/>
                  <a:pt x="1079627" y="5640773"/>
                </a:cubicBezTo>
                <a:cubicBezTo>
                  <a:pt x="1077211" y="5769133"/>
                  <a:pt x="1076916" y="5900671"/>
                  <a:pt x="1078828" y="6036519"/>
                </a:cubicBezTo>
                <a:close/>
                <a:moveTo>
                  <a:pt x="959287" y="5865907"/>
                </a:moveTo>
                <a:cubicBezTo>
                  <a:pt x="957471" y="6488917"/>
                  <a:pt x="1004562" y="7073921"/>
                  <a:pt x="1043290" y="7499191"/>
                </a:cubicBezTo>
                <a:cubicBezTo>
                  <a:pt x="1182554" y="8943695"/>
                  <a:pt x="1391453" y="9986441"/>
                  <a:pt x="1727879" y="10884919"/>
                </a:cubicBezTo>
                <a:cubicBezTo>
                  <a:pt x="1815897" y="11111365"/>
                  <a:pt x="1912523" y="11338725"/>
                  <a:pt x="2018536" y="11552387"/>
                </a:cubicBezTo>
                <a:cubicBezTo>
                  <a:pt x="2100296" y="11718113"/>
                  <a:pt x="2189073" y="11881669"/>
                  <a:pt x="2284769" y="12042929"/>
                </a:cubicBezTo>
                <a:lnTo>
                  <a:pt x="2375119" y="12188825"/>
                </a:lnTo>
                <a:lnTo>
                  <a:pt x="2392293" y="12188825"/>
                </a:lnTo>
                <a:lnTo>
                  <a:pt x="2293718" y="12030174"/>
                </a:lnTo>
                <a:cubicBezTo>
                  <a:pt x="2198071" y="11869628"/>
                  <a:pt x="2109294" y="11706927"/>
                  <a:pt x="2027534" y="11542343"/>
                </a:cubicBezTo>
                <a:cubicBezTo>
                  <a:pt x="1921520" y="11328679"/>
                  <a:pt x="1824504" y="11101323"/>
                  <a:pt x="1739615" y="10874877"/>
                </a:cubicBezTo>
                <a:cubicBezTo>
                  <a:pt x="1403580" y="9980053"/>
                  <a:pt x="1194291" y="8937305"/>
                  <a:pt x="1058154" y="7498278"/>
                </a:cubicBezTo>
                <a:cubicBezTo>
                  <a:pt x="970136" y="6595236"/>
                  <a:pt x="952141" y="5879376"/>
                  <a:pt x="991652" y="5238385"/>
                </a:cubicBezTo>
                <a:cubicBezTo>
                  <a:pt x="1028033" y="4684142"/>
                  <a:pt x="1112922" y="4134464"/>
                  <a:pt x="1194681" y="3602132"/>
                </a:cubicBezTo>
                <a:cubicBezTo>
                  <a:pt x="1231062" y="3361992"/>
                  <a:pt x="1270574" y="3113632"/>
                  <a:pt x="1303825" y="2868924"/>
                </a:cubicBezTo>
                <a:cubicBezTo>
                  <a:pt x="1430963" y="1917486"/>
                  <a:pt x="1491597" y="957830"/>
                  <a:pt x="1482601" y="2740"/>
                </a:cubicBezTo>
                <a:lnTo>
                  <a:pt x="1470474" y="2740"/>
                </a:lnTo>
                <a:cubicBezTo>
                  <a:pt x="1479471" y="957830"/>
                  <a:pt x="1418836" y="1918399"/>
                  <a:pt x="1288567" y="2865272"/>
                </a:cubicBezTo>
                <a:cubicBezTo>
                  <a:pt x="1255317" y="3109979"/>
                  <a:pt x="1218935" y="3358338"/>
                  <a:pt x="1182554" y="3598481"/>
                </a:cubicBezTo>
                <a:cubicBezTo>
                  <a:pt x="1100795" y="4130810"/>
                  <a:pt x="1015905" y="4680490"/>
                  <a:pt x="979525" y="5234734"/>
                </a:cubicBezTo>
                <a:cubicBezTo>
                  <a:pt x="965931" y="5446343"/>
                  <a:pt x="959892" y="5658236"/>
                  <a:pt x="959287" y="5865907"/>
                </a:cubicBezTo>
                <a:close/>
                <a:moveTo>
                  <a:pt x="840186" y="5825530"/>
                </a:moveTo>
                <a:cubicBezTo>
                  <a:pt x="834464" y="6343678"/>
                  <a:pt x="864611" y="6919607"/>
                  <a:pt x="930625" y="7594154"/>
                </a:cubicBezTo>
                <a:cubicBezTo>
                  <a:pt x="1018644" y="8488979"/>
                  <a:pt x="1184901" y="9814781"/>
                  <a:pt x="1627342" y="10979883"/>
                </a:cubicBezTo>
                <a:cubicBezTo>
                  <a:pt x="1712231" y="11206327"/>
                  <a:pt x="1811985" y="11433687"/>
                  <a:pt x="1917999" y="11647349"/>
                </a:cubicBezTo>
                <a:cubicBezTo>
                  <a:pt x="2001324" y="11814216"/>
                  <a:pt x="2090687" y="11977544"/>
                  <a:pt x="2186524" y="12137948"/>
                </a:cubicBezTo>
                <a:lnTo>
                  <a:pt x="2218239" y="12188825"/>
                </a:lnTo>
                <a:lnTo>
                  <a:pt x="2235959" y="12188825"/>
                </a:lnTo>
                <a:lnTo>
                  <a:pt x="2196903" y="12126177"/>
                </a:lnTo>
                <a:cubicBezTo>
                  <a:pt x="2101470" y="11966415"/>
                  <a:pt x="2012669" y="11803943"/>
                  <a:pt x="1930127" y="11638217"/>
                </a:cubicBezTo>
                <a:cubicBezTo>
                  <a:pt x="1820982" y="11424555"/>
                  <a:pt x="1723967" y="11197195"/>
                  <a:pt x="1636339" y="10970751"/>
                </a:cubicBezTo>
                <a:cubicBezTo>
                  <a:pt x="1197029" y="9810215"/>
                  <a:pt x="1030380" y="8483499"/>
                  <a:pt x="942752" y="7589586"/>
                </a:cubicBezTo>
                <a:cubicBezTo>
                  <a:pt x="854733" y="6691109"/>
                  <a:pt x="833609" y="5970683"/>
                  <a:pt x="873120" y="5325130"/>
                </a:cubicBezTo>
                <a:cubicBezTo>
                  <a:pt x="906372" y="4770887"/>
                  <a:pt x="988130" y="4212990"/>
                  <a:pt x="1069890" y="3676093"/>
                </a:cubicBezTo>
                <a:cubicBezTo>
                  <a:pt x="1106272" y="3440515"/>
                  <a:pt x="1142652" y="3192156"/>
                  <a:pt x="1172775" y="2947449"/>
                </a:cubicBezTo>
                <a:cubicBezTo>
                  <a:pt x="1303042" y="1970445"/>
                  <a:pt x="1360548" y="984309"/>
                  <a:pt x="1351550" y="2740"/>
                </a:cubicBezTo>
                <a:lnTo>
                  <a:pt x="1336294" y="2740"/>
                </a:lnTo>
                <a:cubicBezTo>
                  <a:pt x="1348421" y="984309"/>
                  <a:pt x="1290916" y="1970445"/>
                  <a:pt x="1160646" y="2947449"/>
                </a:cubicBezTo>
                <a:cubicBezTo>
                  <a:pt x="1130526" y="3192156"/>
                  <a:pt x="1091016" y="3435952"/>
                  <a:pt x="1057764" y="3671527"/>
                </a:cubicBezTo>
                <a:cubicBezTo>
                  <a:pt x="976004" y="4212990"/>
                  <a:pt x="894245" y="4766320"/>
                  <a:pt x="857863" y="5325130"/>
                </a:cubicBezTo>
                <a:cubicBezTo>
                  <a:pt x="847985" y="5486519"/>
                  <a:pt x="842093" y="5652814"/>
                  <a:pt x="840186" y="5825530"/>
                </a:cubicBezTo>
                <a:close/>
                <a:moveTo>
                  <a:pt x="722094" y="5919464"/>
                </a:moveTo>
                <a:cubicBezTo>
                  <a:pt x="716520" y="6439497"/>
                  <a:pt x="747253" y="7015256"/>
                  <a:pt x="815614" y="7689116"/>
                </a:cubicBezTo>
                <a:cubicBezTo>
                  <a:pt x="958009" y="9111705"/>
                  <a:pt x="1185292" y="10189147"/>
                  <a:pt x="1524458" y="11074841"/>
                </a:cubicBezTo>
                <a:cubicBezTo>
                  <a:pt x="1612477" y="11301289"/>
                  <a:pt x="1712231" y="11528647"/>
                  <a:pt x="1821373" y="11742309"/>
                </a:cubicBezTo>
                <a:cubicBezTo>
                  <a:pt x="1862644" y="11825172"/>
                  <a:pt x="1905572" y="11907221"/>
                  <a:pt x="1950186" y="11988534"/>
                </a:cubicBezTo>
                <a:lnTo>
                  <a:pt x="2065263" y="12188825"/>
                </a:lnTo>
                <a:lnTo>
                  <a:pt x="2081369" y="12188825"/>
                </a:lnTo>
                <a:lnTo>
                  <a:pt x="1959970" y="11978801"/>
                </a:lnTo>
                <a:cubicBezTo>
                  <a:pt x="1915212" y="11897933"/>
                  <a:pt x="1872034" y="11816383"/>
                  <a:pt x="1830372" y="11734091"/>
                </a:cubicBezTo>
                <a:cubicBezTo>
                  <a:pt x="1721229" y="11520429"/>
                  <a:pt x="1624212" y="11293069"/>
                  <a:pt x="1536586" y="11066623"/>
                </a:cubicBezTo>
                <a:cubicBezTo>
                  <a:pt x="1197419" y="10180929"/>
                  <a:pt x="973265" y="9108051"/>
                  <a:pt x="827740" y="7685460"/>
                </a:cubicBezTo>
                <a:cubicBezTo>
                  <a:pt x="739722" y="6786983"/>
                  <a:pt x="712731" y="6066558"/>
                  <a:pt x="751848" y="5416439"/>
                </a:cubicBezTo>
                <a:cubicBezTo>
                  <a:pt x="785100" y="4853977"/>
                  <a:pt x="866861" y="4295169"/>
                  <a:pt x="945882" y="3750052"/>
                </a:cubicBezTo>
                <a:cubicBezTo>
                  <a:pt x="979134" y="3514476"/>
                  <a:pt x="1015514" y="3274335"/>
                  <a:pt x="1046028" y="3030539"/>
                </a:cubicBezTo>
                <a:cubicBezTo>
                  <a:pt x="1176295" y="2027056"/>
                  <a:pt x="1233801" y="1010789"/>
                  <a:pt x="1218545" y="2740"/>
                </a:cubicBezTo>
                <a:lnTo>
                  <a:pt x="1206418" y="2740"/>
                </a:lnTo>
                <a:cubicBezTo>
                  <a:pt x="1221675" y="1006224"/>
                  <a:pt x="1164168" y="2022491"/>
                  <a:pt x="1033901" y="3025976"/>
                </a:cubicBezTo>
                <a:cubicBezTo>
                  <a:pt x="1003777" y="3270683"/>
                  <a:pt x="967398" y="3514476"/>
                  <a:pt x="933753" y="3750052"/>
                </a:cubicBezTo>
                <a:cubicBezTo>
                  <a:pt x="851995" y="4291514"/>
                  <a:pt x="770235" y="4853977"/>
                  <a:pt x="739722" y="5416439"/>
                </a:cubicBezTo>
                <a:cubicBezTo>
                  <a:pt x="729844" y="5578969"/>
                  <a:pt x="723952" y="5746120"/>
                  <a:pt x="722094" y="5919464"/>
                </a:cubicBezTo>
                <a:close/>
                <a:moveTo>
                  <a:pt x="603508" y="6013313"/>
                </a:moveTo>
                <a:cubicBezTo>
                  <a:pt x="600115" y="6537196"/>
                  <a:pt x="632535" y="7112954"/>
                  <a:pt x="700603" y="7786812"/>
                </a:cubicBezTo>
                <a:cubicBezTo>
                  <a:pt x="848865" y="9209407"/>
                  <a:pt x="1079279" y="10286849"/>
                  <a:pt x="1424703" y="11172543"/>
                </a:cubicBezTo>
                <a:cubicBezTo>
                  <a:pt x="1512722" y="11398989"/>
                  <a:pt x="1612477" y="11626349"/>
                  <a:pt x="1721620" y="11840011"/>
                </a:cubicBezTo>
                <a:cubicBezTo>
                  <a:pt x="1763282" y="11922417"/>
                  <a:pt x="1806552" y="12003995"/>
                  <a:pt x="1851477" y="12084841"/>
                </a:cubicBezTo>
                <a:lnTo>
                  <a:pt x="1911933" y="12188825"/>
                </a:lnTo>
                <a:lnTo>
                  <a:pt x="1927592" y="12188825"/>
                </a:lnTo>
                <a:lnTo>
                  <a:pt x="1860469" y="12073940"/>
                </a:lnTo>
                <a:cubicBezTo>
                  <a:pt x="1815550" y="11993594"/>
                  <a:pt x="1772280" y="11912600"/>
                  <a:pt x="1730618" y="11830879"/>
                </a:cubicBezTo>
                <a:cubicBezTo>
                  <a:pt x="1621474" y="11617215"/>
                  <a:pt x="1521720" y="11389857"/>
                  <a:pt x="1433702" y="11163411"/>
                </a:cubicBezTo>
                <a:cubicBezTo>
                  <a:pt x="1091406" y="10277717"/>
                  <a:pt x="861384" y="9204839"/>
                  <a:pt x="715859" y="7782246"/>
                </a:cubicBezTo>
                <a:cubicBezTo>
                  <a:pt x="621973" y="6883770"/>
                  <a:pt x="594590" y="6163343"/>
                  <a:pt x="630971" y="5509573"/>
                </a:cubicBezTo>
                <a:cubicBezTo>
                  <a:pt x="661092" y="4942545"/>
                  <a:pt x="742852" y="4375518"/>
                  <a:pt x="821873" y="3829491"/>
                </a:cubicBezTo>
                <a:cubicBezTo>
                  <a:pt x="855124" y="3593913"/>
                  <a:pt x="888377" y="3353773"/>
                  <a:pt x="918889" y="3113632"/>
                </a:cubicBezTo>
                <a:cubicBezTo>
                  <a:pt x="1049158" y="2080017"/>
                  <a:pt x="1106663" y="1037269"/>
                  <a:pt x="1088668" y="2740"/>
                </a:cubicBezTo>
                <a:lnTo>
                  <a:pt x="1073411" y="2740"/>
                </a:lnTo>
                <a:cubicBezTo>
                  <a:pt x="1091406" y="1032702"/>
                  <a:pt x="1037031" y="2075449"/>
                  <a:pt x="906763" y="3109066"/>
                </a:cubicBezTo>
                <a:cubicBezTo>
                  <a:pt x="876640" y="3349208"/>
                  <a:pt x="840259" y="3589348"/>
                  <a:pt x="806616" y="3824928"/>
                </a:cubicBezTo>
                <a:cubicBezTo>
                  <a:pt x="730725" y="4370039"/>
                  <a:pt x="648966" y="4937067"/>
                  <a:pt x="618843" y="5505008"/>
                </a:cubicBezTo>
                <a:cubicBezTo>
                  <a:pt x="609748" y="5669820"/>
                  <a:pt x="604638" y="5838685"/>
                  <a:pt x="603508" y="6013313"/>
                </a:cubicBezTo>
                <a:close/>
                <a:moveTo>
                  <a:pt x="484138" y="6104622"/>
                </a:moveTo>
                <a:cubicBezTo>
                  <a:pt x="482341" y="6628504"/>
                  <a:pt x="515862" y="7204265"/>
                  <a:pt x="588330" y="7878123"/>
                </a:cubicBezTo>
                <a:cubicBezTo>
                  <a:pt x="739722" y="9304365"/>
                  <a:pt x="972874" y="10378157"/>
                  <a:pt x="1321429" y="11268417"/>
                </a:cubicBezTo>
                <a:cubicBezTo>
                  <a:pt x="1412186" y="11499429"/>
                  <a:pt x="1512330" y="11722223"/>
                  <a:pt x="1621474" y="11935885"/>
                </a:cubicBezTo>
                <a:cubicBezTo>
                  <a:pt x="1663479" y="12017150"/>
                  <a:pt x="1707048" y="12097801"/>
                  <a:pt x="1752247" y="12177898"/>
                </a:cubicBezTo>
                <a:lnTo>
                  <a:pt x="1758681" y="12188825"/>
                </a:lnTo>
                <a:lnTo>
                  <a:pt x="1777889" y="12188825"/>
                </a:lnTo>
                <a:lnTo>
                  <a:pt x="1763464" y="12164202"/>
                </a:lnTo>
                <a:cubicBezTo>
                  <a:pt x="1718533" y="12084105"/>
                  <a:pt x="1675263" y="12003454"/>
                  <a:pt x="1633601" y="11922189"/>
                </a:cubicBezTo>
                <a:cubicBezTo>
                  <a:pt x="1524458" y="11713091"/>
                  <a:pt x="1421575" y="11485733"/>
                  <a:pt x="1333556" y="11259285"/>
                </a:cubicBezTo>
                <a:cubicBezTo>
                  <a:pt x="985392" y="10373591"/>
                  <a:pt x="751848" y="9296147"/>
                  <a:pt x="600457" y="7878123"/>
                </a:cubicBezTo>
                <a:cubicBezTo>
                  <a:pt x="506570" y="6979644"/>
                  <a:pt x="476448" y="6254652"/>
                  <a:pt x="509699" y="5600881"/>
                </a:cubicBezTo>
                <a:cubicBezTo>
                  <a:pt x="539823" y="5024723"/>
                  <a:pt x="618843" y="4453129"/>
                  <a:pt x="694343" y="3898887"/>
                </a:cubicBezTo>
                <a:cubicBezTo>
                  <a:pt x="727595" y="3672440"/>
                  <a:pt x="760848" y="3432300"/>
                  <a:pt x="791360" y="3196721"/>
                </a:cubicBezTo>
                <a:cubicBezTo>
                  <a:pt x="921627" y="2132061"/>
                  <a:pt x="976004" y="1059182"/>
                  <a:pt x="954878" y="2740"/>
                </a:cubicBezTo>
                <a:lnTo>
                  <a:pt x="942752" y="2740"/>
                </a:lnTo>
                <a:cubicBezTo>
                  <a:pt x="963876" y="1058270"/>
                  <a:pt x="909500" y="2127499"/>
                  <a:pt x="776104" y="3192156"/>
                </a:cubicBezTo>
                <a:cubicBezTo>
                  <a:pt x="748719" y="3427732"/>
                  <a:pt x="715468" y="3667874"/>
                  <a:pt x="682216" y="3898887"/>
                </a:cubicBezTo>
                <a:cubicBezTo>
                  <a:pt x="606326" y="4448566"/>
                  <a:pt x="527695" y="5024723"/>
                  <a:pt x="497572" y="5596316"/>
                </a:cubicBezTo>
                <a:cubicBezTo>
                  <a:pt x="489260" y="5761128"/>
                  <a:pt x="484737" y="5929993"/>
                  <a:pt x="484138" y="6104622"/>
                </a:cubicBezTo>
                <a:close/>
                <a:moveTo>
                  <a:pt x="365502" y="6198056"/>
                </a:moveTo>
                <a:cubicBezTo>
                  <a:pt x="365814" y="6723525"/>
                  <a:pt x="400948" y="7299453"/>
                  <a:pt x="473711" y="7973996"/>
                </a:cubicBezTo>
                <a:cubicBezTo>
                  <a:pt x="631362" y="9396587"/>
                  <a:pt x="867643" y="10474031"/>
                  <a:pt x="1218935" y="11364293"/>
                </a:cubicBezTo>
                <a:cubicBezTo>
                  <a:pt x="1309693" y="11595303"/>
                  <a:pt x="1412967" y="11818095"/>
                  <a:pt x="1524850" y="12031759"/>
                </a:cubicBezTo>
                <a:lnTo>
                  <a:pt x="1609825" y="12188825"/>
                </a:lnTo>
                <a:lnTo>
                  <a:pt x="1626613" y="12188825"/>
                </a:lnTo>
                <a:lnTo>
                  <a:pt x="1533847" y="12017149"/>
                </a:lnTo>
                <a:cubicBezTo>
                  <a:pt x="1424703" y="11808053"/>
                  <a:pt x="1321820" y="11580693"/>
                  <a:pt x="1231062" y="11354247"/>
                </a:cubicBezTo>
                <a:cubicBezTo>
                  <a:pt x="879771" y="10468553"/>
                  <a:pt x="643489" y="9391111"/>
                  <a:pt x="485837" y="7968518"/>
                </a:cubicBezTo>
                <a:cubicBezTo>
                  <a:pt x="388820" y="7073693"/>
                  <a:pt x="358699" y="6349614"/>
                  <a:pt x="388820" y="5686713"/>
                </a:cubicBezTo>
                <a:cubicBezTo>
                  <a:pt x="418943" y="5110553"/>
                  <a:pt x="494835" y="4530744"/>
                  <a:pt x="570726" y="3971935"/>
                </a:cubicBezTo>
                <a:cubicBezTo>
                  <a:pt x="603977" y="3745489"/>
                  <a:pt x="634491" y="3509911"/>
                  <a:pt x="661483" y="3277986"/>
                </a:cubicBezTo>
                <a:cubicBezTo>
                  <a:pt x="794881" y="2183195"/>
                  <a:pt x="849256" y="1083837"/>
                  <a:pt x="821873" y="1828"/>
                </a:cubicBezTo>
                <a:lnTo>
                  <a:pt x="809747" y="1828"/>
                </a:lnTo>
                <a:cubicBezTo>
                  <a:pt x="834000" y="1083837"/>
                  <a:pt x="782362" y="2178629"/>
                  <a:pt x="649356" y="3274335"/>
                </a:cubicBezTo>
                <a:cubicBezTo>
                  <a:pt x="621973" y="3505345"/>
                  <a:pt x="588721" y="3740924"/>
                  <a:pt x="558599" y="3968280"/>
                </a:cubicBezTo>
                <a:cubicBezTo>
                  <a:pt x="482708" y="4530744"/>
                  <a:pt x="404079" y="5106902"/>
                  <a:pt x="376694" y="5687625"/>
                </a:cubicBezTo>
                <a:cubicBezTo>
                  <a:pt x="369163" y="5853352"/>
                  <a:pt x="365398" y="6022901"/>
                  <a:pt x="365502" y="6198056"/>
                </a:cubicBezTo>
                <a:close/>
                <a:moveTo>
                  <a:pt x="246359" y="6291090"/>
                </a:moveTo>
                <a:cubicBezTo>
                  <a:pt x="248211" y="6818483"/>
                  <a:pt x="284666" y="7394413"/>
                  <a:pt x="361829" y="8068958"/>
                </a:cubicBezTo>
                <a:cubicBezTo>
                  <a:pt x="519480" y="9491549"/>
                  <a:pt x="761629" y="10568991"/>
                  <a:pt x="1119180" y="11459251"/>
                </a:cubicBezTo>
                <a:cubicBezTo>
                  <a:pt x="1209939" y="11690263"/>
                  <a:pt x="1313214" y="11913055"/>
                  <a:pt x="1425096" y="12126717"/>
                </a:cubicBezTo>
                <a:lnTo>
                  <a:pt x="1459172" y="12188825"/>
                </a:lnTo>
                <a:lnTo>
                  <a:pt x="1475636" y="12188825"/>
                </a:lnTo>
                <a:lnTo>
                  <a:pt x="1434092" y="12113023"/>
                </a:lnTo>
                <a:cubicBezTo>
                  <a:pt x="1324949" y="11903927"/>
                  <a:pt x="1222066" y="11676567"/>
                  <a:pt x="1131307" y="11450123"/>
                </a:cubicBezTo>
                <a:cubicBezTo>
                  <a:pt x="773756" y="10559861"/>
                  <a:pt x="531607" y="9486985"/>
                  <a:pt x="373956" y="8064394"/>
                </a:cubicBezTo>
                <a:cubicBezTo>
                  <a:pt x="273809" y="7169564"/>
                  <a:pt x="240557" y="6445487"/>
                  <a:pt x="271072" y="5778021"/>
                </a:cubicBezTo>
                <a:cubicBezTo>
                  <a:pt x="295325" y="5193645"/>
                  <a:pt x="373956" y="4608355"/>
                  <a:pt x="446717" y="4045894"/>
                </a:cubicBezTo>
                <a:cubicBezTo>
                  <a:pt x="476839" y="3819448"/>
                  <a:pt x="507352" y="3587524"/>
                  <a:pt x="534736" y="3356513"/>
                </a:cubicBezTo>
                <a:cubicBezTo>
                  <a:pt x="668133" y="2235241"/>
                  <a:pt x="719380" y="1109403"/>
                  <a:pt x="692388" y="1828"/>
                </a:cubicBezTo>
                <a:lnTo>
                  <a:pt x="677130" y="1828"/>
                </a:lnTo>
                <a:cubicBezTo>
                  <a:pt x="707253" y="1105750"/>
                  <a:pt x="656007" y="2231589"/>
                  <a:pt x="522609" y="3356513"/>
                </a:cubicBezTo>
                <a:cubicBezTo>
                  <a:pt x="495226" y="3582959"/>
                  <a:pt x="465103" y="3818535"/>
                  <a:pt x="434590" y="4041328"/>
                </a:cubicBezTo>
                <a:cubicBezTo>
                  <a:pt x="361829" y="4608355"/>
                  <a:pt x="283198" y="5192732"/>
                  <a:pt x="255815" y="5778021"/>
                </a:cubicBezTo>
                <a:cubicBezTo>
                  <a:pt x="248969" y="5944887"/>
                  <a:pt x="245742" y="6115293"/>
                  <a:pt x="246359" y="6291090"/>
                </a:cubicBezTo>
                <a:close/>
                <a:moveTo>
                  <a:pt x="126714" y="6383042"/>
                </a:moveTo>
                <a:cubicBezTo>
                  <a:pt x="128970" y="6911506"/>
                  <a:pt x="168578" y="7489148"/>
                  <a:pt x="246035" y="8160267"/>
                </a:cubicBezTo>
                <a:cubicBezTo>
                  <a:pt x="409553" y="9586509"/>
                  <a:pt x="654833" y="10664867"/>
                  <a:pt x="1015514" y="11554213"/>
                </a:cubicBezTo>
                <a:cubicBezTo>
                  <a:pt x="1062458" y="11669718"/>
                  <a:pt x="1111651" y="11783169"/>
                  <a:pt x="1163142" y="11894453"/>
                </a:cubicBezTo>
                <a:lnTo>
                  <a:pt x="1308351" y="12188825"/>
                </a:lnTo>
                <a:lnTo>
                  <a:pt x="1326652" y="12188825"/>
                </a:lnTo>
                <a:lnTo>
                  <a:pt x="1174242" y="11883952"/>
                </a:lnTo>
                <a:cubicBezTo>
                  <a:pt x="1122311" y="11772670"/>
                  <a:pt x="1073020" y="11659219"/>
                  <a:pt x="1027641" y="11545997"/>
                </a:cubicBezTo>
                <a:cubicBezTo>
                  <a:pt x="667351" y="10655735"/>
                  <a:pt x="421682" y="9578293"/>
                  <a:pt x="258162" y="8160267"/>
                </a:cubicBezTo>
                <a:cubicBezTo>
                  <a:pt x="155278" y="7265443"/>
                  <a:pt x="122026" y="6536798"/>
                  <a:pt x="149019" y="5869330"/>
                </a:cubicBezTo>
                <a:cubicBezTo>
                  <a:pt x="173273" y="5280389"/>
                  <a:pt x="249165" y="4686883"/>
                  <a:pt x="321534" y="4119855"/>
                </a:cubicBezTo>
                <a:cubicBezTo>
                  <a:pt x="348919" y="3897059"/>
                  <a:pt x="379042" y="3666049"/>
                  <a:pt x="406424" y="3439603"/>
                </a:cubicBezTo>
                <a:cubicBezTo>
                  <a:pt x="539823" y="2288202"/>
                  <a:pt x="588330" y="1131316"/>
                  <a:pt x="557818" y="1828"/>
                </a:cubicBezTo>
                <a:lnTo>
                  <a:pt x="545691" y="1828"/>
                </a:lnTo>
                <a:cubicBezTo>
                  <a:pt x="575811" y="1132231"/>
                  <a:pt x="524565" y="2283634"/>
                  <a:pt x="394297" y="3435039"/>
                </a:cubicBezTo>
                <a:cubicBezTo>
                  <a:pt x="366915" y="3661484"/>
                  <a:pt x="336792" y="3893408"/>
                  <a:pt x="309407" y="4115287"/>
                </a:cubicBezTo>
                <a:cubicBezTo>
                  <a:pt x="236646" y="4686883"/>
                  <a:pt x="161146" y="5275824"/>
                  <a:pt x="136890" y="5869330"/>
                </a:cubicBezTo>
                <a:cubicBezTo>
                  <a:pt x="129360" y="6036197"/>
                  <a:pt x="125962" y="6206888"/>
                  <a:pt x="126714" y="6383042"/>
                </a:cubicBezTo>
                <a:close/>
                <a:moveTo>
                  <a:pt x="7913" y="6475962"/>
                </a:moveTo>
                <a:cubicBezTo>
                  <a:pt x="11562" y="7008234"/>
                  <a:pt x="51905" y="7585706"/>
                  <a:pt x="131415" y="8256141"/>
                </a:cubicBezTo>
                <a:cubicBezTo>
                  <a:pt x="301194" y="9678731"/>
                  <a:pt x="549602" y="10760741"/>
                  <a:pt x="915760" y="11650087"/>
                </a:cubicBezTo>
                <a:cubicBezTo>
                  <a:pt x="962703" y="11765593"/>
                  <a:pt x="1011896" y="11879044"/>
                  <a:pt x="1063778" y="11990327"/>
                </a:cubicBezTo>
                <a:lnTo>
                  <a:pt x="1163355" y="12188825"/>
                </a:lnTo>
                <a:lnTo>
                  <a:pt x="1179133" y="12188825"/>
                </a:lnTo>
                <a:lnTo>
                  <a:pt x="1074096" y="11978115"/>
                </a:lnTo>
                <a:cubicBezTo>
                  <a:pt x="1021774" y="11867404"/>
                  <a:pt x="971701" y="11755094"/>
                  <a:pt x="924758" y="11641871"/>
                </a:cubicBezTo>
                <a:cubicBezTo>
                  <a:pt x="561338" y="10751611"/>
                  <a:pt x="312930" y="9674167"/>
                  <a:pt x="143150" y="8256141"/>
                </a:cubicBezTo>
                <a:cubicBezTo>
                  <a:pt x="40267" y="7361314"/>
                  <a:pt x="3886" y="6632672"/>
                  <a:pt x="28140" y="5961553"/>
                </a:cubicBezTo>
                <a:cubicBezTo>
                  <a:pt x="52394" y="5363480"/>
                  <a:pt x="125155" y="4766320"/>
                  <a:pt x="197919" y="4190161"/>
                </a:cubicBezTo>
                <a:cubicBezTo>
                  <a:pt x="225302" y="3971935"/>
                  <a:pt x="252295" y="3745489"/>
                  <a:pt x="279678" y="3522695"/>
                </a:cubicBezTo>
                <a:cubicBezTo>
                  <a:pt x="409947" y="2340246"/>
                  <a:pt x="461583" y="1157796"/>
                  <a:pt x="425203" y="1828"/>
                </a:cubicBezTo>
                <a:lnTo>
                  <a:pt x="413074" y="1828"/>
                </a:lnTo>
                <a:cubicBezTo>
                  <a:pt x="446326" y="1153231"/>
                  <a:pt x="397818" y="2335680"/>
                  <a:pt x="264813" y="3518129"/>
                </a:cubicBezTo>
                <a:cubicBezTo>
                  <a:pt x="240557" y="3740924"/>
                  <a:pt x="213175" y="3967367"/>
                  <a:pt x="186181" y="4190161"/>
                </a:cubicBezTo>
                <a:cubicBezTo>
                  <a:pt x="113420" y="4766320"/>
                  <a:pt x="37919" y="5359827"/>
                  <a:pt x="16403" y="5956988"/>
                </a:cubicBezTo>
                <a:cubicBezTo>
                  <a:pt x="9557" y="6126137"/>
                  <a:pt x="6696" y="6298539"/>
                  <a:pt x="7913" y="6475962"/>
                </a:cubicBezTo>
                <a:close/>
                <a:moveTo>
                  <a:pt x="0" y="12143747"/>
                </a:moveTo>
                <a:lnTo>
                  <a:pt x="0" y="12180859"/>
                </a:lnTo>
                <a:lnTo>
                  <a:pt x="3313" y="12188825"/>
                </a:lnTo>
                <a:lnTo>
                  <a:pt x="18829" y="12188825"/>
                </a:lnTo>
                <a:close/>
                <a:moveTo>
                  <a:pt x="0" y="11770999"/>
                </a:moveTo>
                <a:lnTo>
                  <a:pt x="0" y="11814171"/>
                </a:lnTo>
                <a:lnTo>
                  <a:pt x="60618" y="11981565"/>
                </a:lnTo>
                <a:lnTo>
                  <a:pt x="146370" y="12188825"/>
                </a:lnTo>
                <a:lnTo>
                  <a:pt x="162634" y="12188825"/>
                </a:lnTo>
                <a:lnTo>
                  <a:pt x="73136" y="11972637"/>
                </a:lnTo>
                <a:close/>
                <a:moveTo>
                  <a:pt x="0" y="11369071"/>
                </a:moveTo>
                <a:lnTo>
                  <a:pt x="0" y="11418249"/>
                </a:lnTo>
                <a:lnTo>
                  <a:pt x="32033" y="11521001"/>
                </a:lnTo>
                <a:cubicBezTo>
                  <a:pt x="73790" y="11646008"/>
                  <a:pt x="117242" y="11767535"/>
                  <a:pt x="162467" y="11885886"/>
                </a:cubicBezTo>
                <a:lnTo>
                  <a:pt x="286040" y="12188825"/>
                </a:lnTo>
                <a:lnTo>
                  <a:pt x="302282" y="12188825"/>
                </a:lnTo>
                <a:lnTo>
                  <a:pt x="174974" y="11876763"/>
                </a:lnTo>
                <a:cubicBezTo>
                  <a:pt x="129745" y="11758420"/>
                  <a:pt x="86290" y="11636912"/>
                  <a:pt x="44539" y="11511941"/>
                </a:cubicBezTo>
                <a:close/>
                <a:moveTo>
                  <a:pt x="0" y="10915801"/>
                </a:moveTo>
                <a:lnTo>
                  <a:pt x="0" y="10968869"/>
                </a:lnTo>
                <a:lnTo>
                  <a:pt x="18605" y="11038443"/>
                </a:lnTo>
                <a:cubicBezTo>
                  <a:pt x="132674" y="11435271"/>
                  <a:pt x="261438" y="11798011"/>
                  <a:pt x="406816" y="12134939"/>
                </a:cubicBezTo>
                <a:lnTo>
                  <a:pt x="431731" y="12188825"/>
                </a:lnTo>
                <a:lnTo>
                  <a:pt x="447977" y="12188825"/>
                </a:lnTo>
                <a:lnTo>
                  <a:pt x="418943" y="12125805"/>
                </a:lnTo>
                <a:cubicBezTo>
                  <a:pt x="273565" y="11788877"/>
                  <a:pt x="144801" y="11426651"/>
                  <a:pt x="30732" y="11030513"/>
                </a:cubicBezTo>
                <a:close/>
                <a:moveTo>
                  <a:pt x="0" y="10393437"/>
                </a:moveTo>
                <a:lnTo>
                  <a:pt x="0" y="10453311"/>
                </a:lnTo>
                <a:lnTo>
                  <a:pt x="18311" y="10534067"/>
                </a:lnTo>
                <a:cubicBezTo>
                  <a:pt x="155375" y="11094703"/>
                  <a:pt x="317427" y="11589825"/>
                  <a:pt x="509699" y="12039063"/>
                </a:cubicBezTo>
                <a:lnTo>
                  <a:pt x="577788" y="12188825"/>
                </a:lnTo>
                <a:lnTo>
                  <a:pt x="592107" y="12188825"/>
                </a:lnTo>
                <a:lnTo>
                  <a:pt x="519088" y="12029931"/>
                </a:lnTo>
                <a:cubicBezTo>
                  <a:pt x="328185" y="11580693"/>
                  <a:pt x="166915" y="11086485"/>
                  <a:pt x="30241" y="10526875"/>
                </a:cubicBezTo>
                <a:close/>
                <a:moveTo>
                  <a:pt x="0" y="9782675"/>
                </a:moveTo>
                <a:lnTo>
                  <a:pt x="0" y="9857953"/>
                </a:lnTo>
                <a:lnTo>
                  <a:pt x="28505" y="10006729"/>
                </a:lnTo>
                <a:cubicBezTo>
                  <a:pt x="182411" y="10749827"/>
                  <a:pt x="372782" y="11381641"/>
                  <a:pt x="609455" y="11943189"/>
                </a:cubicBezTo>
                <a:lnTo>
                  <a:pt x="721132" y="12188825"/>
                </a:lnTo>
                <a:lnTo>
                  <a:pt x="736965" y="12188825"/>
                </a:lnTo>
                <a:lnTo>
                  <a:pt x="621973" y="11934059"/>
                </a:lnTo>
                <a:cubicBezTo>
                  <a:pt x="385301" y="11372511"/>
                  <a:pt x="194777" y="10740697"/>
                  <a:pt x="41519" y="9999829"/>
                </a:cubicBezTo>
                <a:close/>
                <a:moveTo>
                  <a:pt x="0" y="9049167"/>
                </a:moveTo>
                <a:lnTo>
                  <a:pt x="0" y="9129723"/>
                </a:lnTo>
                <a:lnTo>
                  <a:pt x="51764" y="9453627"/>
                </a:lnTo>
                <a:cubicBezTo>
                  <a:pt x="215864" y="10398931"/>
                  <a:pt x="431070" y="11173457"/>
                  <a:pt x="712731" y="11847315"/>
                </a:cubicBezTo>
                <a:cubicBezTo>
                  <a:pt x="759674" y="11960537"/>
                  <a:pt x="809649" y="12072847"/>
                  <a:pt x="862264" y="12183103"/>
                </a:cubicBezTo>
                <a:lnTo>
                  <a:pt x="865190" y="12188825"/>
                </a:lnTo>
                <a:lnTo>
                  <a:pt x="882725" y="12188825"/>
                </a:lnTo>
                <a:lnTo>
                  <a:pt x="874391" y="12172488"/>
                </a:lnTo>
                <a:cubicBezTo>
                  <a:pt x="821384" y="12062347"/>
                  <a:pt x="770627" y="11950037"/>
                  <a:pt x="722119" y="11834531"/>
                </a:cubicBezTo>
                <a:cubicBezTo>
                  <a:pt x="442806" y="11166837"/>
                  <a:pt x="227966" y="10393851"/>
                  <a:pt x="63904" y="9448935"/>
                </a:cubicBezTo>
                <a:close/>
                <a:moveTo>
                  <a:pt x="0" y="8077111"/>
                </a:moveTo>
                <a:lnTo>
                  <a:pt x="0" y="8185701"/>
                </a:lnTo>
                <a:lnTo>
                  <a:pt x="19143" y="8352928"/>
                </a:lnTo>
                <a:cubicBezTo>
                  <a:pt x="191659" y="9775519"/>
                  <a:pt x="443196" y="10857529"/>
                  <a:pt x="812876" y="11751441"/>
                </a:cubicBezTo>
                <a:cubicBezTo>
                  <a:pt x="859820" y="11864663"/>
                  <a:pt x="909794" y="11976973"/>
                  <a:pt x="962410" y="12087684"/>
                </a:cubicBezTo>
                <a:lnTo>
                  <a:pt x="1013614" y="12188825"/>
                </a:lnTo>
                <a:lnTo>
                  <a:pt x="1031131" y="12188825"/>
                </a:lnTo>
                <a:lnTo>
                  <a:pt x="974341" y="12074901"/>
                </a:lnTo>
                <a:cubicBezTo>
                  <a:pt x="922019" y="11964189"/>
                  <a:pt x="871946" y="11851880"/>
                  <a:pt x="825003" y="11738659"/>
                </a:cubicBezTo>
                <a:cubicBezTo>
                  <a:pt x="455323" y="10848397"/>
                  <a:pt x="204177" y="9770953"/>
                  <a:pt x="31269" y="8348363"/>
                </a:cubicBezTo>
                <a:close/>
                <a:moveTo>
                  <a:pt x="0" y="4775048"/>
                </a:moveTo>
                <a:lnTo>
                  <a:pt x="0" y="4887079"/>
                </a:lnTo>
                <a:lnTo>
                  <a:pt x="20145" y="4703802"/>
                </a:lnTo>
                <a:cubicBezTo>
                  <a:pt x="37528" y="4556367"/>
                  <a:pt x="55719" y="4409988"/>
                  <a:pt x="73910" y="4265036"/>
                </a:cubicBezTo>
                <a:cubicBezTo>
                  <a:pt x="98164" y="4046807"/>
                  <a:pt x="125547" y="3824016"/>
                  <a:pt x="149800" y="3605785"/>
                </a:cubicBezTo>
                <a:cubicBezTo>
                  <a:pt x="283198" y="2388641"/>
                  <a:pt x="331705" y="1179709"/>
                  <a:pt x="292196" y="1828"/>
                </a:cubicBezTo>
                <a:lnTo>
                  <a:pt x="280069" y="1828"/>
                </a:lnTo>
                <a:cubicBezTo>
                  <a:pt x="319579" y="1179709"/>
                  <a:pt x="271072" y="2388641"/>
                  <a:pt x="137674" y="3601219"/>
                </a:cubicBezTo>
                <a:cubicBezTo>
                  <a:pt x="113420" y="3824016"/>
                  <a:pt x="86037" y="4045894"/>
                  <a:pt x="61784" y="4260470"/>
                </a:cubicBezTo>
                <a:cubicBezTo>
                  <a:pt x="43593" y="4406564"/>
                  <a:pt x="25402" y="4553800"/>
                  <a:pt x="8018" y="4701876"/>
                </a:cubicBezTo>
                <a:close/>
                <a:moveTo>
                  <a:pt x="0" y="3771216"/>
                </a:moveTo>
                <a:lnTo>
                  <a:pt x="0" y="3885405"/>
                </a:lnTo>
                <a:lnTo>
                  <a:pt x="22272" y="3684311"/>
                </a:lnTo>
                <a:cubicBezTo>
                  <a:pt x="155669" y="2440685"/>
                  <a:pt x="201048" y="1201626"/>
                  <a:pt x="158407" y="1828"/>
                </a:cubicBezTo>
                <a:lnTo>
                  <a:pt x="146280" y="1828"/>
                </a:lnTo>
                <a:cubicBezTo>
                  <a:pt x="188530" y="1201626"/>
                  <a:pt x="143150" y="2440685"/>
                  <a:pt x="10144" y="3684311"/>
                </a:cubicBezTo>
                <a:close/>
                <a:moveTo>
                  <a:pt x="0" y="2184485"/>
                </a:moveTo>
                <a:lnTo>
                  <a:pt x="0" y="2456148"/>
                </a:lnTo>
                <a:lnTo>
                  <a:pt x="7103" y="2339528"/>
                </a:lnTo>
                <a:cubicBezTo>
                  <a:pt x="48335" y="1550011"/>
                  <a:pt x="54936" y="768251"/>
                  <a:pt x="28532" y="1828"/>
                </a:cubicBezTo>
                <a:lnTo>
                  <a:pt x="13275" y="1828"/>
                </a:lnTo>
                <a:cubicBezTo>
                  <a:pt x="35964" y="612683"/>
                  <a:pt x="35964" y="1234496"/>
                  <a:pt x="14008" y="1862814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  <a:ln w="12700">
            <a:solidFill>
              <a:schemeClr val="bg1">
                <a:lumMod val="95000"/>
                <a:alpha val="30000"/>
              </a:schemeClr>
            </a:solidFill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798"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60BD87-90A1-7149-BE3B-584C7BA621D8}"/>
              </a:ext>
            </a:extLst>
          </p:cNvPr>
          <p:cNvSpPr/>
          <p:nvPr userDrawn="1"/>
        </p:nvSpPr>
        <p:spPr>
          <a:xfrm>
            <a:off x="1" y="-15025"/>
            <a:ext cx="12191999" cy="1033946"/>
          </a:xfrm>
          <a:prstGeom prst="rect">
            <a:avLst/>
          </a:prstGeom>
          <a:gradFill>
            <a:gsLst>
              <a:gs pos="50000">
                <a:srgbClr val="605BCA"/>
              </a:gs>
              <a:gs pos="0">
                <a:schemeClr val="tx2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C211EE-CE6A-0174-A94C-292157083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420" y="248675"/>
            <a:ext cx="10515163" cy="506546"/>
          </a:xfrm>
          <a:prstGeom prst="rect">
            <a:avLst/>
          </a:prstGeom>
        </p:spPr>
        <p:txBody>
          <a:bodyPr/>
          <a:lstStyle>
            <a:lvl1pPr marL="0" marR="126924" indent="-36808" algn="ctr" defTabSz="913852" rtl="0" eaLnBrk="1" latinLnBrk="0" hangingPunct="1">
              <a:lnSpc>
                <a:spcPct val="90000"/>
              </a:lnSpc>
              <a:spcBef>
                <a:spcPct val="0"/>
              </a:spcBef>
              <a:defRPr lang="en-US" sz="2599" b="1" kern="1200" spc="1000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BBB362D5-AEC0-4BEA-6095-EB5593C546BF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7561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3356640" cy="6858000"/>
          </a:xfrm>
          <a:prstGeom prst="rect">
            <a:avLst/>
          </a:prstGeom>
          <a:gradFill flip="none" rotWithShape="1">
            <a:gsLst>
              <a:gs pos="61000">
                <a:schemeClr val="accent3"/>
              </a:gs>
              <a:gs pos="1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5668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3356640" cy="6858000"/>
          </a:xfrm>
          <a:prstGeom prst="rect">
            <a:avLst/>
          </a:prstGeom>
          <a:gradFill flip="none" rotWithShape="1">
            <a:gsLst>
              <a:gs pos="61000">
                <a:schemeClr val="accent3"/>
              </a:gs>
              <a:gs pos="1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3183012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4">
                  <a:lumMod val="40000"/>
                  <a:lumOff val="60000"/>
                </a:schemeClr>
              </a:gs>
              <a:gs pos="0">
                <a:schemeClr val="accent4">
                  <a:lumMod val="50000"/>
                </a:schemeClr>
              </a:gs>
              <a:gs pos="54000">
                <a:schemeClr val="accent4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9308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75000"/>
                </a:schemeClr>
              </a:gs>
              <a:gs pos="54000">
                <a:schemeClr val="accent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7252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rgbClr val="9591DB"/>
              </a:gs>
              <a:gs pos="0">
                <a:srgbClr val="28246F"/>
              </a:gs>
              <a:gs pos="54000">
                <a:srgbClr val="605BCA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613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A4B9D9AB-9CDE-4794-A599-6AA5A92709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088" y="0"/>
            <a:ext cx="11868912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B9D08DE-A696-4CFD-95FB-3748071F69A4}"/>
              </a:ext>
            </a:extLst>
          </p:cNvPr>
          <p:cNvSpPr/>
          <p:nvPr userDrawn="1"/>
        </p:nvSpPr>
        <p:spPr>
          <a:xfrm>
            <a:off x="0" y="-2381"/>
            <a:ext cx="12192000" cy="6858000"/>
          </a:xfrm>
          <a:prstGeom prst="rect">
            <a:avLst/>
          </a:prstGeom>
          <a:gradFill flip="none" rotWithShape="1">
            <a:gsLst>
              <a:gs pos="64000">
                <a:schemeClr val="bg1">
                  <a:alpha val="92000"/>
                </a:schemeClr>
              </a:gs>
              <a:gs pos="81000">
                <a:schemeClr val="bg1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327499-4B23-4CF8-BFAD-E72B8F453FB1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5503B99-ECF7-4162-80C5-D2B7A43A3685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30DC7B0B-0CCF-49CD-8AC5-2A8401DCF0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A6DD14-BB6A-4FDA-B68D-749139729F91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008AEB-F092-4B15-A9B2-344A1F6810C5}"/>
              </a:ext>
            </a:extLst>
          </p:cNvPr>
          <p:cNvSpPr/>
          <p:nvPr userDrawn="1"/>
        </p:nvSpPr>
        <p:spPr>
          <a:xfrm>
            <a:off x="0" y="6801692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1343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4210493" cy="6858000"/>
          </a:xfrm>
          <a:prstGeom prst="rect">
            <a:avLst/>
          </a:prstGeom>
          <a:gradFill flip="none" rotWithShape="1">
            <a:gsLst>
              <a:gs pos="100000">
                <a:schemeClr val="accent3"/>
              </a:gs>
              <a:gs pos="0">
                <a:schemeClr val="tx2">
                  <a:lumMod val="50000"/>
                </a:schemeClr>
              </a:gs>
              <a:gs pos="54000">
                <a:schemeClr val="tx2">
                  <a:alpha val="90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B5E58D68-DC9A-539C-E9E5-0C73A09FF05B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6" y="6110831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3658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DF39395D-5788-42F2-A649-7A66CAA99D0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089" y="0"/>
            <a:ext cx="11868912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FF3EF0C9-7054-4616-8F06-3EFAC24F1EDC}"/>
              </a:ext>
            </a:extLst>
          </p:cNvPr>
          <p:cNvSpPr/>
          <p:nvPr/>
        </p:nvSpPr>
        <p:spPr>
          <a:xfrm>
            <a:off x="3942557" y="-2381"/>
            <a:ext cx="8242300" cy="6858000"/>
          </a:xfrm>
          <a:prstGeom prst="rect">
            <a:avLst/>
          </a:prstGeom>
          <a:gradFill flip="none" rotWithShape="1">
            <a:gsLst>
              <a:gs pos="64000">
                <a:schemeClr val="bg1">
                  <a:alpha val="92000"/>
                </a:schemeClr>
              </a:gs>
              <a:gs pos="81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5257148" y="2705102"/>
            <a:ext cx="6630052" cy="203804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4399"/>
              </a:lnSpc>
              <a:defRPr sz="5398" b="1" cap="none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Divid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7148" y="5300382"/>
            <a:ext cx="6630052" cy="2904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99" spc="300">
                <a:solidFill>
                  <a:schemeClr val="tx2"/>
                </a:solidFill>
                <a:latin typeface="+mn-lt"/>
              </a:defRPr>
            </a:lvl1pPr>
            <a:lvl2pPr marL="342781" indent="0" algn="ctr">
              <a:buNone/>
              <a:defRPr sz="1500"/>
            </a:lvl2pPr>
            <a:lvl3pPr marL="685560" indent="0" algn="ctr">
              <a:buNone/>
              <a:defRPr sz="1350"/>
            </a:lvl3pPr>
            <a:lvl4pPr marL="1028340" indent="0" algn="ctr">
              <a:buNone/>
              <a:defRPr sz="1200"/>
            </a:lvl4pPr>
            <a:lvl5pPr marL="1371121" indent="0" algn="ctr">
              <a:buNone/>
              <a:defRPr sz="1200"/>
            </a:lvl5pPr>
            <a:lvl6pPr marL="1713901" indent="0" algn="ctr">
              <a:buNone/>
              <a:defRPr sz="1200"/>
            </a:lvl6pPr>
            <a:lvl7pPr marL="2056680" indent="0" algn="ctr">
              <a:buNone/>
              <a:defRPr sz="1200"/>
            </a:lvl7pPr>
            <a:lvl8pPr marL="2399460" indent="0" algn="ctr">
              <a:buNone/>
              <a:defRPr sz="1200"/>
            </a:lvl8pPr>
            <a:lvl9pPr marL="2742241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C97480E-BED0-4B56-8A0A-2AFE498C51D2}"/>
              </a:ext>
            </a:extLst>
          </p:cNvPr>
          <p:cNvSpPr/>
          <p:nvPr/>
        </p:nvSpPr>
        <p:spPr>
          <a:xfrm flipV="1">
            <a:off x="4233489" y="0"/>
            <a:ext cx="1162537" cy="6858000"/>
          </a:xfrm>
          <a:custGeom>
            <a:avLst/>
            <a:gdLst>
              <a:gd name="connsiteX0" fmla="*/ 1117940 w 1117940"/>
              <a:gd name="connsiteY0" fmla="*/ 0 h 6858000"/>
              <a:gd name="connsiteX1" fmla="*/ 889340 w 1117940"/>
              <a:gd name="connsiteY1" fmla="*/ 1168400 h 6858000"/>
              <a:gd name="connsiteX2" fmla="*/ 178140 w 1117940"/>
              <a:gd name="connsiteY2" fmla="*/ 3048000 h 6858000"/>
              <a:gd name="connsiteX3" fmla="*/ 340 w 1117940"/>
              <a:gd name="connsiteY3" fmla="*/ 4343400 h 6858000"/>
              <a:gd name="connsiteX4" fmla="*/ 203540 w 1117940"/>
              <a:gd name="connsiteY4" fmla="*/ 5613400 h 6858000"/>
              <a:gd name="connsiteX5" fmla="*/ 1003640 w 111794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7940" h="6858000">
                <a:moveTo>
                  <a:pt x="1117940" y="0"/>
                </a:moveTo>
                <a:cubicBezTo>
                  <a:pt x="1081956" y="330200"/>
                  <a:pt x="1045973" y="660400"/>
                  <a:pt x="889340" y="1168400"/>
                </a:cubicBezTo>
                <a:cubicBezTo>
                  <a:pt x="732707" y="1676400"/>
                  <a:pt x="326307" y="2518833"/>
                  <a:pt x="178140" y="3048000"/>
                </a:cubicBezTo>
                <a:cubicBezTo>
                  <a:pt x="29973" y="3577167"/>
                  <a:pt x="-3893" y="3915833"/>
                  <a:pt x="340" y="4343400"/>
                </a:cubicBezTo>
                <a:cubicBezTo>
                  <a:pt x="4573" y="4770967"/>
                  <a:pt x="36323" y="5194300"/>
                  <a:pt x="203540" y="5613400"/>
                </a:cubicBezTo>
                <a:cubicBezTo>
                  <a:pt x="370757" y="6032500"/>
                  <a:pt x="687198" y="6445250"/>
                  <a:pt x="1003640" y="6858000"/>
                </a:cubicBezTo>
              </a:path>
            </a:pathLst>
          </a:custGeom>
          <a:noFill/>
          <a:ln w="15875">
            <a:solidFill>
              <a:schemeClr val="bg1">
                <a:alpha val="8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64F9551-FB27-492E-8EA7-EC4DB915F4AA}"/>
              </a:ext>
            </a:extLst>
          </p:cNvPr>
          <p:cNvCxnSpPr>
            <a:cxnSpLocks/>
          </p:cNvCxnSpPr>
          <p:nvPr/>
        </p:nvCxnSpPr>
        <p:spPr>
          <a:xfrm>
            <a:off x="5257148" y="5038693"/>
            <a:ext cx="5435706" cy="0"/>
          </a:xfrm>
          <a:prstGeom prst="line">
            <a:avLst/>
          </a:prstGeom>
          <a:ln>
            <a:gradFill flip="none" rotWithShape="1">
              <a:gsLst>
                <a:gs pos="1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9775A2-078D-4EBE-B50A-32A40BEFD388}"/>
              </a:ext>
            </a:extLst>
          </p:cNvPr>
          <p:cNvSpPr/>
          <p:nvPr/>
        </p:nvSpPr>
        <p:spPr>
          <a:xfrm>
            <a:off x="218540" y="-2869"/>
            <a:ext cx="5877461" cy="6860868"/>
          </a:xfrm>
          <a:custGeom>
            <a:avLst/>
            <a:gdLst>
              <a:gd name="connsiteX0" fmla="*/ 0 w 6710000"/>
              <a:gd name="connsiteY0" fmla="*/ 6767133 h 6858000"/>
              <a:gd name="connsiteX1" fmla="*/ 61409 w 6710000"/>
              <a:gd name="connsiteY1" fmla="*/ 6858000 h 6858000"/>
              <a:gd name="connsiteX2" fmla="*/ 42656 w 6710000"/>
              <a:gd name="connsiteY2" fmla="*/ 6858000 h 6858000"/>
              <a:gd name="connsiteX3" fmla="*/ 0 w 6710000"/>
              <a:gd name="connsiteY3" fmla="*/ 6794901 h 6858000"/>
              <a:gd name="connsiteX4" fmla="*/ 0 w 6710000"/>
              <a:gd name="connsiteY4" fmla="*/ 6468280 h 6858000"/>
              <a:gd name="connsiteX5" fmla="*/ 72167 w 6710000"/>
              <a:gd name="connsiteY5" fmla="*/ 6593013 h 6858000"/>
              <a:gd name="connsiteX6" fmla="*/ 233941 w 6710000"/>
              <a:gd name="connsiteY6" fmla="*/ 6835826 h 6858000"/>
              <a:gd name="connsiteX7" fmla="*/ 250890 w 6710000"/>
              <a:gd name="connsiteY7" fmla="*/ 6858000 h 6858000"/>
              <a:gd name="connsiteX8" fmla="*/ 230297 w 6710000"/>
              <a:gd name="connsiteY8" fmla="*/ 6858000 h 6858000"/>
              <a:gd name="connsiteX9" fmla="*/ 217393 w 6710000"/>
              <a:gd name="connsiteY9" fmla="*/ 6841108 h 6858000"/>
              <a:gd name="connsiteX10" fmla="*/ 55623 w 6710000"/>
              <a:gd name="connsiteY10" fmla="*/ 6598099 h 6858000"/>
              <a:gd name="connsiteX11" fmla="*/ 0 w 6710000"/>
              <a:gd name="connsiteY11" fmla="*/ 6501837 h 6858000"/>
              <a:gd name="connsiteX12" fmla="*/ 0 w 6710000"/>
              <a:gd name="connsiteY12" fmla="*/ 6127856 h 6858000"/>
              <a:gd name="connsiteX13" fmla="*/ 74782 w 6710000"/>
              <a:gd name="connsiteY13" fmla="*/ 6280093 h 6858000"/>
              <a:gd name="connsiteX14" fmla="*/ 259740 w 6710000"/>
              <a:gd name="connsiteY14" fmla="*/ 6599011 h 6858000"/>
              <a:gd name="connsiteX15" fmla="*/ 439100 w 6710000"/>
              <a:gd name="connsiteY15" fmla="*/ 6858000 h 6858000"/>
              <a:gd name="connsiteX16" fmla="*/ 420644 w 6710000"/>
              <a:gd name="connsiteY16" fmla="*/ 6858000 h 6858000"/>
              <a:gd name="connsiteX17" fmla="*/ 243317 w 6710000"/>
              <a:gd name="connsiteY17" fmla="*/ 6602664 h 6858000"/>
              <a:gd name="connsiteX18" fmla="*/ 57373 w 6710000"/>
              <a:gd name="connsiteY18" fmla="*/ 6283122 h 6858000"/>
              <a:gd name="connsiteX19" fmla="*/ 0 w 6710000"/>
              <a:gd name="connsiteY19" fmla="*/ 6166955 h 6858000"/>
              <a:gd name="connsiteX20" fmla="*/ 0 w 6710000"/>
              <a:gd name="connsiteY20" fmla="*/ 5727262 h 6858000"/>
              <a:gd name="connsiteX21" fmla="*/ 93060 w 6710000"/>
              <a:gd name="connsiteY21" fmla="*/ 5950881 h 6858000"/>
              <a:gd name="connsiteX22" fmla="*/ 528035 w 6710000"/>
              <a:gd name="connsiteY22" fmla="*/ 6723817 h 6858000"/>
              <a:gd name="connsiteX23" fmla="*/ 626660 w 6710000"/>
              <a:gd name="connsiteY23" fmla="*/ 6858000 h 6858000"/>
              <a:gd name="connsiteX24" fmla="*/ 607172 w 6710000"/>
              <a:gd name="connsiteY24" fmla="*/ 6858000 h 6858000"/>
              <a:gd name="connsiteX25" fmla="*/ 511220 w 6710000"/>
              <a:gd name="connsiteY25" fmla="*/ 6727192 h 6858000"/>
              <a:gd name="connsiteX26" fmla="*/ 76244 w 6710000"/>
              <a:gd name="connsiteY26" fmla="*/ 5953636 h 6858000"/>
              <a:gd name="connsiteX27" fmla="*/ 0 w 6710000"/>
              <a:gd name="connsiteY27" fmla="*/ 5770403 h 6858000"/>
              <a:gd name="connsiteX28" fmla="*/ 0 w 6710000"/>
              <a:gd name="connsiteY28" fmla="*/ 5218362 h 6858000"/>
              <a:gd name="connsiteX29" fmla="*/ 23141 w 6710000"/>
              <a:gd name="connsiteY29" fmla="*/ 5299255 h 6858000"/>
              <a:gd name="connsiteX30" fmla="*/ 677327 w 6710000"/>
              <a:gd name="connsiteY30" fmla="*/ 6667002 h 6858000"/>
              <a:gd name="connsiteX31" fmla="*/ 818345 w 6710000"/>
              <a:gd name="connsiteY31" fmla="*/ 6858000 h 6858000"/>
              <a:gd name="connsiteX32" fmla="*/ 797399 w 6710000"/>
              <a:gd name="connsiteY32" fmla="*/ 6858000 h 6858000"/>
              <a:gd name="connsiteX33" fmla="*/ 659968 w 6710000"/>
              <a:gd name="connsiteY33" fmla="*/ 6671426 h 6858000"/>
              <a:gd name="connsiteX34" fmla="*/ 5783 w 6710000"/>
              <a:gd name="connsiteY34" fmla="*/ 5299255 h 6858000"/>
              <a:gd name="connsiteX35" fmla="*/ 0 w 6710000"/>
              <a:gd name="connsiteY35" fmla="*/ 5279204 h 6858000"/>
              <a:gd name="connsiteX36" fmla="*/ 0 w 6710000"/>
              <a:gd name="connsiteY36" fmla="*/ 4465450 h 6858000"/>
              <a:gd name="connsiteX37" fmla="*/ 5037 w 6710000"/>
              <a:gd name="connsiteY37" fmla="*/ 4510117 h 6858000"/>
              <a:gd name="connsiteX38" fmla="*/ 182081 w 6710000"/>
              <a:gd name="connsiteY38" fmla="*/ 5242297 h 6858000"/>
              <a:gd name="connsiteX39" fmla="*/ 990300 w 6710000"/>
              <a:gd name="connsiteY39" fmla="*/ 6839127 h 6858000"/>
              <a:gd name="connsiteX40" fmla="*/ 1006050 w 6710000"/>
              <a:gd name="connsiteY40" fmla="*/ 6858000 h 6858000"/>
              <a:gd name="connsiteX41" fmla="*/ 984214 w 6710000"/>
              <a:gd name="connsiteY41" fmla="*/ 6858000 h 6858000"/>
              <a:gd name="connsiteX42" fmla="*/ 972958 w 6710000"/>
              <a:gd name="connsiteY42" fmla="*/ 6844510 h 6858000"/>
              <a:gd name="connsiteX43" fmla="*/ 160926 w 6710000"/>
              <a:gd name="connsiteY43" fmla="*/ 5245010 h 6858000"/>
              <a:gd name="connsiteX44" fmla="*/ 55970 w 6710000"/>
              <a:gd name="connsiteY44" fmla="*/ 4866800 h 6858000"/>
              <a:gd name="connsiteX45" fmla="*/ 0 w 6710000"/>
              <a:gd name="connsiteY45" fmla="*/ 4583010 h 6858000"/>
              <a:gd name="connsiteX46" fmla="*/ 5126028 w 6710000"/>
              <a:gd name="connsiteY46" fmla="*/ 2170 h 6858000"/>
              <a:gd name="connsiteX47" fmla="*/ 5142843 w 6710000"/>
              <a:gd name="connsiteY47" fmla="*/ 2170 h 6858000"/>
              <a:gd name="connsiteX48" fmla="*/ 4865649 w 6710000"/>
              <a:gd name="connsiteY48" fmla="*/ 1121800 h 6858000"/>
              <a:gd name="connsiteX49" fmla="*/ 4655718 w 6710000"/>
              <a:gd name="connsiteY49" fmla="*/ 1593737 h 6858000"/>
              <a:gd name="connsiteX50" fmla="*/ 4311259 w 6710000"/>
              <a:gd name="connsiteY50" fmla="*/ 2464379 h 6858000"/>
              <a:gd name="connsiteX51" fmla="*/ 4290102 w 6710000"/>
              <a:gd name="connsiteY51" fmla="*/ 3778751 h 6858000"/>
              <a:gd name="connsiteX52" fmla="*/ 5033811 w 6710000"/>
              <a:gd name="connsiteY52" fmla="*/ 5774448 h 6858000"/>
              <a:gd name="connsiteX53" fmla="*/ 5386407 w 6710000"/>
              <a:gd name="connsiteY53" fmla="*/ 6176406 h 6858000"/>
              <a:gd name="connsiteX54" fmla="*/ 6134792 w 6710000"/>
              <a:gd name="connsiteY54" fmla="*/ 6775957 h 6858000"/>
              <a:gd name="connsiteX55" fmla="*/ 6263750 w 6710000"/>
              <a:gd name="connsiteY55" fmla="*/ 6858000 h 6858000"/>
              <a:gd name="connsiteX56" fmla="*/ 6240757 w 6710000"/>
              <a:gd name="connsiteY56" fmla="*/ 6858000 h 6858000"/>
              <a:gd name="connsiteX57" fmla="*/ 6121638 w 6710000"/>
              <a:gd name="connsiteY57" fmla="*/ 6782466 h 6858000"/>
              <a:gd name="connsiteX58" fmla="*/ 5373930 w 6710000"/>
              <a:gd name="connsiteY58" fmla="*/ 6180746 h 6858000"/>
              <a:gd name="connsiteX59" fmla="*/ 5016994 w 6710000"/>
              <a:gd name="connsiteY59" fmla="*/ 5778787 h 6858000"/>
              <a:gd name="connsiteX60" fmla="*/ 4273287 w 6710000"/>
              <a:gd name="connsiteY60" fmla="*/ 3777665 h 6858000"/>
              <a:gd name="connsiteX61" fmla="*/ 4294441 w 6710000"/>
              <a:gd name="connsiteY61" fmla="*/ 2463294 h 6858000"/>
              <a:gd name="connsiteX62" fmla="*/ 4634562 w 6710000"/>
              <a:gd name="connsiteY62" fmla="*/ 1589939 h 6858000"/>
              <a:gd name="connsiteX63" fmla="*/ 4844493 w 6710000"/>
              <a:gd name="connsiteY63" fmla="*/ 1118004 h 6858000"/>
              <a:gd name="connsiteX64" fmla="*/ 5126028 w 6710000"/>
              <a:gd name="connsiteY64" fmla="*/ 2170 h 6858000"/>
              <a:gd name="connsiteX65" fmla="*/ 5302868 w 6710000"/>
              <a:gd name="connsiteY65" fmla="*/ 1628 h 6858000"/>
              <a:gd name="connsiteX66" fmla="*/ 5319685 w 6710000"/>
              <a:gd name="connsiteY66" fmla="*/ 1628 h 6858000"/>
              <a:gd name="connsiteX67" fmla="*/ 5042488 w 6710000"/>
              <a:gd name="connsiteY67" fmla="*/ 1071894 h 6858000"/>
              <a:gd name="connsiteX68" fmla="*/ 4828219 w 6710000"/>
              <a:gd name="connsiteY68" fmla="*/ 1546001 h 6858000"/>
              <a:gd name="connsiteX69" fmla="*/ 4479419 w 6710000"/>
              <a:gd name="connsiteY69" fmla="*/ 2411762 h 6858000"/>
              <a:gd name="connsiteX70" fmla="*/ 4450126 w 6710000"/>
              <a:gd name="connsiteY70" fmla="*/ 3720708 h 6858000"/>
              <a:gd name="connsiteX71" fmla="*/ 5172679 w 6710000"/>
              <a:gd name="connsiteY71" fmla="*/ 5716404 h 6858000"/>
              <a:gd name="connsiteX72" fmla="*/ 5525274 w 6710000"/>
              <a:gd name="connsiteY72" fmla="*/ 6118364 h 6858000"/>
              <a:gd name="connsiteX73" fmla="*/ 6269795 w 6710000"/>
              <a:gd name="connsiteY73" fmla="*/ 6720287 h 6858000"/>
              <a:gd name="connsiteX74" fmla="*/ 6485166 w 6710000"/>
              <a:gd name="connsiteY74" fmla="*/ 6858000 h 6858000"/>
              <a:gd name="connsiteX75" fmla="*/ 6459959 w 6710000"/>
              <a:gd name="connsiteY75" fmla="*/ 6858000 h 6858000"/>
              <a:gd name="connsiteX76" fmla="*/ 6254606 w 6710000"/>
              <a:gd name="connsiteY76" fmla="*/ 6726797 h 6858000"/>
              <a:gd name="connsiteX77" fmla="*/ 5507917 w 6710000"/>
              <a:gd name="connsiteY77" fmla="*/ 6123789 h 6858000"/>
              <a:gd name="connsiteX78" fmla="*/ 5155319 w 6710000"/>
              <a:gd name="connsiteY78" fmla="*/ 5721828 h 6858000"/>
              <a:gd name="connsiteX79" fmla="*/ 4432767 w 6710000"/>
              <a:gd name="connsiteY79" fmla="*/ 3723420 h 6858000"/>
              <a:gd name="connsiteX80" fmla="*/ 4462062 w 6710000"/>
              <a:gd name="connsiteY80" fmla="*/ 2409049 h 6858000"/>
              <a:gd name="connsiteX81" fmla="*/ 4806521 w 6710000"/>
              <a:gd name="connsiteY81" fmla="*/ 1543289 h 6858000"/>
              <a:gd name="connsiteX82" fmla="*/ 5025132 w 6710000"/>
              <a:gd name="connsiteY82" fmla="*/ 1069182 h 6858000"/>
              <a:gd name="connsiteX83" fmla="*/ 5302868 w 6710000"/>
              <a:gd name="connsiteY83" fmla="*/ 1628 h 6858000"/>
              <a:gd name="connsiteX84" fmla="*/ 4949188 w 6710000"/>
              <a:gd name="connsiteY84" fmla="*/ 1628 h 6858000"/>
              <a:gd name="connsiteX85" fmla="*/ 4966003 w 6710000"/>
              <a:gd name="connsiteY85" fmla="*/ 1628 h 6858000"/>
              <a:gd name="connsiteX86" fmla="*/ 4684468 w 6710000"/>
              <a:gd name="connsiteY86" fmla="*/ 1167910 h 6858000"/>
              <a:gd name="connsiteX87" fmla="*/ 4478877 w 6710000"/>
              <a:gd name="connsiteY87" fmla="*/ 1639846 h 6858000"/>
              <a:gd name="connsiteX88" fmla="*/ 4143096 w 6710000"/>
              <a:gd name="connsiteY88" fmla="*/ 2518625 h 6858000"/>
              <a:gd name="connsiteX89" fmla="*/ 4134959 w 6710000"/>
              <a:gd name="connsiteY89" fmla="*/ 3835167 h 6858000"/>
              <a:gd name="connsiteX90" fmla="*/ 4891144 w 6710000"/>
              <a:gd name="connsiteY90" fmla="*/ 5830862 h 6858000"/>
              <a:gd name="connsiteX91" fmla="*/ 5252419 w 6710000"/>
              <a:gd name="connsiteY91" fmla="*/ 6232823 h 6858000"/>
              <a:gd name="connsiteX92" fmla="*/ 6002296 w 6710000"/>
              <a:gd name="connsiteY92" fmla="*/ 6830338 h 6858000"/>
              <a:gd name="connsiteX93" fmla="*/ 6046090 w 6710000"/>
              <a:gd name="connsiteY93" fmla="*/ 6858000 h 6858000"/>
              <a:gd name="connsiteX94" fmla="*/ 6022791 w 6710000"/>
              <a:gd name="connsiteY94" fmla="*/ 6858000 h 6858000"/>
              <a:gd name="connsiteX95" fmla="*/ 5990091 w 6710000"/>
              <a:gd name="connsiteY95" fmla="*/ 6837390 h 6858000"/>
              <a:gd name="connsiteX96" fmla="*/ 5236146 w 6710000"/>
              <a:gd name="connsiteY96" fmla="*/ 6237705 h 6858000"/>
              <a:gd name="connsiteX97" fmla="*/ 4874871 w 6710000"/>
              <a:gd name="connsiteY97" fmla="*/ 5835744 h 6858000"/>
              <a:gd name="connsiteX98" fmla="*/ 4114346 w 6710000"/>
              <a:gd name="connsiteY98" fmla="*/ 3834624 h 6858000"/>
              <a:gd name="connsiteX99" fmla="*/ 4126822 w 6710000"/>
              <a:gd name="connsiteY99" fmla="*/ 2515371 h 6858000"/>
              <a:gd name="connsiteX100" fmla="*/ 4462604 w 6710000"/>
              <a:gd name="connsiteY100" fmla="*/ 1636591 h 6858000"/>
              <a:gd name="connsiteX101" fmla="*/ 4668195 w 6710000"/>
              <a:gd name="connsiteY101" fmla="*/ 1164654 h 6858000"/>
              <a:gd name="connsiteX102" fmla="*/ 4949188 w 6710000"/>
              <a:gd name="connsiteY102" fmla="*/ 1628 h 6858000"/>
              <a:gd name="connsiteX103" fmla="*/ 4768549 w 6710000"/>
              <a:gd name="connsiteY103" fmla="*/ 1628 h 6858000"/>
              <a:gd name="connsiteX104" fmla="*/ 4785365 w 6710000"/>
              <a:gd name="connsiteY104" fmla="*/ 1628 h 6858000"/>
              <a:gd name="connsiteX105" fmla="*/ 4508170 w 6710000"/>
              <a:gd name="connsiteY105" fmla="*/ 1217273 h 6858000"/>
              <a:gd name="connsiteX106" fmla="*/ 4306375 w 6710000"/>
              <a:gd name="connsiteY106" fmla="*/ 1686497 h 6858000"/>
              <a:gd name="connsiteX107" fmla="*/ 3974392 w 6710000"/>
              <a:gd name="connsiteY107" fmla="*/ 2572871 h 6858000"/>
              <a:gd name="connsiteX108" fmla="*/ 3974392 w 6710000"/>
              <a:gd name="connsiteY108" fmla="*/ 3889412 h 6858000"/>
              <a:gd name="connsiteX109" fmla="*/ 4751189 w 6710000"/>
              <a:gd name="connsiteY109" fmla="*/ 5887821 h 6858000"/>
              <a:gd name="connsiteX110" fmla="*/ 5112467 w 6710000"/>
              <a:gd name="connsiteY110" fmla="*/ 6289780 h 6858000"/>
              <a:gd name="connsiteX111" fmla="*/ 5659720 w 6710000"/>
              <a:gd name="connsiteY111" fmla="*/ 6742109 h 6858000"/>
              <a:gd name="connsiteX112" fmla="*/ 5829044 w 6710000"/>
              <a:gd name="connsiteY112" fmla="*/ 6858000 h 6858000"/>
              <a:gd name="connsiteX113" fmla="*/ 5805955 w 6710000"/>
              <a:gd name="connsiteY113" fmla="*/ 6858000 h 6858000"/>
              <a:gd name="connsiteX114" fmla="*/ 5646726 w 6710000"/>
              <a:gd name="connsiteY114" fmla="*/ 6749042 h 6858000"/>
              <a:gd name="connsiteX115" fmla="*/ 5096192 w 6710000"/>
              <a:gd name="connsiteY115" fmla="*/ 6294663 h 6858000"/>
              <a:gd name="connsiteX116" fmla="*/ 4734917 w 6710000"/>
              <a:gd name="connsiteY116" fmla="*/ 5892702 h 6858000"/>
              <a:gd name="connsiteX117" fmla="*/ 3958119 w 6710000"/>
              <a:gd name="connsiteY117" fmla="*/ 3891582 h 6858000"/>
              <a:gd name="connsiteX118" fmla="*/ 3958119 w 6710000"/>
              <a:gd name="connsiteY118" fmla="*/ 2569615 h 6858000"/>
              <a:gd name="connsiteX119" fmla="*/ 4290102 w 6710000"/>
              <a:gd name="connsiteY119" fmla="*/ 1683243 h 6858000"/>
              <a:gd name="connsiteX120" fmla="*/ 4491897 w 6710000"/>
              <a:gd name="connsiteY120" fmla="*/ 1214017 h 6858000"/>
              <a:gd name="connsiteX121" fmla="*/ 4768549 w 6710000"/>
              <a:gd name="connsiteY121" fmla="*/ 1628 h 6858000"/>
              <a:gd name="connsiteX122" fmla="*/ 4591166 w 6710000"/>
              <a:gd name="connsiteY122" fmla="*/ 1628 h 6858000"/>
              <a:gd name="connsiteX123" fmla="*/ 4607983 w 6710000"/>
              <a:gd name="connsiteY123" fmla="*/ 1628 h 6858000"/>
              <a:gd name="connsiteX124" fmla="*/ 4330786 w 6710000"/>
              <a:gd name="connsiteY124" fmla="*/ 1266636 h 6858000"/>
              <a:gd name="connsiteX125" fmla="*/ 4133333 w 6710000"/>
              <a:gd name="connsiteY125" fmla="*/ 1730437 h 6858000"/>
              <a:gd name="connsiteX126" fmla="*/ 3810028 w 6710000"/>
              <a:gd name="connsiteY126" fmla="*/ 2627116 h 6858000"/>
              <a:gd name="connsiteX127" fmla="*/ 3814368 w 6710000"/>
              <a:gd name="connsiteY127" fmla="*/ 3946370 h 6858000"/>
              <a:gd name="connsiteX128" fmla="*/ 4607983 w 6710000"/>
              <a:gd name="connsiteY128" fmla="*/ 5944777 h 6858000"/>
              <a:gd name="connsiteX129" fmla="*/ 4973597 w 6710000"/>
              <a:gd name="connsiteY129" fmla="*/ 6346738 h 6858000"/>
              <a:gd name="connsiteX130" fmla="*/ 5524416 w 6710000"/>
              <a:gd name="connsiteY130" fmla="*/ 6796302 h 6858000"/>
              <a:gd name="connsiteX131" fmla="*/ 5615411 w 6710000"/>
              <a:gd name="connsiteY131" fmla="*/ 6858000 h 6858000"/>
              <a:gd name="connsiteX132" fmla="*/ 5592917 w 6710000"/>
              <a:gd name="connsiteY132" fmla="*/ 6858000 h 6858000"/>
              <a:gd name="connsiteX133" fmla="*/ 5512626 w 6710000"/>
              <a:gd name="connsiteY133" fmla="*/ 6803376 h 6858000"/>
              <a:gd name="connsiteX134" fmla="*/ 4961663 w 6710000"/>
              <a:gd name="connsiteY134" fmla="*/ 6351619 h 6858000"/>
              <a:gd name="connsiteX135" fmla="*/ 4592250 w 6710000"/>
              <a:gd name="connsiteY135" fmla="*/ 5949660 h 6858000"/>
              <a:gd name="connsiteX136" fmla="*/ 3798637 w 6710000"/>
              <a:gd name="connsiteY136" fmla="*/ 3948538 h 6858000"/>
              <a:gd name="connsiteX137" fmla="*/ 3790500 w 6710000"/>
              <a:gd name="connsiteY137" fmla="*/ 2623862 h 6858000"/>
              <a:gd name="connsiteX138" fmla="*/ 4118143 w 6710000"/>
              <a:gd name="connsiteY138" fmla="*/ 1727181 h 6858000"/>
              <a:gd name="connsiteX139" fmla="*/ 4315597 w 6710000"/>
              <a:gd name="connsiteY139" fmla="*/ 1263380 h 6858000"/>
              <a:gd name="connsiteX140" fmla="*/ 4591166 w 6710000"/>
              <a:gd name="connsiteY140" fmla="*/ 1628 h 6858000"/>
              <a:gd name="connsiteX141" fmla="*/ 4411613 w 6710000"/>
              <a:gd name="connsiteY141" fmla="*/ 1628 h 6858000"/>
              <a:gd name="connsiteX142" fmla="*/ 4428428 w 6710000"/>
              <a:gd name="connsiteY142" fmla="*/ 1628 h 6858000"/>
              <a:gd name="connsiteX143" fmla="*/ 4155574 w 6710000"/>
              <a:gd name="connsiteY143" fmla="*/ 1316000 h 6858000"/>
              <a:gd name="connsiteX144" fmla="*/ 3962458 w 6710000"/>
              <a:gd name="connsiteY144" fmla="*/ 1777631 h 6858000"/>
              <a:gd name="connsiteX145" fmla="*/ 3643494 w 6710000"/>
              <a:gd name="connsiteY145" fmla="*/ 2679735 h 6858000"/>
              <a:gd name="connsiteX146" fmla="*/ 3660310 w 6710000"/>
              <a:gd name="connsiteY146" fmla="*/ 4004412 h 6858000"/>
              <a:gd name="connsiteX147" fmla="*/ 4466944 w 6710000"/>
              <a:gd name="connsiteY147" fmla="*/ 6002821 h 6858000"/>
              <a:gd name="connsiteX148" fmla="*/ 4840696 w 6710000"/>
              <a:gd name="connsiteY148" fmla="*/ 6404781 h 6858000"/>
              <a:gd name="connsiteX149" fmla="*/ 5392889 w 6710000"/>
              <a:gd name="connsiteY149" fmla="*/ 6852676 h 6858000"/>
              <a:gd name="connsiteX150" fmla="*/ 5400780 w 6710000"/>
              <a:gd name="connsiteY150" fmla="*/ 6858000 h 6858000"/>
              <a:gd name="connsiteX151" fmla="*/ 5377398 w 6710000"/>
              <a:gd name="connsiteY151" fmla="*/ 6858000 h 6858000"/>
              <a:gd name="connsiteX152" fmla="*/ 5181205 w 6710000"/>
              <a:gd name="connsiteY152" fmla="*/ 6713413 h 6858000"/>
              <a:gd name="connsiteX153" fmla="*/ 4823879 w 6710000"/>
              <a:gd name="connsiteY153" fmla="*/ 6409663 h 6858000"/>
              <a:gd name="connsiteX154" fmla="*/ 4454468 w 6710000"/>
              <a:gd name="connsiteY154" fmla="*/ 6007703 h 6858000"/>
              <a:gd name="connsiteX155" fmla="*/ 3644036 w 6710000"/>
              <a:gd name="connsiteY155" fmla="*/ 4003870 h 6858000"/>
              <a:gd name="connsiteX156" fmla="*/ 3627220 w 6710000"/>
              <a:gd name="connsiteY156" fmla="*/ 2679193 h 6858000"/>
              <a:gd name="connsiteX157" fmla="*/ 3946184 w 6710000"/>
              <a:gd name="connsiteY157" fmla="*/ 1774375 h 6858000"/>
              <a:gd name="connsiteX158" fmla="*/ 4134959 w 6710000"/>
              <a:gd name="connsiteY158" fmla="*/ 1312746 h 6858000"/>
              <a:gd name="connsiteX159" fmla="*/ 4411613 w 6710000"/>
              <a:gd name="connsiteY159" fmla="*/ 1628 h 6858000"/>
              <a:gd name="connsiteX160" fmla="*/ 3875123 w 6710000"/>
              <a:gd name="connsiteY160" fmla="*/ 1628 h 6858000"/>
              <a:gd name="connsiteX161" fmla="*/ 3891940 w 6710000"/>
              <a:gd name="connsiteY161" fmla="*/ 1628 h 6858000"/>
              <a:gd name="connsiteX162" fmla="*/ 3622881 w 6710000"/>
              <a:gd name="connsiteY162" fmla="*/ 1460836 h 6858000"/>
              <a:gd name="connsiteX163" fmla="*/ 3446582 w 6710000"/>
              <a:gd name="connsiteY163" fmla="*/ 1914329 h 6858000"/>
              <a:gd name="connsiteX164" fmla="*/ 3140095 w 6710000"/>
              <a:gd name="connsiteY164" fmla="*/ 2842471 h 6858000"/>
              <a:gd name="connsiteX165" fmla="*/ 3186204 w 6710000"/>
              <a:gd name="connsiteY165" fmla="*/ 4172031 h 6858000"/>
              <a:gd name="connsiteX166" fmla="*/ 4047082 w 6710000"/>
              <a:gd name="connsiteY166" fmla="*/ 6173153 h 6858000"/>
              <a:gd name="connsiteX167" fmla="*/ 4429513 w 6710000"/>
              <a:gd name="connsiteY167" fmla="*/ 6572400 h 6858000"/>
              <a:gd name="connsiteX168" fmla="*/ 4602120 w 6710000"/>
              <a:gd name="connsiteY168" fmla="*/ 6723496 h 6858000"/>
              <a:gd name="connsiteX169" fmla="*/ 4771866 w 6710000"/>
              <a:gd name="connsiteY169" fmla="*/ 6858000 h 6858000"/>
              <a:gd name="connsiteX170" fmla="*/ 4748471 w 6710000"/>
              <a:gd name="connsiteY170" fmla="*/ 6858000 h 6858000"/>
              <a:gd name="connsiteX171" fmla="*/ 4586735 w 6710000"/>
              <a:gd name="connsiteY171" fmla="*/ 6730859 h 6858000"/>
              <a:gd name="connsiteX172" fmla="*/ 4412697 w 6710000"/>
              <a:gd name="connsiteY172" fmla="*/ 6580537 h 6858000"/>
              <a:gd name="connsiteX173" fmla="*/ 4030265 w 6710000"/>
              <a:gd name="connsiteY173" fmla="*/ 6178577 h 6858000"/>
              <a:gd name="connsiteX174" fmla="*/ 3169387 w 6710000"/>
              <a:gd name="connsiteY174" fmla="*/ 4174744 h 6858000"/>
              <a:gd name="connsiteX175" fmla="*/ 3123279 w 6710000"/>
              <a:gd name="connsiteY175" fmla="*/ 2839759 h 6858000"/>
              <a:gd name="connsiteX176" fmla="*/ 3429766 w 6710000"/>
              <a:gd name="connsiteY176" fmla="*/ 1911616 h 6858000"/>
              <a:gd name="connsiteX177" fmla="*/ 3606065 w 6710000"/>
              <a:gd name="connsiteY177" fmla="*/ 1458123 h 6858000"/>
              <a:gd name="connsiteX178" fmla="*/ 3875123 w 6710000"/>
              <a:gd name="connsiteY178" fmla="*/ 1628 h 6858000"/>
              <a:gd name="connsiteX179" fmla="*/ 2967596 w 6710000"/>
              <a:gd name="connsiteY179" fmla="*/ 1628 h 6858000"/>
              <a:gd name="connsiteX180" fmla="*/ 2984412 w 6710000"/>
              <a:gd name="connsiteY180" fmla="*/ 1628 h 6858000"/>
              <a:gd name="connsiteX181" fmla="*/ 2736509 w 6710000"/>
              <a:gd name="connsiteY181" fmla="*/ 1704398 h 6858000"/>
              <a:gd name="connsiteX182" fmla="*/ 2585163 w 6710000"/>
              <a:gd name="connsiteY182" fmla="*/ 2139990 h 6858000"/>
              <a:gd name="connsiteX183" fmla="*/ 2303629 w 6710000"/>
              <a:gd name="connsiteY183" fmla="*/ 3112071 h 6858000"/>
              <a:gd name="connsiteX184" fmla="*/ 2395845 w 6710000"/>
              <a:gd name="connsiteY184" fmla="*/ 4454651 h 6858000"/>
              <a:gd name="connsiteX185" fmla="*/ 3340804 w 6710000"/>
              <a:gd name="connsiteY185" fmla="*/ 6460655 h 6858000"/>
              <a:gd name="connsiteX186" fmla="*/ 3740052 w 6710000"/>
              <a:gd name="connsiteY186" fmla="*/ 6857190 h 6858000"/>
              <a:gd name="connsiteX187" fmla="*/ 3741038 w 6710000"/>
              <a:gd name="connsiteY187" fmla="*/ 6858000 h 6858000"/>
              <a:gd name="connsiteX188" fmla="*/ 3722011 w 6710000"/>
              <a:gd name="connsiteY188" fmla="*/ 6858000 h 6858000"/>
              <a:gd name="connsiteX189" fmla="*/ 3516695 w 6710000"/>
              <a:gd name="connsiteY189" fmla="*/ 6667737 h 6858000"/>
              <a:gd name="connsiteX190" fmla="*/ 3324530 w 6710000"/>
              <a:gd name="connsiteY190" fmla="*/ 6466620 h 6858000"/>
              <a:gd name="connsiteX191" fmla="*/ 2375233 w 6710000"/>
              <a:gd name="connsiteY191" fmla="*/ 4455193 h 6858000"/>
              <a:gd name="connsiteX192" fmla="*/ 2286813 w 6710000"/>
              <a:gd name="connsiteY192" fmla="*/ 3109903 h 6858000"/>
              <a:gd name="connsiteX193" fmla="*/ 2568346 w 6710000"/>
              <a:gd name="connsiteY193" fmla="*/ 2137821 h 6858000"/>
              <a:gd name="connsiteX194" fmla="*/ 2715351 w 6710000"/>
              <a:gd name="connsiteY194" fmla="*/ 1702229 h 6858000"/>
              <a:gd name="connsiteX195" fmla="*/ 2967596 w 6710000"/>
              <a:gd name="connsiteY195" fmla="*/ 1628 h 6858000"/>
              <a:gd name="connsiteX196" fmla="*/ 2781533 w 6710000"/>
              <a:gd name="connsiteY196" fmla="*/ 1628 h 6858000"/>
              <a:gd name="connsiteX197" fmla="*/ 2802687 w 6710000"/>
              <a:gd name="connsiteY197" fmla="*/ 1628 h 6858000"/>
              <a:gd name="connsiteX198" fmla="*/ 2554787 w 6710000"/>
              <a:gd name="connsiteY198" fmla="*/ 1751050 h 6858000"/>
              <a:gd name="connsiteX199" fmla="*/ 2412119 w 6710000"/>
              <a:gd name="connsiteY199" fmla="*/ 2183930 h 6858000"/>
              <a:gd name="connsiteX200" fmla="*/ 2139264 w 6710000"/>
              <a:gd name="connsiteY200" fmla="*/ 3163606 h 6858000"/>
              <a:gd name="connsiteX201" fmla="*/ 2235821 w 6710000"/>
              <a:gd name="connsiteY201" fmla="*/ 4508896 h 6858000"/>
              <a:gd name="connsiteX202" fmla="*/ 3197595 w 6710000"/>
              <a:gd name="connsiteY202" fmla="*/ 6517612 h 6858000"/>
              <a:gd name="connsiteX203" fmla="*/ 3390100 w 6710000"/>
              <a:gd name="connsiteY203" fmla="*/ 6718728 h 6858000"/>
              <a:gd name="connsiteX204" fmla="*/ 3543243 w 6710000"/>
              <a:gd name="connsiteY204" fmla="*/ 6858000 h 6858000"/>
              <a:gd name="connsiteX205" fmla="*/ 3521208 w 6710000"/>
              <a:gd name="connsiteY205" fmla="*/ 6858000 h 6858000"/>
              <a:gd name="connsiteX206" fmla="*/ 3375656 w 6710000"/>
              <a:gd name="connsiteY206" fmla="*/ 6724152 h 6858000"/>
              <a:gd name="connsiteX207" fmla="*/ 3185119 w 6710000"/>
              <a:gd name="connsiteY207" fmla="*/ 6523037 h 6858000"/>
              <a:gd name="connsiteX208" fmla="*/ 2219005 w 6710000"/>
              <a:gd name="connsiteY208" fmla="*/ 4511610 h 6858000"/>
              <a:gd name="connsiteX209" fmla="*/ 2118109 w 6710000"/>
              <a:gd name="connsiteY209" fmla="*/ 3163606 h 6858000"/>
              <a:gd name="connsiteX210" fmla="*/ 2395304 w 6710000"/>
              <a:gd name="connsiteY210" fmla="*/ 2181217 h 6858000"/>
              <a:gd name="connsiteX211" fmla="*/ 2537968 w 6710000"/>
              <a:gd name="connsiteY211" fmla="*/ 1751050 h 6858000"/>
              <a:gd name="connsiteX212" fmla="*/ 2781533 w 6710000"/>
              <a:gd name="connsiteY212" fmla="*/ 1628 h 6858000"/>
              <a:gd name="connsiteX213" fmla="*/ 2601437 w 6710000"/>
              <a:gd name="connsiteY213" fmla="*/ 1628 h 6858000"/>
              <a:gd name="connsiteX214" fmla="*/ 2618253 w 6710000"/>
              <a:gd name="connsiteY214" fmla="*/ 1628 h 6858000"/>
              <a:gd name="connsiteX215" fmla="*/ 2379030 w 6710000"/>
              <a:gd name="connsiteY215" fmla="*/ 1800413 h 6858000"/>
              <a:gd name="connsiteX216" fmla="*/ 2240161 w 6710000"/>
              <a:gd name="connsiteY216" fmla="*/ 2227868 h 6858000"/>
              <a:gd name="connsiteX217" fmla="*/ 1971101 w 6710000"/>
              <a:gd name="connsiteY217" fmla="*/ 3217851 h 6858000"/>
              <a:gd name="connsiteX218" fmla="*/ 2076338 w 6710000"/>
              <a:gd name="connsiteY218" fmla="*/ 4565854 h 6858000"/>
              <a:gd name="connsiteX219" fmla="*/ 3059271 w 6710000"/>
              <a:gd name="connsiteY219" fmla="*/ 6574569 h 6858000"/>
              <a:gd name="connsiteX220" fmla="*/ 3251774 w 6710000"/>
              <a:gd name="connsiteY220" fmla="*/ 6775685 h 6858000"/>
              <a:gd name="connsiteX221" fmla="*/ 3342286 w 6710000"/>
              <a:gd name="connsiteY221" fmla="*/ 6858000 h 6858000"/>
              <a:gd name="connsiteX222" fmla="*/ 3323253 w 6710000"/>
              <a:gd name="connsiteY222" fmla="*/ 6858000 h 6858000"/>
              <a:gd name="connsiteX223" fmla="*/ 3237330 w 6710000"/>
              <a:gd name="connsiteY223" fmla="*/ 6780568 h 6858000"/>
              <a:gd name="connsiteX224" fmla="*/ 3042453 w 6710000"/>
              <a:gd name="connsiteY224" fmla="*/ 6579451 h 6858000"/>
              <a:gd name="connsiteX225" fmla="*/ 2059523 w 6710000"/>
              <a:gd name="connsiteY225" fmla="*/ 4568025 h 6858000"/>
              <a:gd name="connsiteX226" fmla="*/ 1954286 w 6710000"/>
              <a:gd name="connsiteY226" fmla="*/ 3217851 h 6858000"/>
              <a:gd name="connsiteX227" fmla="*/ 2223343 w 6710000"/>
              <a:gd name="connsiteY227" fmla="*/ 2227868 h 6858000"/>
              <a:gd name="connsiteX228" fmla="*/ 2362214 w 6710000"/>
              <a:gd name="connsiteY228" fmla="*/ 1797702 h 6858000"/>
              <a:gd name="connsiteX229" fmla="*/ 2601437 w 6710000"/>
              <a:gd name="connsiteY229" fmla="*/ 1628 h 6858000"/>
              <a:gd name="connsiteX230" fmla="*/ 2417001 w 6710000"/>
              <a:gd name="connsiteY230" fmla="*/ 1628 h 6858000"/>
              <a:gd name="connsiteX231" fmla="*/ 2438158 w 6710000"/>
              <a:gd name="connsiteY231" fmla="*/ 1628 h 6858000"/>
              <a:gd name="connsiteX232" fmla="*/ 2202731 w 6710000"/>
              <a:gd name="connsiteY232" fmla="*/ 1849777 h 6858000"/>
              <a:gd name="connsiteX233" fmla="*/ 2068202 w 6710000"/>
              <a:gd name="connsiteY233" fmla="*/ 2275062 h 6858000"/>
              <a:gd name="connsiteX234" fmla="*/ 1803485 w 6710000"/>
              <a:gd name="connsiteY234" fmla="*/ 3273182 h 6858000"/>
              <a:gd name="connsiteX235" fmla="*/ 1921196 w 6710000"/>
              <a:gd name="connsiteY235" fmla="*/ 4623354 h 6858000"/>
              <a:gd name="connsiteX236" fmla="*/ 2916605 w 6710000"/>
              <a:gd name="connsiteY236" fmla="*/ 6632070 h 6858000"/>
              <a:gd name="connsiteX237" fmla="*/ 3111482 w 6710000"/>
              <a:gd name="connsiteY237" fmla="*/ 6833185 h 6858000"/>
              <a:gd name="connsiteX238" fmla="*/ 3139018 w 6710000"/>
              <a:gd name="connsiteY238" fmla="*/ 6858000 h 6858000"/>
              <a:gd name="connsiteX239" fmla="*/ 3120520 w 6710000"/>
              <a:gd name="connsiteY239" fmla="*/ 6858000 h 6858000"/>
              <a:gd name="connsiteX240" fmla="*/ 3099004 w 6710000"/>
              <a:gd name="connsiteY240" fmla="*/ 6838611 h 6858000"/>
              <a:gd name="connsiteX241" fmla="*/ 2904126 w 6710000"/>
              <a:gd name="connsiteY241" fmla="*/ 6637495 h 6858000"/>
              <a:gd name="connsiteX242" fmla="*/ 1900040 w 6710000"/>
              <a:gd name="connsiteY242" fmla="*/ 4626066 h 6858000"/>
              <a:gd name="connsiteX243" fmla="*/ 1786667 w 6710000"/>
              <a:gd name="connsiteY243" fmla="*/ 3270470 h 6858000"/>
              <a:gd name="connsiteX244" fmla="*/ 2047046 w 6710000"/>
              <a:gd name="connsiteY244" fmla="*/ 2272351 h 6858000"/>
              <a:gd name="connsiteX245" fmla="*/ 2185916 w 6710000"/>
              <a:gd name="connsiteY245" fmla="*/ 1847065 h 6858000"/>
              <a:gd name="connsiteX246" fmla="*/ 2417001 w 6710000"/>
              <a:gd name="connsiteY246" fmla="*/ 1628 h 6858000"/>
              <a:gd name="connsiteX247" fmla="*/ 2235821 w 6710000"/>
              <a:gd name="connsiteY247" fmla="*/ 1628 h 6858000"/>
              <a:gd name="connsiteX248" fmla="*/ 2252636 w 6710000"/>
              <a:gd name="connsiteY248" fmla="*/ 1628 h 6858000"/>
              <a:gd name="connsiteX249" fmla="*/ 2025891 w 6710000"/>
              <a:gd name="connsiteY249" fmla="*/ 1899140 h 6858000"/>
              <a:gd name="connsiteX250" fmla="*/ 1891360 w 6710000"/>
              <a:gd name="connsiteY250" fmla="*/ 2316289 h 6858000"/>
              <a:gd name="connsiteX251" fmla="*/ 1635322 w 6710000"/>
              <a:gd name="connsiteY251" fmla="*/ 3327426 h 6858000"/>
              <a:gd name="connsiteX252" fmla="*/ 1761172 w 6710000"/>
              <a:gd name="connsiteY252" fmla="*/ 4680313 h 6858000"/>
              <a:gd name="connsiteX253" fmla="*/ 2777736 w 6710000"/>
              <a:gd name="connsiteY253" fmla="*/ 6689028 h 6858000"/>
              <a:gd name="connsiteX254" fmla="*/ 2943569 w 6710000"/>
              <a:gd name="connsiteY254" fmla="*/ 6858000 h 6858000"/>
              <a:gd name="connsiteX255" fmla="*/ 2921504 w 6710000"/>
              <a:gd name="connsiteY255" fmla="*/ 6858000 h 6858000"/>
              <a:gd name="connsiteX256" fmla="*/ 2760920 w 6710000"/>
              <a:gd name="connsiteY256" fmla="*/ 6694452 h 6858000"/>
              <a:gd name="connsiteX257" fmla="*/ 1744356 w 6710000"/>
              <a:gd name="connsiteY257" fmla="*/ 4680313 h 6858000"/>
              <a:gd name="connsiteX258" fmla="*/ 1618506 w 6710000"/>
              <a:gd name="connsiteY258" fmla="*/ 3324715 h 6858000"/>
              <a:gd name="connsiteX259" fmla="*/ 1874544 w 6710000"/>
              <a:gd name="connsiteY259" fmla="*/ 2316289 h 6858000"/>
              <a:gd name="connsiteX260" fmla="*/ 2004736 w 6710000"/>
              <a:gd name="connsiteY260" fmla="*/ 1896428 h 6858000"/>
              <a:gd name="connsiteX261" fmla="*/ 2235821 w 6710000"/>
              <a:gd name="connsiteY261" fmla="*/ 1628 h 6858000"/>
              <a:gd name="connsiteX262" fmla="*/ 396352 w 6710000"/>
              <a:gd name="connsiteY262" fmla="*/ 1628 h 6858000"/>
              <a:gd name="connsiteX263" fmla="*/ 413168 w 6710000"/>
              <a:gd name="connsiteY263" fmla="*/ 1628 h 6858000"/>
              <a:gd name="connsiteX264" fmla="*/ 413168 w 6710000"/>
              <a:gd name="connsiteY264" fmla="*/ 24955 h 6858000"/>
              <a:gd name="connsiteX265" fmla="*/ 249348 w 6710000"/>
              <a:gd name="connsiteY265" fmla="*/ 2383554 h 6858000"/>
              <a:gd name="connsiteX266" fmla="*/ 165265 w 6710000"/>
              <a:gd name="connsiteY266" fmla="*/ 2743744 h 6858000"/>
              <a:gd name="connsiteX267" fmla="*/ 35890 w 6710000"/>
              <a:gd name="connsiteY267" fmla="*/ 3299695 h 6858000"/>
              <a:gd name="connsiteX268" fmla="*/ 0 w 6710000"/>
              <a:gd name="connsiteY268" fmla="*/ 3515440 h 6858000"/>
              <a:gd name="connsiteX269" fmla="*/ 0 w 6710000"/>
              <a:gd name="connsiteY269" fmla="*/ 3413219 h 6858000"/>
              <a:gd name="connsiteX270" fmla="*/ 19277 w 6710000"/>
              <a:gd name="connsiteY270" fmla="*/ 3297321 h 6858000"/>
              <a:gd name="connsiteX271" fmla="*/ 148449 w 6710000"/>
              <a:gd name="connsiteY271" fmla="*/ 2741032 h 6858000"/>
              <a:gd name="connsiteX272" fmla="*/ 232530 w 6710000"/>
              <a:gd name="connsiteY272" fmla="*/ 2383554 h 6858000"/>
              <a:gd name="connsiteX273" fmla="*/ 396352 w 6710000"/>
              <a:gd name="connsiteY273" fmla="*/ 24955 h 6858000"/>
              <a:gd name="connsiteX274" fmla="*/ 396352 w 6710000"/>
              <a:gd name="connsiteY274" fmla="*/ 1628 h 6858000"/>
              <a:gd name="connsiteX275" fmla="*/ 5479167 w 6710000"/>
              <a:gd name="connsiteY275" fmla="*/ 1086 h 6858000"/>
              <a:gd name="connsiteX276" fmla="*/ 5495983 w 6710000"/>
              <a:gd name="connsiteY276" fmla="*/ 1086 h 6858000"/>
              <a:gd name="connsiteX277" fmla="*/ 5218787 w 6710000"/>
              <a:gd name="connsiteY277" fmla="*/ 1022531 h 6858000"/>
              <a:gd name="connsiteX278" fmla="*/ 5000176 w 6710000"/>
              <a:gd name="connsiteY278" fmla="*/ 1499350 h 6858000"/>
              <a:gd name="connsiteX279" fmla="*/ 4647581 w 6710000"/>
              <a:gd name="connsiteY279" fmla="*/ 2358057 h 6858000"/>
              <a:gd name="connsiteX280" fmla="*/ 4609609 w 6710000"/>
              <a:gd name="connsiteY280" fmla="*/ 3664292 h 6858000"/>
              <a:gd name="connsiteX281" fmla="*/ 5315344 w 6710000"/>
              <a:gd name="connsiteY281" fmla="*/ 5659989 h 6858000"/>
              <a:gd name="connsiteX282" fmla="*/ 6698707 w 6710000"/>
              <a:gd name="connsiteY282" fmla="*/ 6851723 h 6858000"/>
              <a:gd name="connsiteX283" fmla="*/ 6710000 w 6710000"/>
              <a:gd name="connsiteY283" fmla="*/ 6858000 h 6858000"/>
              <a:gd name="connsiteX284" fmla="*/ 6682458 w 6710000"/>
              <a:gd name="connsiteY284" fmla="*/ 6858000 h 6858000"/>
              <a:gd name="connsiteX285" fmla="*/ 6369337 w 6710000"/>
              <a:gd name="connsiteY285" fmla="*/ 6660278 h 6858000"/>
              <a:gd name="connsiteX286" fmla="*/ 5298529 w 6710000"/>
              <a:gd name="connsiteY286" fmla="*/ 5664871 h 6858000"/>
              <a:gd name="connsiteX287" fmla="*/ 4588453 w 6710000"/>
              <a:gd name="connsiteY287" fmla="*/ 3666464 h 6858000"/>
              <a:gd name="connsiteX288" fmla="*/ 4626425 w 6710000"/>
              <a:gd name="connsiteY288" fmla="*/ 2354803 h 6858000"/>
              <a:gd name="connsiteX289" fmla="*/ 4983360 w 6710000"/>
              <a:gd name="connsiteY289" fmla="*/ 1496638 h 6858000"/>
              <a:gd name="connsiteX290" fmla="*/ 5201971 w 6710000"/>
              <a:gd name="connsiteY290" fmla="*/ 1019818 h 6858000"/>
              <a:gd name="connsiteX291" fmla="*/ 5479167 w 6710000"/>
              <a:gd name="connsiteY291" fmla="*/ 1086 h 6858000"/>
              <a:gd name="connsiteX292" fmla="*/ 4236941 w 6710000"/>
              <a:gd name="connsiteY292" fmla="*/ 1086 h 6858000"/>
              <a:gd name="connsiteX293" fmla="*/ 4253757 w 6710000"/>
              <a:gd name="connsiteY293" fmla="*/ 1086 h 6858000"/>
              <a:gd name="connsiteX294" fmla="*/ 3976562 w 6710000"/>
              <a:gd name="connsiteY294" fmla="*/ 1362108 h 6858000"/>
              <a:gd name="connsiteX295" fmla="*/ 3791584 w 6710000"/>
              <a:gd name="connsiteY295" fmla="*/ 1823738 h 6858000"/>
              <a:gd name="connsiteX296" fmla="*/ 3476418 w 6710000"/>
              <a:gd name="connsiteY296" fmla="*/ 2733437 h 6858000"/>
              <a:gd name="connsiteX297" fmla="*/ 3501371 w 6710000"/>
              <a:gd name="connsiteY297" fmla="*/ 4060285 h 6858000"/>
              <a:gd name="connsiteX298" fmla="*/ 4328618 w 6710000"/>
              <a:gd name="connsiteY298" fmla="*/ 6058694 h 6858000"/>
              <a:gd name="connsiteX299" fmla="*/ 4702370 w 6710000"/>
              <a:gd name="connsiteY299" fmla="*/ 6457941 h 6858000"/>
              <a:gd name="connsiteX300" fmla="*/ 5059754 w 6710000"/>
              <a:gd name="connsiteY300" fmla="*/ 6760124 h 6858000"/>
              <a:gd name="connsiteX301" fmla="*/ 5193099 w 6710000"/>
              <a:gd name="connsiteY301" fmla="*/ 6858000 h 6858000"/>
              <a:gd name="connsiteX302" fmla="*/ 5167772 w 6710000"/>
              <a:gd name="connsiteY302" fmla="*/ 6858000 h 6858000"/>
              <a:gd name="connsiteX303" fmla="*/ 5043684 w 6710000"/>
              <a:gd name="connsiteY303" fmla="*/ 6767235 h 6858000"/>
              <a:gd name="connsiteX304" fmla="*/ 4685552 w 6710000"/>
              <a:gd name="connsiteY304" fmla="*/ 6466078 h 6858000"/>
              <a:gd name="connsiteX305" fmla="*/ 4311801 w 6710000"/>
              <a:gd name="connsiteY305" fmla="*/ 6064118 h 6858000"/>
              <a:gd name="connsiteX306" fmla="*/ 3484555 w 6710000"/>
              <a:gd name="connsiteY306" fmla="*/ 4060285 h 6858000"/>
              <a:gd name="connsiteX307" fmla="*/ 3459602 w 6710000"/>
              <a:gd name="connsiteY307" fmla="*/ 2733437 h 6858000"/>
              <a:gd name="connsiteX308" fmla="*/ 3774769 w 6710000"/>
              <a:gd name="connsiteY308" fmla="*/ 1821026 h 6858000"/>
              <a:gd name="connsiteX309" fmla="*/ 3959747 w 6710000"/>
              <a:gd name="connsiteY309" fmla="*/ 1359397 h 6858000"/>
              <a:gd name="connsiteX310" fmla="*/ 4236941 w 6710000"/>
              <a:gd name="connsiteY310" fmla="*/ 1086 h 6858000"/>
              <a:gd name="connsiteX311" fmla="*/ 4055219 w 6710000"/>
              <a:gd name="connsiteY311" fmla="*/ 1086 h 6858000"/>
              <a:gd name="connsiteX312" fmla="*/ 4072035 w 6710000"/>
              <a:gd name="connsiteY312" fmla="*/ 1086 h 6858000"/>
              <a:gd name="connsiteX313" fmla="*/ 3799179 w 6710000"/>
              <a:gd name="connsiteY313" fmla="*/ 1410929 h 6858000"/>
              <a:gd name="connsiteX314" fmla="*/ 3618541 w 6710000"/>
              <a:gd name="connsiteY314" fmla="*/ 1869848 h 6858000"/>
              <a:gd name="connsiteX315" fmla="*/ 3307714 w 6710000"/>
              <a:gd name="connsiteY315" fmla="*/ 2787684 h 6858000"/>
              <a:gd name="connsiteX316" fmla="*/ 3341346 w 6710000"/>
              <a:gd name="connsiteY316" fmla="*/ 4114531 h 6858000"/>
              <a:gd name="connsiteX317" fmla="*/ 4185408 w 6710000"/>
              <a:gd name="connsiteY317" fmla="*/ 6115652 h 6858000"/>
              <a:gd name="connsiteX318" fmla="*/ 4563500 w 6710000"/>
              <a:gd name="connsiteY318" fmla="*/ 6514900 h 6858000"/>
              <a:gd name="connsiteX319" fmla="*/ 4924140 w 6710000"/>
              <a:gd name="connsiteY319" fmla="*/ 6815633 h 6858000"/>
              <a:gd name="connsiteX320" fmla="*/ 4982461 w 6710000"/>
              <a:gd name="connsiteY320" fmla="*/ 6858000 h 6858000"/>
              <a:gd name="connsiteX321" fmla="*/ 4957779 w 6710000"/>
              <a:gd name="connsiteY321" fmla="*/ 6858000 h 6858000"/>
              <a:gd name="connsiteX322" fmla="*/ 4909833 w 6710000"/>
              <a:gd name="connsiteY322" fmla="*/ 6823167 h 6858000"/>
              <a:gd name="connsiteX323" fmla="*/ 4551024 w 6710000"/>
              <a:gd name="connsiteY323" fmla="*/ 6523579 h 6858000"/>
              <a:gd name="connsiteX324" fmla="*/ 4172932 w 6710000"/>
              <a:gd name="connsiteY324" fmla="*/ 6121620 h 6858000"/>
              <a:gd name="connsiteX325" fmla="*/ 3324530 w 6710000"/>
              <a:gd name="connsiteY325" fmla="*/ 4117786 h 6858000"/>
              <a:gd name="connsiteX326" fmla="*/ 3290899 w 6710000"/>
              <a:gd name="connsiteY326" fmla="*/ 2785514 h 6858000"/>
              <a:gd name="connsiteX327" fmla="*/ 3601726 w 6710000"/>
              <a:gd name="connsiteY327" fmla="*/ 1867678 h 6858000"/>
              <a:gd name="connsiteX328" fmla="*/ 3782363 w 6710000"/>
              <a:gd name="connsiteY328" fmla="*/ 1408760 h 6858000"/>
              <a:gd name="connsiteX329" fmla="*/ 4055219 w 6710000"/>
              <a:gd name="connsiteY329" fmla="*/ 1086 h 6858000"/>
              <a:gd name="connsiteX330" fmla="*/ 3693943 w 6710000"/>
              <a:gd name="connsiteY330" fmla="*/ 1086 h 6858000"/>
              <a:gd name="connsiteX331" fmla="*/ 3710759 w 6710000"/>
              <a:gd name="connsiteY331" fmla="*/ 1086 h 6858000"/>
              <a:gd name="connsiteX332" fmla="*/ 3446040 w 6710000"/>
              <a:gd name="connsiteY332" fmla="*/ 1509656 h 6858000"/>
              <a:gd name="connsiteX333" fmla="*/ 3274081 w 6710000"/>
              <a:gd name="connsiteY333" fmla="*/ 1960436 h 6858000"/>
              <a:gd name="connsiteX334" fmla="*/ 2975731 w 6710000"/>
              <a:gd name="connsiteY334" fmla="*/ 2893463 h 6858000"/>
              <a:gd name="connsiteX335" fmla="*/ 3026179 w 6710000"/>
              <a:gd name="connsiteY335" fmla="*/ 4228446 h 6858000"/>
              <a:gd name="connsiteX336" fmla="*/ 3903873 w 6710000"/>
              <a:gd name="connsiteY336" fmla="*/ 6232279 h 6858000"/>
              <a:gd name="connsiteX337" fmla="*/ 4290102 w 6710000"/>
              <a:gd name="connsiteY337" fmla="*/ 6628815 h 6858000"/>
              <a:gd name="connsiteX338" fmla="*/ 4464172 w 6710000"/>
              <a:gd name="connsiteY338" fmla="*/ 6778910 h 6858000"/>
              <a:gd name="connsiteX339" fmla="*/ 4565238 w 6710000"/>
              <a:gd name="connsiteY339" fmla="*/ 6858000 h 6858000"/>
              <a:gd name="connsiteX340" fmla="*/ 4541100 w 6710000"/>
              <a:gd name="connsiteY340" fmla="*/ 6858000 h 6858000"/>
              <a:gd name="connsiteX341" fmla="*/ 4448231 w 6710000"/>
              <a:gd name="connsiteY341" fmla="*/ 6785881 h 6858000"/>
              <a:gd name="connsiteX342" fmla="*/ 4272745 w 6710000"/>
              <a:gd name="connsiteY342" fmla="*/ 6636410 h 6858000"/>
              <a:gd name="connsiteX343" fmla="*/ 3886514 w 6710000"/>
              <a:gd name="connsiteY343" fmla="*/ 6234449 h 6858000"/>
              <a:gd name="connsiteX344" fmla="*/ 3008821 w 6710000"/>
              <a:gd name="connsiteY344" fmla="*/ 4228446 h 6858000"/>
              <a:gd name="connsiteX345" fmla="*/ 2954034 w 6710000"/>
              <a:gd name="connsiteY345" fmla="*/ 2893463 h 6858000"/>
              <a:gd name="connsiteX346" fmla="*/ 3256723 w 6710000"/>
              <a:gd name="connsiteY346" fmla="*/ 1957725 h 6858000"/>
              <a:gd name="connsiteX347" fmla="*/ 3424884 w 6710000"/>
              <a:gd name="connsiteY347" fmla="*/ 1506945 h 6858000"/>
              <a:gd name="connsiteX348" fmla="*/ 3693943 w 6710000"/>
              <a:gd name="connsiteY348" fmla="*/ 1086 h 6858000"/>
              <a:gd name="connsiteX349" fmla="*/ 3147690 w 6710000"/>
              <a:gd name="connsiteY349" fmla="*/ 1086 h 6858000"/>
              <a:gd name="connsiteX350" fmla="*/ 3164506 w 6710000"/>
              <a:gd name="connsiteY350" fmla="*/ 1086 h 6858000"/>
              <a:gd name="connsiteX351" fmla="*/ 2912265 w 6710000"/>
              <a:gd name="connsiteY351" fmla="*/ 1655035 h 6858000"/>
              <a:gd name="connsiteX352" fmla="*/ 2757122 w 6710000"/>
              <a:gd name="connsiteY352" fmla="*/ 2095508 h 6858000"/>
              <a:gd name="connsiteX353" fmla="*/ 2471247 w 6710000"/>
              <a:gd name="connsiteY353" fmla="*/ 3057284 h 6858000"/>
              <a:gd name="connsiteX354" fmla="*/ 2550987 w 6710000"/>
              <a:gd name="connsiteY354" fmla="*/ 4397151 h 6858000"/>
              <a:gd name="connsiteX355" fmla="*/ 3483470 w 6710000"/>
              <a:gd name="connsiteY355" fmla="*/ 6403154 h 6858000"/>
              <a:gd name="connsiteX356" fmla="*/ 3878377 w 6710000"/>
              <a:gd name="connsiteY356" fmla="*/ 6799690 h 6858000"/>
              <a:gd name="connsiteX357" fmla="*/ 3948295 w 6710000"/>
              <a:gd name="connsiteY357" fmla="*/ 6858000 h 6858000"/>
              <a:gd name="connsiteX358" fmla="*/ 3925054 w 6710000"/>
              <a:gd name="connsiteY358" fmla="*/ 6858000 h 6858000"/>
              <a:gd name="connsiteX359" fmla="*/ 3861563 w 6710000"/>
              <a:gd name="connsiteY359" fmla="*/ 6805113 h 6858000"/>
              <a:gd name="connsiteX360" fmla="*/ 3466654 w 6710000"/>
              <a:gd name="connsiteY360" fmla="*/ 6408577 h 6858000"/>
              <a:gd name="connsiteX361" fmla="*/ 2534172 w 6710000"/>
              <a:gd name="connsiteY361" fmla="*/ 4399863 h 6858000"/>
              <a:gd name="connsiteX362" fmla="*/ 2454430 w 6710000"/>
              <a:gd name="connsiteY362" fmla="*/ 3054571 h 6858000"/>
              <a:gd name="connsiteX363" fmla="*/ 2740306 w 6710000"/>
              <a:gd name="connsiteY363" fmla="*/ 2092797 h 6858000"/>
              <a:gd name="connsiteX364" fmla="*/ 2895448 w 6710000"/>
              <a:gd name="connsiteY364" fmla="*/ 1652323 h 6858000"/>
              <a:gd name="connsiteX365" fmla="*/ 3147690 w 6710000"/>
              <a:gd name="connsiteY365" fmla="*/ 1086 h 6858000"/>
              <a:gd name="connsiteX366" fmla="*/ 2051388 w 6710000"/>
              <a:gd name="connsiteY366" fmla="*/ 1086 h 6858000"/>
              <a:gd name="connsiteX367" fmla="*/ 2068202 w 6710000"/>
              <a:gd name="connsiteY367" fmla="*/ 1086 h 6858000"/>
              <a:gd name="connsiteX368" fmla="*/ 1845795 w 6710000"/>
              <a:gd name="connsiteY368" fmla="*/ 1947418 h 6858000"/>
              <a:gd name="connsiteX369" fmla="*/ 1719945 w 6710000"/>
              <a:gd name="connsiteY369" fmla="*/ 2359686 h 6858000"/>
              <a:gd name="connsiteX370" fmla="*/ 1467702 w 6710000"/>
              <a:gd name="connsiteY370" fmla="*/ 3378418 h 6858000"/>
              <a:gd name="connsiteX371" fmla="*/ 1602233 w 6710000"/>
              <a:gd name="connsiteY371" fmla="*/ 4734016 h 6858000"/>
              <a:gd name="connsiteX372" fmla="*/ 2635610 w 6710000"/>
              <a:gd name="connsiteY372" fmla="*/ 6745443 h 6858000"/>
              <a:gd name="connsiteX373" fmla="*/ 2747940 w 6710000"/>
              <a:gd name="connsiteY373" fmla="*/ 6858000 h 6858000"/>
              <a:gd name="connsiteX374" fmla="*/ 2724848 w 6710000"/>
              <a:gd name="connsiteY374" fmla="*/ 6858000 h 6858000"/>
              <a:gd name="connsiteX375" fmla="*/ 2618794 w 6710000"/>
              <a:gd name="connsiteY375" fmla="*/ 6751411 h 6858000"/>
              <a:gd name="connsiteX376" fmla="*/ 1585418 w 6710000"/>
              <a:gd name="connsiteY376" fmla="*/ 4737271 h 6858000"/>
              <a:gd name="connsiteX377" fmla="*/ 1450887 w 6710000"/>
              <a:gd name="connsiteY377" fmla="*/ 3378960 h 6858000"/>
              <a:gd name="connsiteX378" fmla="*/ 1703129 w 6710000"/>
              <a:gd name="connsiteY378" fmla="*/ 2357515 h 6858000"/>
              <a:gd name="connsiteX379" fmla="*/ 1828979 w 6710000"/>
              <a:gd name="connsiteY379" fmla="*/ 1945249 h 6858000"/>
              <a:gd name="connsiteX380" fmla="*/ 2051388 w 6710000"/>
              <a:gd name="connsiteY380" fmla="*/ 1086 h 6858000"/>
              <a:gd name="connsiteX381" fmla="*/ 1867492 w 6710000"/>
              <a:gd name="connsiteY381" fmla="*/ 1086 h 6858000"/>
              <a:gd name="connsiteX382" fmla="*/ 1888650 w 6710000"/>
              <a:gd name="connsiteY382" fmla="*/ 1086 h 6858000"/>
              <a:gd name="connsiteX383" fmla="*/ 1670038 w 6710000"/>
              <a:gd name="connsiteY383" fmla="*/ 1994070 h 6858000"/>
              <a:gd name="connsiteX384" fmla="*/ 1547986 w 6710000"/>
              <a:gd name="connsiteY384" fmla="*/ 2403625 h 6858000"/>
              <a:gd name="connsiteX385" fmla="*/ 1304425 w 6710000"/>
              <a:gd name="connsiteY385" fmla="*/ 3432664 h 6858000"/>
              <a:gd name="connsiteX386" fmla="*/ 1447090 w 6710000"/>
              <a:gd name="connsiteY386" fmla="*/ 4790975 h 6858000"/>
              <a:gd name="connsiteX387" fmla="*/ 2497284 w 6710000"/>
              <a:gd name="connsiteY387" fmla="*/ 6802402 h 6858000"/>
              <a:gd name="connsiteX388" fmla="*/ 2552770 w 6710000"/>
              <a:gd name="connsiteY388" fmla="*/ 6858000 h 6858000"/>
              <a:gd name="connsiteX389" fmla="*/ 2530391 w 6710000"/>
              <a:gd name="connsiteY389" fmla="*/ 6858000 h 6858000"/>
              <a:gd name="connsiteX390" fmla="*/ 2480468 w 6710000"/>
              <a:gd name="connsiteY390" fmla="*/ 6807825 h 6858000"/>
              <a:gd name="connsiteX391" fmla="*/ 1430274 w 6710000"/>
              <a:gd name="connsiteY391" fmla="*/ 4793686 h 6858000"/>
              <a:gd name="connsiteX392" fmla="*/ 1283269 w 6710000"/>
              <a:gd name="connsiteY392" fmla="*/ 3432664 h 6858000"/>
              <a:gd name="connsiteX393" fmla="*/ 1531170 w 6710000"/>
              <a:gd name="connsiteY393" fmla="*/ 2400912 h 6858000"/>
              <a:gd name="connsiteX394" fmla="*/ 1653223 w 6710000"/>
              <a:gd name="connsiteY394" fmla="*/ 1994070 h 6858000"/>
              <a:gd name="connsiteX395" fmla="*/ 1867492 w 6710000"/>
              <a:gd name="connsiteY395" fmla="*/ 1086 h 6858000"/>
              <a:gd name="connsiteX396" fmla="*/ 1685229 w 6710000"/>
              <a:gd name="connsiteY396" fmla="*/ 1086 h 6858000"/>
              <a:gd name="connsiteX397" fmla="*/ 1702045 w 6710000"/>
              <a:gd name="connsiteY397" fmla="*/ 1086 h 6858000"/>
              <a:gd name="connsiteX398" fmla="*/ 1492113 w 6710000"/>
              <a:gd name="connsiteY398" fmla="*/ 2043433 h 6858000"/>
              <a:gd name="connsiteX399" fmla="*/ 1374400 w 6710000"/>
              <a:gd name="connsiteY399" fmla="*/ 2447564 h 6858000"/>
              <a:gd name="connsiteX400" fmla="*/ 1135179 w 6710000"/>
              <a:gd name="connsiteY400" fmla="*/ 3486909 h 6858000"/>
              <a:gd name="connsiteX401" fmla="*/ 1286523 w 6710000"/>
              <a:gd name="connsiteY401" fmla="*/ 4847931 h 6858000"/>
              <a:gd name="connsiteX402" fmla="*/ 2173546 w 6710000"/>
              <a:gd name="connsiteY402" fmla="*/ 6655634 h 6858000"/>
              <a:gd name="connsiteX403" fmla="*/ 2352333 w 6710000"/>
              <a:gd name="connsiteY403" fmla="*/ 6858000 h 6858000"/>
              <a:gd name="connsiteX404" fmla="*/ 2331196 w 6710000"/>
              <a:gd name="connsiteY404" fmla="*/ 6858000 h 6858000"/>
              <a:gd name="connsiteX405" fmla="*/ 2156574 w 6710000"/>
              <a:gd name="connsiteY405" fmla="*/ 6660662 h 6858000"/>
              <a:gd name="connsiteX406" fmla="*/ 1269707 w 6710000"/>
              <a:gd name="connsiteY406" fmla="*/ 4847931 h 6858000"/>
              <a:gd name="connsiteX407" fmla="*/ 1118360 w 6710000"/>
              <a:gd name="connsiteY407" fmla="*/ 3486909 h 6858000"/>
              <a:gd name="connsiteX408" fmla="*/ 1357583 w 6710000"/>
              <a:gd name="connsiteY408" fmla="*/ 2444851 h 6858000"/>
              <a:gd name="connsiteX409" fmla="*/ 1475296 w 6710000"/>
              <a:gd name="connsiteY409" fmla="*/ 2040722 h 6858000"/>
              <a:gd name="connsiteX410" fmla="*/ 1685229 w 6710000"/>
              <a:gd name="connsiteY410" fmla="*/ 1086 h 6858000"/>
              <a:gd name="connsiteX411" fmla="*/ 1501334 w 6710000"/>
              <a:gd name="connsiteY411" fmla="*/ 1086 h 6858000"/>
              <a:gd name="connsiteX412" fmla="*/ 1518153 w 6710000"/>
              <a:gd name="connsiteY412" fmla="*/ 1086 h 6858000"/>
              <a:gd name="connsiteX413" fmla="*/ 1316358 w 6710000"/>
              <a:gd name="connsiteY413" fmla="*/ 2092797 h 6858000"/>
              <a:gd name="connsiteX414" fmla="*/ 1202986 w 6710000"/>
              <a:gd name="connsiteY414" fmla="*/ 2489332 h 6858000"/>
              <a:gd name="connsiteX415" fmla="*/ 967559 w 6710000"/>
              <a:gd name="connsiteY415" fmla="*/ 3541698 h 6858000"/>
              <a:gd name="connsiteX416" fmla="*/ 1127040 w 6710000"/>
              <a:gd name="connsiteY416" fmla="*/ 4904889 h 6858000"/>
              <a:gd name="connsiteX417" fmla="*/ 2029268 w 6710000"/>
              <a:gd name="connsiteY417" fmla="*/ 6712591 h 6858000"/>
              <a:gd name="connsiteX418" fmla="*/ 2158886 w 6710000"/>
              <a:gd name="connsiteY418" fmla="*/ 6858000 h 6858000"/>
              <a:gd name="connsiteX419" fmla="*/ 2141652 w 6710000"/>
              <a:gd name="connsiteY419" fmla="*/ 6858000 h 6858000"/>
              <a:gd name="connsiteX420" fmla="*/ 2015538 w 6710000"/>
              <a:gd name="connsiteY420" fmla="*/ 6717531 h 6858000"/>
              <a:gd name="connsiteX421" fmla="*/ 1110768 w 6710000"/>
              <a:gd name="connsiteY421" fmla="*/ 4904889 h 6858000"/>
              <a:gd name="connsiteX422" fmla="*/ 951284 w 6710000"/>
              <a:gd name="connsiteY422" fmla="*/ 3538985 h 6858000"/>
              <a:gd name="connsiteX423" fmla="*/ 1186709 w 6710000"/>
              <a:gd name="connsiteY423" fmla="*/ 2489332 h 6858000"/>
              <a:gd name="connsiteX424" fmla="*/ 1295746 w 6710000"/>
              <a:gd name="connsiteY424" fmla="*/ 2090085 h 6858000"/>
              <a:gd name="connsiteX425" fmla="*/ 1501334 w 6710000"/>
              <a:gd name="connsiteY425" fmla="*/ 1086 h 6858000"/>
              <a:gd name="connsiteX426" fmla="*/ 1316901 w 6710000"/>
              <a:gd name="connsiteY426" fmla="*/ 1086 h 6858000"/>
              <a:gd name="connsiteX427" fmla="*/ 1333717 w 6710000"/>
              <a:gd name="connsiteY427" fmla="*/ 1086 h 6858000"/>
              <a:gd name="connsiteX428" fmla="*/ 1136262 w 6710000"/>
              <a:gd name="connsiteY428" fmla="*/ 2142160 h 6858000"/>
              <a:gd name="connsiteX429" fmla="*/ 1031027 w 6710000"/>
              <a:gd name="connsiteY429" fmla="*/ 2533814 h 6858000"/>
              <a:gd name="connsiteX430" fmla="*/ 799941 w 6710000"/>
              <a:gd name="connsiteY430" fmla="*/ 3593773 h 6858000"/>
              <a:gd name="connsiteX431" fmla="*/ 971898 w 6710000"/>
              <a:gd name="connsiteY431" fmla="*/ 4959678 h 6858000"/>
              <a:gd name="connsiteX432" fmla="*/ 1887905 w 6710000"/>
              <a:gd name="connsiteY432" fmla="*/ 6770087 h 6858000"/>
              <a:gd name="connsiteX433" fmla="*/ 1967579 w 6710000"/>
              <a:gd name="connsiteY433" fmla="*/ 6858000 h 6858000"/>
              <a:gd name="connsiteX434" fmla="*/ 1944323 w 6710000"/>
              <a:gd name="connsiteY434" fmla="*/ 6858000 h 6858000"/>
              <a:gd name="connsiteX435" fmla="*/ 1871067 w 6710000"/>
              <a:gd name="connsiteY435" fmla="*/ 6776848 h 6858000"/>
              <a:gd name="connsiteX436" fmla="*/ 955083 w 6710000"/>
              <a:gd name="connsiteY436" fmla="*/ 4962390 h 6858000"/>
              <a:gd name="connsiteX437" fmla="*/ 783124 w 6710000"/>
              <a:gd name="connsiteY437" fmla="*/ 3593773 h 6858000"/>
              <a:gd name="connsiteX438" fmla="*/ 1014212 w 6710000"/>
              <a:gd name="connsiteY438" fmla="*/ 2531102 h 6858000"/>
              <a:gd name="connsiteX439" fmla="*/ 1119447 w 6710000"/>
              <a:gd name="connsiteY439" fmla="*/ 2139448 h 6858000"/>
              <a:gd name="connsiteX440" fmla="*/ 1316901 w 6710000"/>
              <a:gd name="connsiteY440" fmla="*/ 1086 h 6858000"/>
              <a:gd name="connsiteX441" fmla="*/ 1131381 w 6710000"/>
              <a:gd name="connsiteY441" fmla="*/ 1086 h 6858000"/>
              <a:gd name="connsiteX442" fmla="*/ 1148196 w 6710000"/>
              <a:gd name="connsiteY442" fmla="*/ 1086 h 6858000"/>
              <a:gd name="connsiteX443" fmla="*/ 959422 w 6710000"/>
              <a:gd name="connsiteY443" fmla="*/ 2188812 h 6858000"/>
              <a:gd name="connsiteX444" fmla="*/ 858526 w 6710000"/>
              <a:gd name="connsiteY444" fmla="*/ 2575041 h 6858000"/>
              <a:gd name="connsiteX445" fmla="*/ 631777 w 6710000"/>
              <a:gd name="connsiteY445" fmla="*/ 3648020 h 6858000"/>
              <a:gd name="connsiteX446" fmla="*/ 812418 w 6710000"/>
              <a:gd name="connsiteY446" fmla="*/ 5016636 h 6858000"/>
              <a:gd name="connsiteX447" fmla="*/ 1743582 w 6710000"/>
              <a:gd name="connsiteY447" fmla="*/ 6827044 h 6858000"/>
              <a:gd name="connsiteX448" fmla="*/ 1771889 w 6710000"/>
              <a:gd name="connsiteY448" fmla="*/ 6858000 h 6858000"/>
              <a:gd name="connsiteX449" fmla="*/ 1751982 w 6710000"/>
              <a:gd name="connsiteY449" fmla="*/ 6858000 h 6858000"/>
              <a:gd name="connsiteX450" fmla="*/ 1729154 w 6710000"/>
              <a:gd name="connsiteY450" fmla="*/ 6833027 h 6858000"/>
              <a:gd name="connsiteX451" fmla="*/ 795600 w 6710000"/>
              <a:gd name="connsiteY451" fmla="*/ 5019348 h 6858000"/>
              <a:gd name="connsiteX452" fmla="*/ 614961 w 6710000"/>
              <a:gd name="connsiteY452" fmla="*/ 3648020 h 6858000"/>
              <a:gd name="connsiteX453" fmla="*/ 837370 w 6710000"/>
              <a:gd name="connsiteY453" fmla="*/ 2575041 h 6858000"/>
              <a:gd name="connsiteX454" fmla="*/ 942606 w 6710000"/>
              <a:gd name="connsiteY454" fmla="*/ 2188812 h 6858000"/>
              <a:gd name="connsiteX455" fmla="*/ 1131381 w 6710000"/>
              <a:gd name="connsiteY455" fmla="*/ 1086 h 6858000"/>
              <a:gd name="connsiteX456" fmla="*/ 946947 w 6710000"/>
              <a:gd name="connsiteY456" fmla="*/ 1086 h 6858000"/>
              <a:gd name="connsiteX457" fmla="*/ 968102 w 6710000"/>
              <a:gd name="connsiteY457" fmla="*/ 1086 h 6858000"/>
              <a:gd name="connsiteX458" fmla="*/ 783124 w 6710000"/>
              <a:gd name="connsiteY458" fmla="*/ 2238175 h 6858000"/>
              <a:gd name="connsiteX459" fmla="*/ 682227 w 6710000"/>
              <a:gd name="connsiteY459" fmla="*/ 2618979 h 6858000"/>
              <a:gd name="connsiteX460" fmla="*/ 467957 w 6710000"/>
              <a:gd name="connsiteY460" fmla="*/ 3702263 h 6858000"/>
              <a:gd name="connsiteX461" fmla="*/ 656732 w 6710000"/>
              <a:gd name="connsiteY461" fmla="*/ 5073592 h 6858000"/>
              <a:gd name="connsiteX462" fmla="*/ 1427113 w 6710000"/>
              <a:gd name="connsiteY462" fmla="*/ 6668060 h 6858000"/>
              <a:gd name="connsiteX463" fmla="*/ 1580273 w 6710000"/>
              <a:gd name="connsiteY463" fmla="*/ 6858000 h 6858000"/>
              <a:gd name="connsiteX464" fmla="*/ 1558574 w 6710000"/>
              <a:gd name="connsiteY464" fmla="*/ 6858000 h 6858000"/>
              <a:gd name="connsiteX465" fmla="*/ 1409772 w 6710000"/>
              <a:gd name="connsiteY465" fmla="*/ 6673398 h 6858000"/>
              <a:gd name="connsiteX466" fmla="*/ 635576 w 6710000"/>
              <a:gd name="connsiteY466" fmla="*/ 5073592 h 6858000"/>
              <a:gd name="connsiteX467" fmla="*/ 446802 w 6710000"/>
              <a:gd name="connsiteY467" fmla="*/ 3702263 h 6858000"/>
              <a:gd name="connsiteX468" fmla="*/ 665412 w 6710000"/>
              <a:gd name="connsiteY468" fmla="*/ 2616267 h 6858000"/>
              <a:gd name="connsiteX469" fmla="*/ 766308 w 6710000"/>
              <a:gd name="connsiteY469" fmla="*/ 2235463 h 6858000"/>
              <a:gd name="connsiteX470" fmla="*/ 946947 w 6710000"/>
              <a:gd name="connsiteY470" fmla="*/ 1086 h 6858000"/>
              <a:gd name="connsiteX471" fmla="*/ 761427 w 6710000"/>
              <a:gd name="connsiteY471" fmla="*/ 1086 h 6858000"/>
              <a:gd name="connsiteX472" fmla="*/ 782582 w 6710000"/>
              <a:gd name="connsiteY472" fmla="*/ 1086 h 6858000"/>
              <a:gd name="connsiteX473" fmla="*/ 606284 w 6710000"/>
              <a:gd name="connsiteY473" fmla="*/ 2286996 h 6858000"/>
              <a:gd name="connsiteX474" fmla="*/ 509728 w 6710000"/>
              <a:gd name="connsiteY474" fmla="*/ 2660207 h 6858000"/>
              <a:gd name="connsiteX475" fmla="*/ 299795 w 6710000"/>
              <a:gd name="connsiteY475" fmla="*/ 3756510 h 6858000"/>
              <a:gd name="connsiteX476" fmla="*/ 497249 w 6710000"/>
              <a:gd name="connsiteY476" fmla="*/ 5127839 h 6858000"/>
              <a:gd name="connsiteX477" fmla="*/ 1281208 w 6710000"/>
              <a:gd name="connsiteY477" fmla="*/ 6724974 h 6858000"/>
              <a:gd name="connsiteX478" fmla="*/ 1389455 w 6710000"/>
              <a:gd name="connsiteY478" fmla="*/ 6858000 h 6858000"/>
              <a:gd name="connsiteX479" fmla="*/ 1370500 w 6710000"/>
              <a:gd name="connsiteY479" fmla="*/ 6858000 h 6858000"/>
              <a:gd name="connsiteX480" fmla="*/ 1265918 w 6710000"/>
              <a:gd name="connsiteY480" fmla="*/ 6730051 h 6858000"/>
              <a:gd name="connsiteX481" fmla="*/ 480434 w 6710000"/>
              <a:gd name="connsiteY481" fmla="*/ 5130551 h 6858000"/>
              <a:gd name="connsiteX482" fmla="*/ 282979 w 6710000"/>
              <a:gd name="connsiteY482" fmla="*/ 3757052 h 6858000"/>
              <a:gd name="connsiteX483" fmla="*/ 492911 w 6710000"/>
              <a:gd name="connsiteY483" fmla="*/ 2658035 h 6858000"/>
              <a:gd name="connsiteX484" fmla="*/ 585128 w 6710000"/>
              <a:gd name="connsiteY484" fmla="*/ 2284827 h 6858000"/>
              <a:gd name="connsiteX485" fmla="*/ 761427 w 6710000"/>
              <a:gd name="connsiteY485" fmla="*/ 1086 h 6858000"/>
              <a:gd name="connsiteX486" fmla="*/ 581330 w 6710000"/>
              <a:gd name="connsiteY486" fmla="*/ 1086 h 6858000"/>
              <a:gd name="connsiteX487" fmla="*/ 598146 w 6710000"/>
              <a:gd name="connsiteY487" fmla="*/ 1086 h 6858000"/>
              <a:gd name="connsiteX488" fmla="*/ 426187 w 6710000"/>
              <a:gd name="connsiteY488" fmla="*/ 2336360 h 6858000"/>
              <a:gd name="connsiteX489" fmla="*/ 337766 w 6710000"/>
              <a:gd name="connsiteY489" fmla="*/ 2701975 h 6858000"/>
              <a:gd name="connsiteX490" fmla="*/ 132176 w 6710000"/>
              <a:gd name="connsiteY490" fmla="*/ 3808585 h 6858000"/>
              <a:gd name="connsiteX491" fmla="*/ 337766 w 6710000"/>
              <a:gd name="connsiteY491" fmla="*/ 5184796 h 6858000"/>
              <a:gd name="connsiteX492" fmla="*/ 1136221 w 6710000"/>
              <a:gd name="connsiteY492" fmla="*/ 6781932 h 6858000"/>
              <a:gd name="connsiteX493" fmla="*/ 1199192 w 6710000"/>
              <a:gd name="connsiteY493" fmla="*/ 6858000 h 6858000"/>
              <a:gd name="connsiteX494" fmla="*/ 1178104 w 6710000"/>
              <a:gd name="connsiteY494" fmla="*/ 6858000 h 6858000"/>
              <a:gd name="connsiteX495" fmla="*/ 1119405 w 6710000"/>
              <a:gd name="connsiteY495" fmla="*/ 6787010 h 6858000"/>
              <a:gd name="connsiteX496" fmla="*/ 320950 w 6710000"/>
              <a:gd name="connsiteY496" fmla="*/ 5187509 h 6858000"/>
              <a:gd name="connsiteX497" fmla="*/ 115360 w 6710000"/>
              <a:gd name="connsiteY497" fmla="*/ 3808585 h 6858000"/>
              <a:gd name="connsiteX498" fmla="*/ 320950 w 6710000"/>
              <a:gd name="connsiteY498" fmla="*/ 2699264 h 6858000"/>
              <a:gd name="connsiteX499" fmla="*/ 409371 w 6710000"/>
              <a:gd name="connsiteY499" fmla="*/ 2333648 h 6858000"/>
              <a:gd name="connsiteX500" fmla="*/ 581330 w 6710000"/>
              <a:gd name="connsiteY500" fmla="*/ 1086 h 6858000"/>
              <a:gd name="connsiteX501" fmla="*/ 211917 w 6710000"/>
              <a:gd name="connsiteY501" fmla="*/ 1086 h 6858000"/>
              <a:gd name="connsiteX502" fmla="*/ 228733 w 6710000"/>
              <a:gd name="connsiteY502" fmla="*/ 1086 h 6858000"/>
              <a:gd name="connsiteX503" fmla="*/ 233074 w 6710000"/>
              <a:gd name="connsiteY503" fmla="*/ 65638 h 6858000"/>
              <a:gd name="connsiteX504" fmla="*/ 73591 w 6710000"/>
              <a:gd name="connsiteY504" fmla="*/ 2432375 h 6858000"/>
              <a:gd name="connsiteX505" fmla="*/ 0 w 6710000"/>
              <a:gd name="connsiteY505" fmla="*/ 2740979 h 6858000"/>
              <a:gd name="connsiteX506" fmla="*/ 0 w 6710000"/>
              <a:gd name="connsiteY506" fmla="*/ 2669289 h 6858000"/>
              <a:gd name="connsiteX507" fmla="*/ 14734 w 6710000"/>
              <a:gd name="connsiteY507" fmla="*/ 2608334 h 6858000"/>
              <a:gd name="connsiteX508" fmla="*/ 56774 w 6710000"/>
              <a:gd name="connsiteY508" fmla="*/ 2432375 h 6858000"/>
              <a:gd name="connsiteX509" fmla="*/ 216257 w 6710000"/>
              <a:gd name="connsiteY509" fmla="*/ 65638 h 6858000"/>
              <a:gd name="connsiteX510" fmla="*/ 211917 w 6710000"/>
              <a:gd name="connsiteY510" fmla="*/ 1086 h 6858000"/>
              <a:gd name="connsiteX511" fmla="*/ 3332125 w 6710000"/>
              <a:gd name="connsiteY511" fmla="*/ 544 h 6858000"/>
              <a:gd name="connsiteX512" fmla="*/ 3348941 w 6710000"/>
              <a:gd name="connsiteY512" fmla="*/ 544 h 6858000"/>
              <a:gd name="connsiteX513" fmla="*/ 3088562 w 6710000"/>
              <a:gd name="connsiteY513" fmla="*/ 1605129 h 6858000"/>
              <a:gd name="connsiteX514" fmla="*/ 2929079 w 6710000"/>
              <a:gd name="connsiteY514" fmla="*/ 2051028 h 6858000"/>
              <a:gd name="connsiteX515" fmla="*/ 2639409 w 6710000"/>
              <a:gd name="connsiteY515" fmla="*/ 3002496 h 6858000"/>
              <a:gd name="connsiteX516" fmla="*/ 2711012 w 6710000"/>
              <a:gd name="connsiteY516" fmla="*/ 4340193 h 6858000"/>
              <a:gd name="connsiteX517" fmla="*/ 3622339 w 6710000"/>
              <a:gd name="connsiteY517" fmla="*/ 6346196 h 6858000"/>
              <a:gd name="connsiteX518" fmla="*/ 4017247 w 6710000"/>
              <a:gd name="connsiteY518" fmla="*/ 6742732 h 6858000"/>
              <a:gd name="connsiteX519" fmla="*/ 4153244 w 6710000"/>
              <a:gd name="connsiteY519" fmla="*/ 6858000 h 6858000"/>
              <a:gd name="connsiteX520" fmla="*/ 4131719 w 6710000"/>
              <a:gd name="connsiteY520" fmla="*/ 6858000 h 6858000"/>
              <a:gd name="connsiteX521" fmla="*/ 4000431 w 6710000"/>
              <a:gd name="connsiteY521" fmla="*/ 6747070 h 6858000"/>
              <a:gd name="connsiteX522" fmla="*/ 3605523 w 6710000"/>
              <a:gd name="connsiteY522" fmla="*/ 6350535 h 6858000"/>
              <a:gd name="connsiteX523" fmla="*/ 2694196 w 6710000"/>
              <a:gd name="connsiteY523" fmla="*/ 4341820 h 6858000"/>
              <a:gd name="connsiteX524" fmla="*/ 2622594 w 6710000"/>
              <a:gd name="connsiteY524" fmla="*/ 3001954 h 6858000"/>
              <a:gd name="connsiteX525" fmla="*/ 2912265 w 6710000"/>
              <a:gd name="connsiteY525" fmla="*/ 2048314 h 6858000"/>
              <a:gd name="connsiteX526" fmla="*/ 3071746 w 6710000"/>
              <a:gd name="connsiteY526" fmla="*/ 1602417 h 6858000"/>
              <a:gd name="connsiteX527" fmla="*/ 3332125 w 6710000"/>
              <a:gd name="connsiteY527" fmla="*/ 544 h 6858000"/>
              <a:gd name="connsiteX528" fmla="*/ 26939 w 6710000"/>
              <a:gd name="connsiteY528" fmla="*/ 544 h 6858000"/>
              <a:gd name="connsiteX529" fmla="*/ 43756 w 6710000"/>
              <a:gd name="connsiteY529" fmla="*/ 544 h 6858000"/>
              <a:gd name="connsiteX530" fmla="*/ 51892 w 6710000"/>
              <a:gd name="connsiteY530" fmla="*/ 106864 h 6858000"/>
              <a:gd name="connsiteX531" fmla="*/ 3605 w 6710000"/>
              <a:gd name="connsiteY531" fmla="*/ 1872585 h 6858000"/>
              <a:gd name="connsiteX532" fmla="*/ 0 w 6710000"/>
              <a:gd name="connsiteY532" fmla="*/ 1893117 h 6858000"/>
              <a:gd name="connsiteX533" fmla="*/ 0 w 6710000"/>
              <a:gd name="connsiteY533" fmla="*/ 1720977 h 6858000"/>
              <a:gd name="connsiteX534" fmla="*/ 46671 w 6710000"/>
              <a:gd name="connsiteY534" fmla="*/ 1272332 h 6858000"/>
              <a:gd name="connsiteX535" fmla="*/ 35076 w 6710000"/>
              <a:gd name="connsiteY535" fmla="*/ 106864 h 6858000"/>
              <a:gd name="connsiteX536" fmla="*/ 26939 w 6710000"/>
              <a:gd name="connsiteY536" fmla="*/ 544 h 6858000"/>
              <a:gd name="connsiteX537" fmla="*/ 3513847 w 6710000"/>
              <a:gd name="connsiteY537" fmla="*/ 0 h 6858000"/>
              <a:gd name="connsiteX538" fmla="*/ 3530663 w 6710000"/>
              <a:gd name="connsiteY538" fmla="*/ 0 h 6858000"/>
              <a:gd name="connsiteX539" fmla="*/ 3265944 w 6710000"/>
              <a:gd name="connsiteY539" fmla="*/ 1555224 h 6858000"/>
              <a:gd name="connsiteX540" fmla="*/ 3102124 w 6710000"/>
              <a:gd name="connsiteY540" fmla="*/ 2003834 h 6858000"/>
              <a:gd name="connsiteX541" fmla="*/ 2808112 w 6710000"/>
              <a:gd name="connsiteY541" fmla="*/ 2947165 h 6858000"/>
              <a:gd name="connsiteX542" fmla="*/ 2871036 w 6710000"/>
              <a:gd name="connsiteY542" fmla="*/ 4284862 h 6858000"/>
              <a:gd name="connsiteX543" fmla="*/ 3765548 w 6710000"/>
              <a:gd name="connsiteY543" fmla="*/ 6288695 h 6858000"/>
              <a:gd name="connsiteX544" fmla="*/ 4151774 w 6710000"/>
              <a:gd name="connsiteY544" fmla="*/ 6685231 h 6858000"/>
              <a:gd name="connsiteX545" fmla="*/ 4327448 w 6710000"/>
              <a:gd name="connsiteY545" fmla="*/ 6833830 h 6858000"/>
              <a:gd name="connsiteX546" fmla="*/ 4358784 w 6710000"/>
              <a:gd name="connsiteY546" fmla="*/ 6858000 h 6858000"/>
              <a:gd name="connsiteX547" fmla="*/ 4338751 w 6710000"/>
              <a:gd name="connsiteY547" fmla="*/ 6858000 h 6858000"/>
              <a:gd name="connsiteX548" fmla="*/ 4314974 w 6710000"/>
              <a:gd name="connsiteY548" fmla="*/ 6839584 h 6858000"/>
              <a:gd name="connsiteX549" fmla="*/ 4139300 w 6710000"/>
              <a:gd name="connsiteY549" fmla="*/ 6690112 h 6858000"/>
              <a:gd name="connsiteX550" fmla="*/ 3748732 w 6710000"/>
              <a:gd name="connsiteY550" fmla="*/ 6293577 h 6858000"/>
              <a:gd name="connsiteX551" fmla="*/ 2849882 w 6710000"/>
              <a:gd name="connsiteY551" fmla="*/ 4284862 h 6858000"/>
              <a:gd name="connsiteX552" fmla="*/ 2791295 w 6710000"/>
              <a:gd name="connsiteY552" fmla="*/ 2947165 h 6858000"/>
              <a:gd name="connsiteX553" fmla="*/ 3085308 w 6710000"/>
              <a:gd name="connsiteY553" fmla="*/ 2001123 h 6858000"/>
              <a:gd name="connsiteX554" fmla="*/ 3249128 w 6710000"/>
              <a:gd name="connsiteY554" fmla="*/ 1555224 h 6858000"/>
              <a:gd name="connsiteX555" fmla="*/ 3513847 w 6710000"/>
              <a:gd name="connsiteY55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</a:cxnLst>
            <a:rect l="l" t="t" r="r" b="b"/>
            <a:pathLst>
              <a:path w="6710000" h="6858000">
                <a:moveTo>
                  <a:pt x="0" y="6767133"/>
                </a:moveTo>
                <a:lnTo>
                  <a:pt x="61409" y="6858000"/>
                </a:lnTo>
                <a:lnTo>
                  <a:pt x="42656" y="6858000"/>
                </a:lnTo>
                <a:lnTo>
                  <a:pt x="0" y="6794901"/>
                </a:lnTo>
                <a:close/>
                <a:moveTo>
                  <a:pt x="0" y="6468280"/>
                </a:moveTo>
                <a:lnTo>
                  <a:pt x="72167" y="6593013"/>
                </a:lnTo>
                <a:cubicBezTo>
                  <a:pt x="123887" y="6676280"/>
                  <a:pt x="177772" y="6757157"/>
                  <a:pt x="233941" y="6835826"/>
                </a:cubicBezTo>
                <a:lnTo>
                  <a:pt x="250890" y="6858000"/>
                </a:lnTo>
                <a:lnTo>
                  <a:pt x="230297" y="6858000"/>
                </a:lnTo>
                <a:lnTo>
                  <a:pt x="217393" y="6841108"/>
                </a:lnTo>
                <a:cubicBezTo>
                  <a:pt x="161228" y="6762391"/>
                  <a:pt x="107343" y="6681451"/>
                  <a:pt x="55623" y="6598099"/>
                </a:cubicBezTo>
                <a:lnTo>
                  <a:pt x="0" y="6501837"/>
                </a:lnTo>
                <a:close/>
                <a:moveTo>
                  <a:pt x="0" y="6127856"/>
                </a:moveTo>
                <a:lnTo>
                  <a:pt x="74782" y="6280093"/>
                </a:lnTo>
                <a:cubicBezTo>
                  <a:pt x="133133" y="6390348"/>
                  <a:pt x="194722" y="6496524"/>
                  <a:pt x="259740" y="6599011"/>
                </a:cubicBezTo>
                <a:lnTo>
                  <a:pt x="439100" y="6858000"/>
                </a:lnTo>
                <a:lnTo>
                  <a:pt x="420644" y="6858000"/>
                </a:lnTo>
                <a:lnTo>
                  <a:pt x="243317" y="6602664"/>
                </a:lnTo>
                <a:cubicBezTo>
                  <a:pt x="177983" y="6499966"/>
                  <a:pt x="116078" y="6393575"/>
                  <a:pt x="57373" y="6283122"/>
                </a:cubicBezTo>
                <a:lnTo>
                  <a:pt x="0" y="6166955"/>
                </a:lnTo>
                <a:close/>
                <a:moveTo>
                  <a:pt x="0" y="5727262"/>
                </a:moveTo>
                <a:lnTo>
                  <a:pt x="93060" y="5950881"/>
                </a:lnTo>
                <a:cubicBezTo>
                  <a:pt x="219449" y="6232060"/>
                  <a:pt x="363554" y="6488065"/>
                  <a:pt x="528035" y="6723817"/>
                </a:cubicBezTo>
                <a:lnTo>
                  <a:pt x="626660" y="6858000"/>
                </a:lnTo>
                <a:lnTo>
                  <a:pt x="607172" y="6858000"/>
                </a:lnTo>
                <a:lnTo>
                  <a:pt x="511220" y="6727192"/>
                </a:lnTo>
                <a:cubicBezTo>
                  <a:pt x="346738" y="6491042"/>
                  <a:pt x="202633" y="6234878"/>
                  <a:pt x="76244" y="5953636"/>
                </a:cubicBezTo>
                <a:lnTo>
                  <a:pt x="0" y="5770403"/>
                </a:lnTo>
                <a:close/>
                <a:moveTo>
                  <a:pt x="0" y="5218362"/>
                </a:moveTo>
                <a:lnTo>
                  <a:pt x="23141" y="5299255"/>
                </a:lnTo>
                <a:cubicBezTo>
                  <a:pt x="193678" y="5825777"/>
                  <a:pt x="407015" y="6274320"/>
                  <a:pt x="677327" y="6667002"/>
                </a:cubicBezTo>
                <a:lnTo>
                  <a:pt x="818345" y="6858000"/>
                </a:lnTo>
                <a:lnTo>
                  <a:pt x="797399" y="6858000"/>
                </a:lnTo>
                <a:lnTo>
                  <a:pt x="659968" y="6671426"/>
                </a:lnTo>
                <a:cubicBezTo>
                  <a:pt x="389657" y="6277710"/>
                  <a:pt x="176319" y="5827472"/>
                  <a:pt x="5783" y="5299255"/>
                </a:cubicBezTo>
                <a:lnTo>
                  <a:pt x="0" y="5279204"/>
                </a:lnTo>
                <a:close/>
                <a:moveTo>
                  <a:pt x="0" y="4465450"/>
                </a:moveTo>
                <a:lnTo>
                  <a:pt x="5037" y="4510117"/>
                </a:lnTo>
                <a:cubicBezTo>
                  <a:pt x="41314" y="4738898"/>
                  <a:pt x="100171" y="4981918"/>
                  <a:pt x="182081" y="5242297"/>
                </a:cubicBezTo>
                <a:cubicBezTo>
                  <a:pt x="380622" y="5874123"/>
                  <a:pt x="642934" y="6393660"/>
                  <a:pt x="990300" y="6839127"/>
                </a:cubicBezTo>
                <a:lnTo>
                  <a:pt x="1006050" y="6858000"/>
                </a:lnTo>
                <a:lnTo>
                  <a:pt x="984214" y="6858000"/>
                </a:lnTo>
                <a:lnTo>
                  <a:pt x="972958" y="6844510"/>
                </a:lnTo>
                <a:cubicBezTo>
                  <a:pt x="625541" y="6398916"/>
                  <a:pt x="362721" y="5878870"/>
                  <a:pt x="160926" y="5245010"/>
                </a:cubicBezTo>
                <a:cubicBezTo>
                  <a:pt x="119971" y="5114685"/>
                  <a:pt x="85050" y="4988767"/>
                  <a:pt x="55970" y="4866800"/>
                </a:cubicBezTo>
                <a:lnTo>
                  <a:pt x="0" y="4583010"/>
                </a:lnTo>
                <a:close/>
                <a:moveTo>
                  <a:pt x="5126028" y="2170"/>
                </a:moveTo>
                <a:lnTo>
                  <a:pt x="5142843" y="2170"/>
                </a:lnTo>
                <a:cubicBezTo>
                  <a:pt x="5104872" y="380262"/>
                  <a:pt x="5012655" y="753473"/>
                  <a:pt x="4865649" y="1121800"/>
                </a:cubicBezTo>
                <a:cubicBezTo>
                  <a:pt x="4798383" y="1280198"/>
                  <a:pt x="4727323" y="1438052"/>
                  <a:pt x="4655718" y="1593737"/>
                </a:cubicBezTo>
                <a:cubicBezTo>
                  <a:pt x="4521190" y="1875815"/>
                  <a:pt x="4382863" y="2168741"/>
                  <a:pt x="4311259" y="2464379"/>
                </a:cubicBezTo>
                <a:cubicBezTo>
                  <a:pt x="4197884" y="2923297"/>
                  <a:pt x="4239655" y="3384927"/>
                  <a:pt x="4290102" y="3778751"/>
                </a:cubicBezTo>
                <a:cubicBezTo>
                  <a:pt x="4370386" y="4356466"/>
                  <a:pt x="4525528" y="5105599"/>
                  <a:pt x="5033811" y="5774448"/>
                </a:cubicBezTo>
                <a:cubicBezTo>
                  <a:pt x="5134164" y="5912231"/>
                  <a:pt x="5256216" y="6046760"/>
                  <a:pt x="5386407" y="6176406"/>
                </a:cubicBezTo>
                <a:cubicBezTo>
                  <a:pt x="5602575" y="6387694"/>
                  <a:pt x="5852376" y="6587996"/>
                  <a:pt x="6134792" y="6775957"/>
                </a:cubicBezTo>
                <a:lnTo>
                  <a:pt x="6263750" y="6858000"/>
                </a:lnTo>
                <a:lnTo>
                  <a:pt x="6240757" y="6858000"/>
                </a:lnTo>
                <a:lnTo>
                  <a:pt x="6121638" y="6782466"/>
                </a:lnTo>
                <a:cubicBezTo>
                  <a:pt x="5838137" y="6594234"/>
                  <a:pt x="5588200" y="6393389"/>
                  <a:pt x="5373930" y="6180746"/>
                </a:cubicBezTo>
                <a:cubicBezTo>
                  <a:pt x="5239400" y="6051099"/>
                  <a:pt x="5122231" y="5916027"/>
                  <a:pt x="5016994" y="5778787"/>
                </a:cubicBezTo>
                <a:cubicBezTo>
                  <a:pt x="4508712" y="5107226"/>
                  <a:pt x="4353027" y="4358094"/>
                  <a:pt x="4273287" y="3777665"/>
                </a:cubicBezTo>
                <a:cubicBezTo>
                  <a:pt x="4219039" y="3386011"/>
                  <a:pt x="4181069" y="2922213"/>
                  <a:pt x="4294441" y="2463294"/>
                </a:cubicBezTo>
                <a:cubicBezTo>
                  <a:pt x="4365504" y="2165487"/>
                  <a:pt x="4504372" y="1872559"/>
                  <a:pt x="4634562" y="1589939"/>
                </a:cubicBezTo>
                <a:cubicBezTo>
                  <a:pt x="4709963" y="1434254"/>
                  <a:pt x="4781568" y="1275859"/>
                  <a:pt x="4844493" y="1118004"/>
                </a:cubicBezTo>
                <a:cubicBezTo>
                  <a:pt x="4991498" y="750219"/>
                  <a:pt x="5088056" y="377008"/>
                  <a:pt x="5126028" y="2170"/>
                </a:cubicBezTo>
                <a:close/>
                <a:moveTo>
                  <a:pt x="5302868" y="1628"/>
                </a:moveTo>
                <a:lnTo>
                  <a:pt x="5319685" y="1628"/>
                </a:lnTo>
                <a:cubicBezTo>
                  <a:pt x="5277915" y="361818"/>
                  <a:pt x="5185156" y="719297"/>
                  <a:pt x="5042488" y="1071894"/>
                </a:cubicBezTo>
                <a:cubicBezTo>
                  <a:pt x="4975223" y="1229749"/>
                  <a:pt x="4899824" y="1390316"/>
                  <a:pt x="4828219" y="1546001"/>
                </a:cubicBezTo>
                <a:cubicBezTo>
                  <a:pt x="4693688" y="1825909"/>
                  <a:pt x="4554822" y="2116123"/>
                  <a:pt x="4479419" y="2411762"/>
                </a:cubicBezTo>
                <a:cubicBezTo>
                  <a:pt x="4361707" y="2865254"/>
                  <a:pt x="4399678" y="3329055"/>
                  <a:pt x="4450126" y="3720708"/>
                </a:cubicBezTo>
                <a:cubicBezTo>
                  <a:pt x="4526070" y="4298424"/>
                  <a:pt x="4676873" y="5047556"/>
                  <a:pt x="5172679" y="5716404"/>
                </a:cubicBezTo>
                <a:cubicBezTo>
                  <a:pt x="5277373" y="5854188"/>
                  <a:pt x="5395086" y="5988718"/>
                  <a:pt x="5525274" y="6118364"/>
                </a:cubicBezTo>
                <a:cubicBezTo>
                  <a:pt x="5739545" y="6331007"/>
                  <a:pt x="5988396" y="6531987"/>
                  <a:pt x="6269795" y="6720287"/>
                </a:cubicBezTo>
                <a:lnTo>
                  <a:pt x="6485166" y="6858000"/>
                </a:lnTo>
                <a:lnTo>
                  <a:pt x="6459959" y="6858000"/>
                </a:lnTo>
                <a:lnTo>
                  <a:pt x="6254606" y="6726797"/>
                </a:lnTo>
                <a:cubicBezTo>
                  <a:pt x="5972123" y="6537955"/>
                  <a:pt x="5722186" y="6336432"/>
                  <a:pt x="5507917" y="6123789"/>
                </a:cubicBezTo>
                <a:cubicBezTo>
                  <a:pt x="5377726" y="5994143"/>
                  <a:pt x="5260557" y="5859071"/>
                  <a:pt x="5155319" y="5721828"/>
                </a:cubicBezTo>
                <a:cubicBezTo>
                  <a:pt x="4655176" y="5050268"/>
                  <a:pt x="4508170" y="4301679"/>
                  <a:pt x="4432767" y="3723420"/>
                </a:cubicBezTo>
                <a:cubicBezTo>
                  <a:pt x="4382319" y="3329055"/>
                  <a:pt x="4344347" y="2865254"/>
                  <a:pt x="4462062" y="2409049"/>
                </a:cubicBezTo>
                <a:cubicBezTo>
                  <a:pt x="4537462" y="2113410"/>
                  <a:pt x="4676331" y="1823196"/>
                  <a:pt x="4806521" y="1543289"/>
                </a:cubicBezTo>
                <a:cubicBezTo>
                  <a:pt x="4882464" y="1388146"/>
                  <a:pt x="4957866" y="1227037"/>
                  <a:pt x="5025132" y="1069182"/>
                </a:cubicBezTo>
                <a:cubicBezTo>
                  <a:pt x="5168338" y="719297"/>
                  <a:pt x="5260557" y="361276"/>
                  <a:pt x="5302868" y="1628"/>
                </a:cubicBezTo>
                <a:close/>
                <a:moveTo>
                  <a:pt x="4949188" y="1628"/>
                </a:moveTo>
                <a:lnTo>
                  <a:pt x="4966003" y="1628"/>
                </a:lnTo>
                <a:cubicBezTo>
                  <a:pt x="4928032" y="395452"/>
                  <a:pt x="4835812" y="784392"/>
                  <a:pt x="4684468" y="1167910"/>
                </a:cubicBezTo>
                <a:cubicBezTo>
                  <a:pt x="4625882" y="1326306"/>
                  <a:pt x="4550481" y="1484161"/>
                  <a:pt x="4478877" y="1639846"/>
                </a:cubicBezTo>
                <a:cubicBezTo>
                  <a:pt x="4348688" y="1925179"/>
                  <a:pt x="4214701" y="2220274"/>
                  <a:pt x="4143096" y="2518625"/>
                </a:cubicBezTo>
                <a:cubicBezTo>
                  <a:pt x="4034062" y="2979712"/>
                  <a:pt x="4076375" y="3441343"/>
                  <a:pt x="4134959" y="3835167"/>
                </a:cubicBezTo>
                <a:cubicBezTo>
                  <a:pt x="4219039" y="4412883"/>
                  <a:pt x="4378523" y="5162014"/>
                  <a:pt x="4891144" y="5830862"/>
                </a:cubicBezTo>
                <a:cubicBezTo>
                  <a:pt x="4996382" y="5968646"/>
                  <a:pt x="5117890" y="6103176"/>
                  <a:pt x="5252419" y="6232823"/>
                </a:cubicBezTo>
                <a:cubicBezTo>
                  <a:pt x="5466689" y="6442753"/>
                  <a:pt x="5717711" y="6642377"/>
                  <a:pt x="6002296" y="6830338"/>
                </a:cubicBezTo>
                <a:lnTo>
                  <a:pt x="6046090" y="6858000"/>
                </a:lnTo>
                <a:lnTo>
                  <a:pt x="6022791" y="6858000"/>
                </a:lnTo>
                <a:lnTo>
                  <a:pt x="5990091" y="6837390"/>
                </a:lnTo>
                <a:cubicBezTo>
                  <a:pt x="5704556" y="6649158"/>
                  <a:pt x="5452586" y="6448992"/>
                  <a:pt x="5236146" y="6237705"/>
                </a:cubicBezTo>
                <a:cubicBezTo>
                  <a:pt x="5101617" y="6108057"/>
                  <a:pt x="4980107" y="5972985"/>
                  <a:pt x="4874871" y="5835744"/>
                </a:cubicBezTo>
                <a:cubicBezTo>
                  <a:pt x="4362249" y="5164183"/>
                  <a:pt x="4198428" y="4412883"/>
                  <a:pt x="4114346" y="3834624"/>
                </a:cubicBezTo>
                <a:cubicBezTo>
                  <a:pt x="4059558" y="3440800"/>
                  <a:pt x="4017789" y="2976999"/>
                  <a:pt x="4126822" y="2515371"/>
                </a:cubicBezTo>
                <a:cubicBezTo>
                  <a:pt x="4197884" y="2217020"/>
                  <a:pt x="4332415" y="1921924"/>
                  <a:pt x="4462604" y="1636591"/>
                </a:cubicBezTo>
                <a:cubicBezTo>
                  <a:pt x="4533665" y="1480906"/>
                  <a:pt x="4605270" y="1322509"/>
                  <a:pt x="4668195" y="1164654"/>
                </a:cubicBezTo>
                <a:cubicBezTo>
                  <a:pt x="4819539" y="783850"/>
                  <a:pt x="4911759" y="392740"/>
                  <a:pt x="4949188" y="1628"/>
                </a:cubicBezTo>
                <a:close/>
                <a:moveTo>
                  <a:pt x="4768549" y="1628"/>
                </a:moveTo>
                <a:lnTo>
                  <a:pt x="4785365" y="1628"/>
                </a:lnTo>
                <a:cubicBezTo>
                  <a:pt x="4756073" y="411184"/>
                  <a:pt x="4663312" y="818026"/>
                  <a:pt x="4508170" y="1217273"/>
                </a:cubicBezTo>
                <a:cubicBezTo>
                  <a:pt x="4449042" y="1375670"/>
                  <a:pt x="4377980" y="1533524"/>
                  <a:pt x="4306375" y="1686497"/>
                </a:cubicBezTo>
                <a:cubicBezTo>
                  <a:pt x="4179983" y="1973999"/>
                  <a:pt x="4045997" y="2272351"/>
                  <a:pt x="3974392" y="2572871"/>
                </a:cubicBezTo>
                <a:cubicBezTo>
                  <a:pt x="3869156" y="3033959"/>
                  <a:pt x="3915807" y="3497758"/>
                  <a:pt x="3974392" y="3889412"/>
                </a:cubicBezTo>
                <a:cubicBezTo>
                  <a:pt x="4062270" y="4467670"/>
                  <a:pt x="4230432" y="5216259"/>
                  <a:pt x="4751189" y="5887821"/>
                </a:cubicBezTo>
                <a:cubicBezTo>
                  <a:pt x="4856425" y="6025604"/>
                  <a:pt x="4977938" y="6160133"/>
                  <a:pt x="5112467" y="6289780"/>
                </a:cubicBezTo>
                <a:cubicBezTo>
                  <a:pt x="5274593" y="6446211"/>
                  <a:pt x="5457468" y="6597225"/>
                  <a:pt x="5659720" y="6742109"/>
                </a:cubicBezTo>
                <a:lnTo>
                  <a:pt x="5829044" y="6858000"/>
                </a:lnTo>
                <a:lnTo>
                  <a:pt x="5805955" y="6858000"/>
                </a:lnTo>
                <a:lnTo>
                  <a:pt x="5646726" y="6749042"/>
                </a:lnTo>
                <a:cubicBezTo>
                  <a:pt x="5443839" y="6603761"/>
                  <a:pt x="5259946" y="6452111"/>
                  <a:pt x="5096192" y="6294663"/>
                </a:cubicBezTo>
                <a:cubicBezTo>
                  <a:pt x="4961663" y="6165016"/>
                  <a:pt x="4840154" y="6029944"/>
                  <a:pt x="4734917" y="5892702"/>
                </a:cubicBezTo>
                <a:cubicBezTo>
                  <a:pt x="4214159" y="5218429"/>
                  <a:pt x="4046539" y="4469839"/>
                  <a:pt x="3958119" y="3891582"/>
                </a:cubicBezTo>
                <a:cubicBezTo>
                  <a:pt x="3899533" y="3497758"/>
                  <a:pt x="3852883" y="3033416"/>
                  <a:pt x="3958119" y="2569615"/>
                </a:cubicBezTo>
                <a:cubicBezTo>
                  <a:pt x="4029723" y="2269095"/>
                  <a:pt x="4164253" y="1970744"/>
                  <a:pt x="4290102" y="1683243"/>
                </a:cubicBezTo>
                <a:cubicBezTo>
                  <a:pt x="4361707" y="1530269"/>
                  <a:pt x="4433312" y="1371873"/>
                  <a:pt x="4491897" y="1214017"/>
                </a:cubicBezTo>
                <a:cubicBezTo>
                  <a:pt x="4647039" y="814770"/>
                  <a:pt x="4739799" y="410640"/>
                  <a:pt x="4768549" y="1628"/>
                </a:cubicBezTo>
                <a:close/>
                <a:moveTo>
                  <a:pt x="4591166" y="1628"/>
                </a:moveTo>
                <a:lnTo>
                  <a:pt x="4607983" y="1628"/>
                </a:lnTo>
                <a:cubicBezTo>
                  <a:pt x="4578691" y="426914"/>
                  <a:pt x="4485930" y="849488"/>
                  <a:pt x="4330786" y="1266636"/>
                </a:cubicBezTo>
                <a:cubicBezTo>
                  <a:pt x="4272201" y="1421778"/>
                  <a:pt x="4200599" y="1580176"/>
                  <a:pt x="4133333" y="1730437"/>
                </a:cubicBezTo>
                <a:cubicBezTo>
                  <a:pt x="4007482" y="2023362"/>
                  <a:pt x="3877293" y="2323884"/>
                  <a:pt x="3810028" y="2627116"/>
                </a:cubicBezTo>
                <a:cubicBezTo>
                  <a:pt x="3705334" y="3090916"/>
                  <a:pt x="3755783" y="3554716"/>
                  <a:pt x="3814368" y="3946370"/>
                </a:cubicBezTo>
                <a:cubicBezTo>
                  <a:pt x="3906585" y="4524628"/>
                  <a:pt x="4078544" y="5273217"/>
                  <a:pt x="4607983" y="5944777"/>
                </a:cubicBezTo>
                <a:cubicBezTo>
                  <a:pt x="4717559" y="6082563"/>
                  <a:pt x="4839067" y="6217092"/>
                  <a:pt x="4973597" y="6346738"/>
                </a:cubicBezTo>
                <a:cubicBezTo>
                  <a:pt x="5137351" y="6502152"/>
                  <a:pt x="5321167" y="6652150"/>
                  <a:pt x="5524416" y="6796302"/>
                </a:cubicBezTo>
                <a:lnTo>
                  <a:pt x="5615411" y="6858000"/>
                </a:lnTo>
                <a:lnTo>
                  <a:pt x="5592917" y="6858000"/>
                </a:lnTo>
                <a:lnTo>
                  <a:pt x="5512626" y="6803376"/>
                </a:lnTo>
                <a:cubicBezTo>
                  <a:pt x="5309309" y="6658683"/>
                  <a:pt x="5125417" y="6508050"/>
                  <a:pt x="4961663" y="6351619"/>
                </a:cubicBezTo>
                <a:cubicBezTo>
                  <a:pt x="4823336" y="6221973"/>
                  <a:pt x="4701284" y="6086902"/>
                  <a:pt x="4592250" y="5949660"/>
                </a:cubicBezTo>
                <a:cubicBezTo>
                  <a:pt x="4063356" y="5275386"/>
                  <a:pt x="3890855" y="4526797"/>
                  <a:pt x="3798637" y="3948538"/>
                </a:cubicBezTo>
                <a:cubicBezTo>
                  <a:pt x="3735712" y="3554174"/>
                  <a:pt x="3689604" y="3090374"/>
                  <a:pt x="3790500" y="2623862"/>
                </a:cubicBezTo>
                <a:cubicBezTo>
                  <a:pt x="3857764" y="2320629"/>
                  <a:pt x="3992294" y="2020108"/>
                  <a:pt x="4118143" y="1727181"/>
                </a:cubicBezTo>
                <a:cubicBezTo>
                  <a:pt x="4185408" y="1576921"/>
                  <a:pt x="4257012" y="1419067"/>
                  <a:pt x="4315597" y="1263380"/>
                </a:cubicBezTo>
                <a:cubicBezTo>
                  <a:pt x="4470741" y="848402"/>
                  <a:pt x="4563500" y="426371"/>
                  <a:pt x="4591166" y="1628"/>
                </a:cubicBezTo>
                <a:close/>
                <a:moveTo>
                  <a:pt x="4411613" y="1628"/>
                </a:moveTo>
                <a:lnTo>
                  <a:pt x="4428428" y="1628"/>
                </a:lnTo>
                <a:cubicBezTo>
                  <a:pt x="4407816" y="442646"/>
                  <a:pt x="4315055" y="883119"/>
                  <a:pt x="4155574" y="1316000"/>
                </a:cubicBezTo>
                <a:cubicBezTo>
                  <a:pt x="4096988" y="1471685"/>
                  <a:pt x="4029723" y="1627370"/>
                  <a:pt x="3962458" y="1777631"/>
                </a:cubicBezTo>
                <a:cubicBezTo>
                  <a:pt x="3836608" y="2070556"/>
                  <a:pt x="3706420" y="2373789"/>
                  <a:pt x="3643494" y="2679735"/>
                </a:cubicBezTo>
                <a:cubicBezTo>
                  <a:pt x="3542598" y="3151671"/>
                  <a:pt x="3597386" y="3633914"/>
                  <a:pt x="3660310" y="4004412"/>
                </a:cubicBezTo>
                <a:cubicBezTo>
                  <a:pt x="3756869" y="4582670"/>
                  <a:pt x="3933709" y="5331260"/>
                  <a:pt x="4466944" y="6002821"/>
                </a:cubicBezTo>
                <a:cubicBezTo>
                  <a:pt x="4575976" y="6140606"/>
                  <a:pt x="4701826" y="6275134"/>
                  <a:pt x="4840696" y="6404781"/>
                </a:cubicBezTo>
                <a:cubicBezTo>
                  <a:pt x="5004450" y="6559381"/>
                  <a:pt x="5188877" y="6708794"/>
                  <a:pt x="5392889" y="6852676"/>
                </a:cubicBezTo>
                <a:lnTo>
                  <a:pt x="5400780" y="6858000"/>
                </a:lnTo>
                <a:lnTo>
                  <a:pt x="5377398" y="6858000"/>
                </a:lnTo>
                <a:lnTo>
                  <a:pt x="5181205" y="6713413"/>
                </a:lnTo>
                <a:cubicBezTo>
                  <a:pt x="5053304" y="6614678"/>
                  <a:pt x="4934133" y="6513408"/>
                  <a:pt x="4823879" y="6409663"/>
                </a:cubicBezTo>
                <a:cubicBezTo>
                  <a:pt x="4685552" y="6280015"/>
                  <a:pt x="4563500" y="6144944"/>
                  <a:pt x="4454468" y="6007703"/>
                </a:cubicBezTo>
                <a:cubicBezTo>
                  <a:pt x="3916892" y="5333430"/>
                  <a:pt x="3736254" y="4582128"/>
                  <a:pt x="3644036" y="4003870"/>
                </a:cubicBezTo>
                <a:cubicBezTo>
                  <a:pt x="3581112" y="3635542"/>
                  <a:pt x="3521983" y="3151128"/>
                  <a:pt x="3627220" y="2679193"/>
                </a:cubicBezTo>
                <a:cubicBezTo>
                  <a:pt x="3690146" y="2373247"/>
                  <a:pt x="3820334" y="2067301"/>
                  <a:pt x="3946184" y="1774375"/>
                </a:cubicBezTo>
                <a:cubicBezTo>
                  <a:pt x="4012907" y="1623573"/>
                  <a:pt x="4080171" y="1468430"/>
                  <a:pt x="4134959" y="1312746"/>
                </a:cubicBezTo>
                <a:cubicBezTo>
                  <a:pt x="4298782" y="879865"/>
                  <a:pt x="4390999" y="441560"/>
                  <a:pt x="4411613" y="1628"/>
                </a:cubicBezTo>
                <a:close/>
                <a:moveTo>
                  <a:pt x="3875123" y="1628"/>
                </a:moveTo>
                <a:lnTo>
                  <a:pt x="3891940" y="1628"/>
                </a:lnTo>
                <a:cubicBezTo>
                  <a:pt x="3878920" y="491467"/>
                  <a:pt x="3791042" y="978592"/>
                  <a:pt x="3622881" y="1460836"/>
                </a:cubicBezTo>
                <a:cubicBezTo>
                  <a:pt x="3568635" y="1613808"/>
                  <a:pt x="3505168" y="1766780"/>
                  <a:pt x="3446582" y="1914329"/>
                </a:cubicBezTo>
                <a:cubicBezTo>
                  <a:pt x="3325072" y="2215392"/>
                  <a:pt x="3198680" y="2528932"/>
                  <a:pt x="3140095" y="2842471"/>
                </a:cubicBezTo>
                <a:cubicBezTo>
                  <a:pt x="3051677" y="3319290"/>
                  <a:pt x="3114600" y="3803704"/>
                  <a:pt x="3186204" y="4172031"/>
                </a:cubicBezTo>
                <a:cubicBezTo>
                  <a:pt x="3290899" y="4750289"/>
                  <a:pt x="3488351" y="5499422"/>
                  <a:pt x="4047082" y="6173153"/>
                </a:cubicBezTo>
                <a:cubicBezTo>
                  <a:pt x="4160455" y="6310393"/>
                  <a:pt x="4286847" y="6445465"/>
                  <a:pt x="4429513" y="6572400"/>
                </a:cubicBezTo>
                <a:cubicBezTo>
                  <a:pt x="4484641" y="6623256"/>
                  <a:pt x="4542192" y="6673628"/>
                  <a:pt x="4602120" y="6723496"/>
                </a:cubicBezTo>
                <a:lnTo>
                  <a:pt x="4771866" y="6858000"/>
                </a:lnTo>
                <a:lnTo>
                  <a:pt x="4748471" y="6858000"/>
                </a:lnTo>
                <a:lnTo>
                  <a:pt x="4586735" y="6730859"/>
                </a:lnTo>
                <a:cubicBezTo>
                  <a:pt x="4526392" y="6681171"/>
                  <a:pt x="4468366" y="6631053"/>
                  <a:pt x="4412697" y="6580537"/>
                </a:cubicBezTo>
                <a:cubicBezTo>
                  <a:pt x="4269490" y="6450890"/>
                  <a:pt x="4143639" y="6315818"/>
                  <a:pt x="4030265" y="6178577"/>
                </a:cubicBezTo>
                <a:cubicBezTo>
                  <a:pt x="3472078" y="5501592"/>
                  <a:pt x="3274625" y="4750289"/>
                  <a:pt x="3169387" y="4174744"/>
                </a:cubicBezTo>
                <a:cubicBezTo>
                  <a:pt x="3098327" y="3804247"/>
                  <a:pt x="3031061" y="3319290"/>
                  <a:pt x="3123279" y="2839759"/>
                </a:cubicBezTo>
                <a:cubicBezTo>
                  <a:pt x="3181863" y="2525677"/>
                  <a:pt x="3307714" y="2214850"/>
                  <a:pt x="3429766" y="1911616"/>
                </a:cubicBezTo>
                <a:cubicBezTo>
                  <a:pt x="3488351" y="1764068"/>
                  <a:pt x="3551277" y="1611096"/>
                  <a:pt x="3606065" y="1458123"/>
                </a:cubicBezTo>
                <a:cubicBezTo>
                  <a:pt x="3774227" y="978592"/>
                  <a:pt x="3862647" y="491467"/>
                  <a:pt x="3875123" y="1628"/>
                </a:cubicBezTo>
                <a:close/>
                <a:moveTo>
                  <a:pt x="2967596" y="1628"/>
                </a:moveTo>
                <a:lnTo>
                  <a:pt x="2984412" y="1628"/>
                </a:lnTo>
                <a:cubicBezTo>
                  <a:pt x="2996886" y="569037"/>
                  <a:pt x="2912807" y="1139159"/>
                  <a:pt x="2736509" y="1704398"/>
                </a:cubicBezTo>
                <a:cubicBezTo>
                  <a:pt x="2690400" y="1849777"/>
                  <a:pt x="2635610" y="1997325"/>
                  <a:pt x="2585163" y="2139990"/>
                </a:cubicBezTo>
                <a:cubicBezTo>
                  <a:pt x="2471790" y="2456243"/>
                  <a:pt x="2354078" y="2782801"/>
                  <a:pt x="2303629" y="3112071"/>
                </a:cubicBezTo>
                <a:cubicBezTo>
                  <a:pt x="2248841" y="3492877"/>
                  <a:pt x="2273794" y="3918163"/>
                  <a:pt x="2395845" y="4454651"/>
                </a:cubicBezTo>
                <a:cubicBezTo>
                  <a:pt x="2584622" y="5309562"/>
                  <a:pt x="2874835" y="5929048"/>
                  <a:pt x="3340804" y="6460655"/>
                </a:cubicBezTo>
                <a:cubicBezTo>
                  <a:pt x="3458517" y="6595183"/>
                  <a:pt x="3593046" y="6730254"/>
                  <a:pt x="3740052" y="6857190"/>
                </a:cubicBezTo>
                <a:lnTo>
                  <a:pt x="3741038" y="6858000"/>
                </a:lnTo>
                <a:lnTo>
                  <a:pt x="3722011" y="6858000"/>
                </a:lnTo>
                <a:lnTo>
                  <a:pt x="3516695" y="6667737"/>
                </a:lnTo>
                <a:cubicBezTo>
                  <a:pt x="3449566" y="6601286"/>
                  <a:pt x="3385556" y="6533885"/>
                  <a:pt x="3324530" y="6466620"/>
                </a:cubicBezTo>
                <a:cubicBezTo>
                  <a:pt x="2858019" y="5932843"/>
                  <a:pt x="2568346" y="5313359"/>
                  <a:pt x="2375233" y="4455193"/>
                </a:cubicBezTo>
                <a:cubicBezTo>
                  <a:pt x="2303629" y="4118328"/>
                  <a:pt x="2211411" y="3612759"/>
                  <a:pt x="2286813" y="3109903"/>
                </a:cubicBezTo>
                <a:cubicBezTo>
                  <a:pt x="2337259" y="2780631"/>
                  <a:pt x="2454974" y="2454072"/>
                  <a:pt x="2568346" y="2137821"/>
                </a:cubicBezTo>
                <a:cubicBezTo>
                  <a:pt x="2618794" y="1995155"/>
                  <a:pt x="2669244" y="1847607"/>
                  <a:pt x="2715351" y="1702229"/>
                </a:cubicBezTo>
                <a:cubicBezTo>
                  <a:pt x="2895991" y="1139701"/>
                  <a:pt x="2980072" y="569037"/>
                  <a:pt x="2967596" y="1628"/>
                </a:cubicBezTo>
                <a:close/>
                <a:moveTo>
                  <a:pt x="2781533" y="1628"/>
                </a:moveTo>
                <a:lnTo>
                  <a:pt x="2802687" y="1628"/>
                </a:lnTo>
                <a:cubicBezTo>
                  <a:pt x="2815165" y="584768"/>
                  <a:pt x="2735423" y="1170621"/>
                  <a:pt x="2554787" y="1751050"/>
                </a:cubicBezTo>
                <a:cubicBezTo>
                  <a:pt x="2513016" y="1896428"/>
                  <a:pt x="2462569" y="2043975"/>
                  <a:pt x="2412119" y="2183930"/>
                </a:cubicBezTo>
                <a:cubicBezTo>
                  <a:pt x="2298746" y="2502894"/>
                  <a:pt x="2185374" y="2834335"/>
                  <a:pt x="2139264" y="3163606"/>
                </a:cubicBezTo>
                <a:cubicBezTo>
                  <a:pt x="2084476" y="3547122"/>
                  <a:pt x="2113768" y="3975120"/>
                  <a:pt x="2235821" y="4508896"/>
                </a:cubicBezTo>
                <a:cubicBezTo>
                  <a:pt x="2357331" y="5039961"/>
                  <a:pt x="2588418" y="5828150"/>
                  <a:pt x="3197595" y="6517612"/>
                </a:cubicBezTo>
                <a:cubicBezTo>
                  <a:pt x="3258350" y="6584877"/>
                  <a:pt x="3322360" y="6652277"/>
                  <a:pt x="3390100" y="6718728"/>
                </a:cubicBezTo>
                <a:lnTo>
                  <a:pt x="3543243" y="6858000"/>
                </a:lnTo>
                <a:lnTo>
                  <a:pt x="3521208" y="6858000"/>
                </a:lnTo>
                <a:lnTo>
                  <a:pt x="3375656" y="6724152"/>
                </a:lnTo>
                <a:cubicBezTo>
                  <a:pt x="3307985" y="6657701"/>
                  <a:pt x="3243975" y="6590301"/>
                  <a:pt x="3185119" y="6523037"/>
                </a:cubicBezTo>
                <a:cubicBezTo>
                  <a:pt x="2571602" y="5830862"/>
                  <a:pt x="2341058" y="5043217"/>
                  <a:pt x="2219005" y="4511610"/>
                </a:cubicBezTo>
                <a:cubicBezTo>
                  <a:pt x="2096953" y="3977288"/>
                  <a:pt x="2063319" y="3547122"/>
                  <a:pt x="2118109" y="3163606"/>
                </a:cubicBezTo>
                <a:cubicBezTo>
                  <a:pt x="2168558" y="2831622"/>
                  <a:pt x="2281931" y="2502894"/>
                  <a:pt x="2395304" y="2181217"/>
                </a:cubicBezTo>
                <a:cubicBezTo>
                  <a:pt x="2441413" y="2041264"/>
                  <a:pt x="2496201" y="1896428"/>
                  <a:pt x="2537968" y="1751050"/>
                </a:cubicBezTo>
                <a:cubicBezTo>
                  <a:pt x="2718608" y="1170621"/>
                  <a:pt x="2798349" y="584768"/>
                  <a:pt x="2781533" y="1628"/>
                </a:cubicBezTo>
                <a:close/>
                <a:moveTo>
                  <a:pt x="2601437" y="1628"/>
                </a:moveTo>
                <a:lnTo>
                  <a:pt x="2618253" y="1628"/>
                </a:lnTo>
                <a:cubicBezTo>
                  <a:pt x="2639409" y="600500"/>
                  <a:pt x="2559668" y="1204254"/>
                  <a:pt x="2379030" y="1800413"/>
                </a:cubicBezTo>
                <a:cubicBezTo>
                  <a:pt x="2336718" y="1945249"/>
                  <a:pt x="2286271" y="2087915"/>
                  <a:pt x="2240161" y="2227868"/>
                </a:cubicBezTo>
                <a:cubicBezTo>
                  <a:pt x="2130585" y="2551716"/>
                  <a:pt x="2017211" y="2883698"/>
                  <a:pt x="1971101" y="3217851"/>
                </a:cubicBezTo>
                <a:cubicBezTo>
                  <a:pt x="1916858" y="3604080"/>
                  <a:pt x="1954286" y="4032077"/>
                  <a:pt x="2076338" y="4565854"/>
                </a:cubicBezTo>
                <a:cubicBezTo>
                  <a:pt x="2278133" y="5411000"/>
                  <a:pt x="2588958" y="6048387"/>
                  <a:pt x="3059271" y="6574569"/>
                </a:cubicBezTo>
                <a:cubicBezTo>
                  <a:pt x="3120025" y="6641834"/>
                  <a:pt x="3184034" y="6709234"/>
                  <a:pt x="3251774" y="6775685"/>
                </a:cubicBezTo>
                <a:lnTo>
                  <a:pt x="3342286" y="6858000"/>
                </a:lnTo>
                <a:lnTo>
                  <a:pt x="3323253" y="6858000"/>
                </a:lnTo>
                <a:lnTo>
                  <a:pt x="3237330" y="6780568"/>
                </a:lnTo>
                <a:cubicBezTo>
                  <a:pt x="3168574" y="6714117"/>
                  <a:pt x="3103480" y="6646716"/>
                  <a:pt x="3042453" y="6579451"/>
                </a:cubicBezTo>
                <a:cubicBezTo>
                  <a:pt x="2572143" y="6053269"/>
                  <a:pt x="2256977" y="5413172"/>
                  <a:pt x="2059523" y="4568025"/>
                </a:cubicBezTo>
                <a:cubicBezTo>
                  <a:pt x="1933131" y="4034247"/>
                  <a:pt x="1899498" y="3604080"/>
                  <a:pt x="1954286" y="3217851"/>
                </a:cubicBezTo>
                <a:cubicBezTo>
                  <a:pt x="1996598" y="2883698"/>
                  <a:pt x="2109971" y="2549544"/>
                  <a:pt x="2223343" y="2227868"/>
                </a:cubicBezTo>
                <a:cubicBezTo>
                  <a:pt x="2269997" y="2087915"/>
                  <a:pt x="2320443" y="1943079"/>
                  <a:pt x="2362214" y="1797702"/>
                </a:cubicBezTo>
                <a:cubicBezTo>
                  <a:pt x="2542852" y="1201541"/>
                  <a:pt x="2622594" y="597787"/>
                  <a:pt x="2601437" y="1628"/>
                </a:cubicBezTo>
                <a:close/>
                <a:moveTo>
                  <a:pt x="2417001" y="1628"/>
                </a:moveTo>
                <a:lnTo>
                  <a:pt x="2438158" y="1628"/>
                </a:lnTo>
                <a:cubicBezTo>
                  <a:pt x="2463111" y="616231"/>
                  <a:pt x="2383370" y="1235717"/>
                  <a:pt x="2202731" y="1849777"/>
                </a:cubicBezTo>
                <a:cubicBezTo>
                  <a:pt x="2160420" y="1992442"/>
                  <a:pt x="2114310" y="2135108"/>
                  <a:pt x="2068202" y="2275062"/>
                </a:cubicBezTo>
                <a:cubicBezTo>
                  <a:pt x="1958626" y="2599451"/>
                  <a:pt x="1845253" y="2936316"/>
                  <a:pt x="1803485" y="3273182"/>
                </a:cubicBezTo>
                <a:cubicBezTo>
                  <a:pt x="1753036" y="3661580"/>
                  <a:pt x="1791007" y="4089578"/>
                  <a:pt x="1921196" y="4623354"/>
                </a:cubicBezTo>
                <a:cubicBezTo>
                  <a:pt x="2122990" y="5468502"/>
                  <a:pt x="2441954" y="6105888"/>
                  <a:pt x="2916605" y="6632070"/>
                </a:cubicBezTo>
                <a:cubicBezTo>
                  <a:pt x="2977631" y="6699334"/>
                  <a:pt x="3042726" y="6766734"/>
                  <a:pt x="3111482" y="6833185"/>
                </a:cubicBezTo>
                <a:lnTo>
                  <a:pt x="3139018" y="6858000"/>
                </a:lnTo>
                <a:lnTo>
                  <a:pt x="3120520" y="6858000"/>
                </a:lnTo>
                <a:lnTo>
                  <a:pt x="3099004" y="6838611"/>
                </a:lnTo>
                <a:cubicBezTo>
                  <a:pt x="3030248" y="6772160"/>
                  <a:pt x="2965153" y="6704760"/>
                  <a:pt x="2904126" y="6637495"/>
                </a:cubicBezTo>
                <a:cubicBezTo>
                  <a:pt x="2425138" y="6111313"/>
                  <a:pt x="2105632" y="5471215"/>
                  <a:pt x="1900040" y="4626066"/>
                </a:cubicBezTo>
                <a:cubicBezTo>
                  <a:pt x="1774192" y="4092289"/>
                  <a:pt x="1736220" y="3662123"/>
                  <a:pt x="1786667" y="3270470"/>
                </a:cubicBezTo>
                <a:cubicBezTo>
                  <a:pt x="1828438" y="2933061"/>
                  <a:pt x="1941810" y="2596196"/>
                  <a:pt x="2047046" y="2272351"/>
                </a:cubicBezTo>
                <a:cubicBezTo>
                  <a:pt x="2093698" y="2132395"/>
                  <a:pt x="2144145" y="1989730"/>
                  <a:pt x="2185916" y="1847065"/>
                </a:cubicBezTo>
                <a:cubicBezTo>
                  <a:pt x="2366554" y="1233004"/>
                  <a:pt x="2441954" y="613518"/>
                  <a:pt x="2417001" y="1628"/>
                </a:cubicBezTo>
                <a:close/>
                <a:moveTo>
                  <a:pt x="2235821" y="1628"/>
                </a:moveTo>
                <a:lnTo>
                  <a:pt x="2252636" y="1628"/>
                </a:lnTo>
                <a:cubicBezTo>
                  <a:pt x="2281931" y="629250"/>
                  <a:pt x="2206528" y="1266636"/>
                  <a:pt x="2025891" y="1899140"/>
                </a:cubicBezTo>
                <a:cubicBezTo>
                  <a:pt x="1983581" y="2039094"/>
                  <a:pt x="1937470" y="2181760"/>
                  <a:pt x="1891360" y="2316289"/>
                </a:cubicBezTo>
                <a:cubicBezTo>
                  <a:pt x="1786667" y="2645559"/>
                  <a:pt x="1677092" y="2985137"/>
                  <a:pt x="1635322" y="3327426"/>
                </a:cubicBezTo>
                <a:cubicBezTo>
                  <a:pt x="1589213" y="3715825"/>
                  <a:pt x="1630983" y="4146536"/>
                  <a:pt x="1761172" y="4680313"/>
                </a:cubicBezTo>
                <a:cubicBezTo>
                  <a:pt x="1971101" y="5522747"/>
                  <a:pt x="2294949" y="6162846"/>
                  <a:pt x="2777736" y="6689028"/>
                </a:cubicBezTo>
                <a:lnTo>
                  <a:pt x="2943569" y="6858000"/>
                </a:lnTo>
                <a:lnTo>
                  <a:pt x="2921504" y="6858000"/>
                </a:lnTo>
                <a:lnTo>
                  <a:pt x="2760920" y="6694452"/>
                </a:lnTo>
                <a:cubicBezTo>
                  <a:pt x="2277590" y="6165558"/>
                  <a:pt x="1954286" y="5527629"/>
                  <a:pt x="1744356" y="4680313"/>
                </a:cubicBezTo>
                <a:cubicBezTo>
                  <a:pt x="1610370" y="4146536"/>
                  <a:pt x="1572397" y="3716368"/>
                  <a:pt x="1618506" y="3324715"/>
                </a:cubicBezTo>
                <a:cubicBezTo>
                  <a:pt x="1660276" y="2985137"/>
                  <a:pt x="1769310" y="2642848"/>
                  <a:pt x="1874544" y="2316289"/>
                </a:cubicBezTo>
                <a:cubicBezTo>
                  <a:pt x="1920654" y="2179047"/>
                  <a:pt x="1966762" y="2036380"/>
                  <a:pt x="2004736" y="1896428"/>
                </a:cubicBezTo>
                <a:cubicBezTo>
                  <a:pt x="2189711" y="1263925"/>
                  <a:pt x="2265113" y="628707"/>
                  <a:pt x="2235821" y="1628"/>
                </a:cubicBezTo>
                <a:close/>
                <a:moveTo>
                  <a:pt x="396352" y="1628"/>
                </a:moveTo>
                <a:lnTo>
                  <a:pt x="413168" y="1628"/>
                </a:lnTo>
                <a:cubicBezTo>
                  <a:pt x="413168" y="9223"/>
                  <a:pt x="413168" y="17360"/>
                  <a:pt x="413168" y="24955"/>
                </a:cubicBezTo>
                <a:cubicBezTo>
                  <a:pt x="484773" y="784392"/>
                  <a:pt x="429986" y="1577463"/>
                  <a:pt x="249348" y="2383554"/>
                </a:cubicBezTo>
                <a:cubicBezTo>
                  <a:pt x="223851" y="2505064"/>
                  <a:pt x="194560" y="2627116"/>
                  <a:pt x="165265" y="2743744"/>
                </a:cubicBezTo>
                <a:cubicBezTo>
                  <a:pt x="118886" y="2926552"/>
                  <a:pt x="72642" y="3112479"/>
                  <a:pt x="35890" y="3299695"/>
                </a:cubicBezTo>
                <a:lnTo>
                  <a:pt x="0" y="3515440"/>
                </a:lnTo>
                <a:lnTo>
                  <a:pt x="0" y="3413219"/>
                </a:lnTo>
                <a:lnTo>
                  <a:pt x="19277" y="3297321"/>
                </a:lnTo>
                <a:cubicBezTo>
                  <a:pt x="56097" y="3109767"/>
                  <a:pt x="102341" y="2923840"/>
                  <a:pt x="148449" y="2741032"/>
                </a:cubicBezTo>
                <a:cubicBezTo>
                  <a:pt x="173945" y="2624404"/>
                  <a:pt x="203238" y="2502894"/>
                  <a:pt x="232530" y="2383554"/>
                </a:cubicBezTo>
                <a:cubicBezTo>
                  <a:pt x="413168" y="1577463"/>
                  <a:pt x="467957" y="784392"/>
                  <a:pt x="396352" y="24955"/>
                </a:cubicBezTo>
                <a:cubicBezTo>
                  <a:pt x="396352" y="17360"/>
                  <a:pt x="396352" y="9223"/>
                  <a:pt x="396352" y="1628"/>
                </a:cubicBezTo>
                <a:close/>
                <a:moveTo>
                  <a:pt x="5479167" y="1086"/>
                </a:moveTo>
                <a:lnTo>
                  <a:pt x="5495983" y="1086"/>
                </a:lnTo>
                <a:cubicBezTo>
                  <a:pt x="5449873" y="346088"/>
                  <a:pt x="5357656" y="688377"/>
                  <a:pt x="5218787" y="1022531"/>
                </a:cubicBezTo>
                <a:cubicBezTo>
                  <a:pt x="5151523" y="1183097"/>
                  <a:pt x="5075579" y="1343666"/>
                  <a:pt x="5000176" y="1499350"/>
                </a:cubicBezTo>
                <a:cubicBezTo>
                  <a:pt x="4861310" y="1776544"/>
                  <a:pt x="4722982" y="2064046"/>
                  <a:pt x="4647581" y="2358057"/>
                </a:cubicBezTo>
                <a:cubicBezTo>
                  <a:pt x="4525528" y="2808839"/>
                  <a:pt x="4559161" y="3272640"/>
                  <a:pt x="4609609" y="3664292"/>
                </a:cubicBezTo>
                <a:cubicBezTo>
                  <a:pt x="4676873" y="4242009"/>
                  <a:pt x="4823879" y="4991140"/>
                  <a:pt x="5315344" y="5659989"/>
                </a:cubicBezTo>
                <a:cubicBezTo>
                  <a:pt x="5633020" y="6092258"/>
                  <a:pt x="6108135" y="6499524"/>
                  <a:pt x="6698707" y="6851723"/>
                </a:cubicBezTo>
                <a:lnTo>
                  <a:pt x="6710000" y="6858000"/>
                </a:lnTo>
                <a:lnTo>
                  <a:pt x="6682458" y="6858000"/>
                </a:lnTo>
                <a:lnTo>
                  <a:pt x="6369337" y="6660278"/>
                </a:lnTo>
                <a:cubicBezTo>
                  <a:pt x="5920182" y="6354333"/>
                  <a:pt x="5558908" y="6020179"/>
                  <a:pt x="5298529" y="5664871"/>
                </a:cubicBezTo>
                <a:cubicBezTo>
                  <a:pt x="4807063" y="4996023"/>
                  <a:pt x="4660057" y="4244721"/>
                  <a:pt x="4588453" y="3666464"/>
                </a:cubicBezTo>
                <a:cubicBezTo>
                  <a:pt x="4542345" y="3272640"/>
                  <a:pt x="4508712" y="2808296"/>
                  <a:pt x="4626425" y="2354803"/>
                </a:cubicBezTo>
                <a:cubicBezTo>
                  <a:pt x="4706167" y="2061877"/>
                  <a:pt x="4844493" y="1773833"/>
                  <a:pt x="4983360" y="1496638"/>
                </a:cubicBezTo>
                <a:cubicBezTo>
                  <a:pt x="5059304" y="1341495"/>
                  <a:pt x="5134707" y="1180386"/>
                  <a:pt x="5201971" y="1019818"/>
                </a:cubicBezTo>
                <a:cubicBezTo>
                  <a:pt x="5340297" y="685123"/>
                  <a:pt x="5433058" y="343377"/>
                  <a:pt x="5479167" y="1086"/>
                </a:cubicBezTo>
                <a:close/>
                <a:moveTo>
                  <a:pt x="4236941" y="1086"/>
                </a:moveTo>
                <a:lnTo>
                  <a:pt x="4253757" y="1086"/>
                </a:lnTo>
                <a:cubicBezTo>
                  <a:pt x="4232603" y="460004"/>
                  <a:pt x="4140384" y="913497"/>
                  <a:pt x="3976562" y="1362108"/>
                </a:cubicBezTo>
                <a:cubicBezTo>
                  <a:pt x="3921775" y="1517793"/>
                  <a:pt x="3854510" y="1673478"/>
                  <a:pt x="3791584" y="1823738"/>
                </a:cubicBezTo>
                <a:cubicBezTo>
                  <a:pt x="3669533" y="2119377"/>
                  <a:pt x="3539342" y="2424780"/>
                  <a:pt x="3476418" y="2733437"/>
                </a:cubicBezTo>
                <a:cubicBezTo>
                  <a:pt x="3379319" y="3207544"/>
                  <a:pt x="3438445" y="3689787"/>
                  <a:pt x="3501371" y="4060285"/>
                </a:cubicBezTo>
                <a:cubicBezTo>
                  <a:pt x="3601726" y="4635831"/>
                  <a:pt x="3786703" y="5384964"/>
                  <a:pt x="4328618" y="6058694"/>
                </a:cubicBezTo>
                <a:cubicBezTo>
                  <a:pt x="4437650" y="6195934"/>
                  <a:pt x="4563500" y="6331006"/>
                  <a:pt x="4702370" y="6457941"/>
                </a:cubicBezTo>
                <a:cubicBezTo>
                  <a:pt x="4812624" y="6561008"/>
                  <a:pt x="4931794" y="6661770"/>
                  <a:pt x="5059754" y="6760124"/>
                </a:cubicBezTo>
                <a:lnTo>
                  <a:pt x="5193099" y="6858000"/>
                </a:lnTo>
                <a:lnTo>
                  <a:pt x="5167772" y="6858000"/>
                </a:lnTo>
                <a:lnTo>
                  <a:pt x="5043684" y="6767235"/>
                </a:lnTo>
                <a:cubicBezTo>
                  <a:pt x="4915249" y="6668923"/>
                  <a:pt x="4795807" y="6568467"/>
                  <a:pt x="4685552" y="6466078"/>
                </a:cubicBezTo>
                <a:cubicBezTo>
                  <a:pt x="4547226" y="6336432"/>
                  <a:pt x="4420833" y="6201360"/>
                  <a:pt x="4311801" y="6064118"/>
                </a:cubicBezTo>
                <a:cubicBezTo>
                  <a:pt x="3770429" y="5389845"/>
                  <a:pt x="3585452" y="4638545"/>
                  <a:pt x="3484555" y="4060285"/>
                </a:cubicBezTo>
                <a:cubicBezTo>
                  <a:pt x="3421629" y="3689787"/>
                  <a:pt x="3358705" y="3205375"/>
                  <a:pt x="3459602" y="2733437"/>
                </a:cubicBezTo>
                <a:cubicBezTo>
                  <a:pt x="3522528" y="2422610"/>
                  <a:pt x="3652716" y="2116666"/>
                  <a:pt x="3774769" y="1821026"/>
                </a:cubicBezTo>
                <a:cubicBezTo>
                  <a:pt x="3837694" y="1670225"/>
                  <a:pt x="3904957" y="1515081"/>
                  <a:pt x="3959747" y="1359397"/>
                </a:cubicBezTo>
                <a:cubicBezTo>
                  <a:pt x="4123569" y="913497"/>
                  <a:pt x="4215786" y="457291"/>
                  <a:pt x="4236941" y="1086"/>
                </a:cubicBezTo>
                <a:close/>
                <a:moveTo>
                  <a:pt x="4055219" y="1086"/>
                </a:moveTo>
                <a:lnTo>
                  <a:pt x="4072035" y="1086"/>
                </a:lnTo>
                <a:cubicBezTo>
                  <a:pt x="4055219" y="475193"/>
                  <a:pt x="3967340" y="947129"/>
                  <a:pt x="3799179" y="1410929"/>
                </a:cubicBezTo>
                <a:cubicBezTo>
                  <a:pt x="3744390" y="1563903"/>
                  <a:pt x="3681467" y="1719588"/>
                  <a:pt x="3618541" y="1869848"/>
                </a:cubicBezTo>
                <a:cubicBezTo>
                  <a:pt x="3496489" y="2168199"/>
                  <a:pt x="3370638" y="2476856"/>
                  <a:pt x="3307714" y="2787684"/>
                </a:cubicBezTo>
                <a:cubicBezTo>
                  <a:pt x="3215497" y="3261791"/>
                  <a:pt x="3278420" y="3746204"/>
                  <a:pt x="3341346" y="4114531"/>
                </a:cubicBezTo>
                <a:cubicBezTo>
                  <a:pt x="3446040" y="4692789"/>
                  <a:pt x="3635357" y="5441922"/>
                  <a:pt x="4185408" y="6115652"/>
                </a:cubicBezTo>
                <a:cubicBezTo>
                  <a:pt x="4298782" y="6252893"/>
                  <a:pt x="4424631" y="6387965"/>
                  <a:pt x="4563500" y="6514900"/>
                </a:cubicBezTo>
                <a:cubicBezTo>
                  <a:pt x="4674839" y="6617289"/>
                  <a:pt x="4795095" y="6717575"/>
                  <a:pt x="4924140" y="6815633"/>
                </a:cubicBezTo>
                <a:lnTo>
                  <a:pt x="4982461" y="6858000"/>
                </a:lnTo>
                <a:lnTo>
                  <a:pt x="4957779" y="6858000"/>
                </a:lnTo>
                <a:lnTo>
                  <a:pt x="4909833" y="6823167"/>
                </a:lnTo>
                <a:cubicBezTo>
                  <a:pt x="4780991" y="6725237"/>
                  <a:pt x="4661278" y="6625290"/>
                  <a:pt x="4551024" y="6523579"/>
                </a:cubicBezTo>
                <a:cubicBezTo>
                  <a:pt x="4408358" y="6393932"/>
                  <a:pt x="4281965" y="6258860"/>
                  <a:pt x="4172932" y="6121620"/>
                </a:cubicBezTo>
                <a:cubicBezTo>
                  <a:pt x="3618541" y="5444634"/>
                  <a:pt x="3429766" y="4696045"/>
                  <a:pt x="3324530" y="4117786"/>
                </a:cubicBezTo>
                <a:cubicBezTo>
                  <a:pt x="3257265" y="3747289"/>
                  <a:pt x="3194341" y="3262333"/>
                  <a:pt x="3290899" y="2785514"/>
                </a:cubicBezTo>
                <a:cubicBezTo>
                  <a:pt x="3353822" y="2474144"/>
                  <a:pt x="3479672" y="2165487"/>
                  <a:pt x="3601726" y="1867678"/>
                </a:cubicBezTo>
                <a:cubicBezTo>
                  <a:pt x="3664649" y="1717416"/>
                  <a:pt x="3727575" y="1561731"/>
                  <a:pt x="3782363" y="1408760"/>
                </a:cubicBezTo>
                <a:cubicBezTo>
                  <a:pt x="3946184" y="944417"/>
                  <a:pt x="4038402" y="473023"/>
                  <a:pt x="4055219" y="1086"/>
                </a:cubicBezTo>
                <a:close/>
                <a:moveTo>
                  <a:pt x="3693943" y="1086"/>
                </a:moveTo>
                <a:lnTo>
                  <a:pt x="3710759" y="1086"/>
                </a:lnTo>
                <a:cubicBezTo>
                  <a:pt x="3702080" y="506655"/>
                  <a:pt x="3614202" y="1012224"/>
                  <a:pt x="3446040" y="1509656"/>
                </a:cubicBezTo>
                <a:cubicBezTo>
                  <a:pt x="3391795" y="1659916"/>
                  <a:pt x="3332667" y="1812889"/>
                  <a:pt x="3274081" y="1960436"/>
                </a:cubicBezTo>
                <a:cubicBezTo>
                  <a:pt x="3156369" y="2263670"/>
                  <a:pt x="3030519" y="2577210"/>
                  <a:pt x="2975731" y="2893463"/>
                </a:cubicBezTo>
                <a:cubicBezTo>
                  <a:pt x="2883515" y="3375706"/>
                  <a:pt x="2954576" y="3860120"/>
                  <a:pt x="3026179" y="4228446"/>
                </a:cubicBezTo>
                <a:cubicBezTo>
                  <a:pt x="3193798" y="5083900"/>
                  <a:pt x="3462856" y="5703385"/>
                  <a:pt x="3903873" y="6232279"/>
                </a:cubicBezTo>
                <a:cubicBezTo>
                  <a:pt x="4017247" y="6366809"/>
                  <a:pt x="4147437" y="6501881"/>
                  <a:pt x="4290102" y="6628815"/>
                </a:cubicBezTo>
                <a:cubicBezTo>
                  <a:pt x="4345772" y="6679332"/>
                  <a:pt x="4403806" y="6729365"/>
                  <a:pt x="4464172" y="6778910"/>
                </a:cubicBezTo>
                <a:lnTo>
                  <a:pt x="4565238" y="6858000"/>
                </a:lnTo>
                <a:lnTo>
                  <a:pt x="4541100" y="6858000"/>
                </a:lnTo>
                <a:lnTo>
                  <a:pt x="4448231" y="6785881"/>
                </a:lnTo>
                <a:cubicBezTo>
                  <a:pt x="4387457" y="6736485"/>
                  <a:pt x="4328956" y="6686655"/>
                  <a:pt x="4272745" y="6636410"/>
                </a:cubicBezTo>
                <a:cubicBezTo>
                  <a:pt x="4134417" y="6506762"/>
                  <a:pt x="4004228" y="6371690"/>
                  <a:pt x="3886514" y="6234449"/>
                </a:cubicBezTo>
                <a:cubicBezTo>
                  <a:pt x="3445498" y="5706097"/>
                  <a:pt x="3176982" y="5086613"/>
                  <a:pt x="3008821" y="4228446"/>
                </a:cubicBezTo>
                <a:cubicBezTo>
                  <a:pt x="2937218" y="3860120"/>
                  <a:pt x="2865613" y="3375706"/>
                  <a:pt x="2954034" y="2893463"/>
                </a:cubicBezTo>
                <a:cubicBezTo>
                  <a:pt x="3013161" y="2577210"/>
                  <a:pt x="3134671" y="2260959"/>
                  <a:pt x="3256723" y="1957725"/>
                </a:cubicBezTo>
                <a:cubicBezTo>
                  <a:pt x="3315851" y="1810178"/>
                  <a:pt x="3374436" y="1657204"/>
                  <a:pt x="3424884" y="1506945"/>
                </a:cubicBezTo>
                <a:cubicBezTo>
                  <a:pt x="3597386" y="1009512"/>
                  <a:pt x="3685806" y="506655"/>
                  <a:pt x="3693943" y="1086"/>
                </a:cubicBezTo>
                <a:close/>
                <a:moveTo>
                  <a:pt x="3147690" y="1086"/>
                </a:moveTo>
                <a:lnTo>
                  <a:pt x="3164506" y="1086"/>
                </a:lnTo>
                <a:cubicBezTo>
                  <a:pt x="3172642" y="553306"/>
                  <a:pt x="3088562" y="1108239"/>
                  <a:pt x="2912265" y="1655035"/>
                </a:cubicBezTo>
                <a:cubicBezTo>
                  <a:pt x="2862358" y="1802583"/>
                  <a:pt x="2811910" y="1950131"/>
                  <a:pt x="2757122" y="2095508"/>
                </a:cubicBezTo>
                <a:cubicBezTo>
                  <a:pt x="2643205" y="2409049"/>
                  <a:pt x="2526037" y="2730726"/>
                  <a:pt x="2471247" y="3057284"/>
                </a:cubicBezTo>
                <a:cubicBezTo>
                  <a:pt x="2412119" y="3440800"/>
                  <a:pt x="2437616" y="3855237"/>
                  <a:pt x="2550987" y="4397151"/>
                </a:cubicBezTo>
                <a:cubicBezTo>
                  <a:pt x="2735966" y="5252061"/>
                  <a:pt x="3021297" y="5871547"/>
                  <a:pt x="3483470" y="6403154"/>
                </a:cubicBezTo>
                <a:cubicBezTo>
                  <a:pt x="3601183" y="6537683"/>
                  <a:pt x="3731372" y="6672755"/>
                  <a:pt x="3878377" y="6799690"/>
                </a:cubicBezTo>
                <a:lnTo>
                  <a:pt x="3948295" y="6858000"/>
                </a:lnTo>
                <a:lnTo>
                  <a:pt x="3925054" y="6858000"/>
                </a:lnTo>
                <a:lnTo>
                  <a:pt x="3861563" y="6805113"/>
                </a:lnTo>
                <a:cubicBezTo>
                  <a:pt x="3718896" y="6678178"/>
                  <a:pt x="3584366" y="6543107"/>
                  <a:pt x="3466654" y="6408577"/>
                </a:cubicBezTo>
                <a:cubicBezTo>
                  <a:pt x="3004481" y="5877515"/>
                  <a:pt x="2719151" y="5258028"/>
                  <a:pt x="2534172" y="4399863"/>
                </a:cubicBezTo>
                <a:cubicBezTo>
                  <a:pt x="2416459" y="3855237"/>
                  <a:pt x="2395845" y="3440800"/>
                  <a:pt x="2454430" y="3054571"/>
                </a:cubicBezTo>
                <a:cubicBezTo>
                  <a:pt x="2504879" y="2730184"/>
                  <a:pt x="2626933" y="2406336"/>
                  <a:pt x="2740306" y="2092797"/>
                </a:cubicBezTo>
                <a:cubicBezTo>
                  <a:pt x="2790211" y="1947961"/>
                  <a:pt x="2845001" y="1799871"/>
                  <a:pt x="2895448" y="1652323"/>
                </a:cubicBezTo>
                <a:cubicBezTo>
                  <a:pt x="3072288" y="1105527"/>
                  <a:pt x="3155827" y="553306"/>
                  <a:pt x="3147690" y="1086"/>
                </a:cubicBezTo>
                <a:close/>
                <a:moveTo>
                  <a:pt x="2051388" y="1086"/>
                </a:moveTo>
                <a:lnTo>
                  <a:pt x="2068202" y="1086"/>
                </a:lnTo>
                <a:cubicBezTo>
                  <a:pt x="2106174" y="643897"/>
                  <a:pt x="2030773" y="1297014"/>
                  <a:pt x="1845795" y="1947418"/>
                </a:cubicBezTo>
                <a:cubicBezTo>
                  <a:pt x="1808366" y="2085202"/>
                  <a:pt x="1766053" y="2225157"/>
                  <a:pt x="1719945" y="2359686"/>
                </a:cubicBezTo>
                <a:cubicBezTo>
                  <a:pt x="1614710" y="2691669"/>
                  <a:pt x="1509473" y="3036127"/>
                  <a:pt x="1467702" y="3378418"/>
                </a:cubicBezTo>
                <a:cubicBezTo>
                  <a:pt x="1425934" y="3772241"/>
                  <a:pt x="1467702" y="4202409"/>
                  <a:pt x="1602233" y="4734016"/>
                </a:cubicBezTo>
                <a:cubicBezTo>
                  <a:pt x="1820843" y="5579164"/>
                  <a:pt x="2148487" y="6219261"/>
                  <a:pt x="2635610" y="6745443"/>
                </a:cubicBezTo>
                <a:lnTo>
                  <a:pt x="2747940" y="6858000"/>
                </a:lnTo>
                <a:lnTo>
                  <a:pt x="2724848" y="6858000"/>
                </a:lnTo>
                <a:lnTo>
                  <a:pt x="2618794" y="6751411"/>
                </a:lnTo>
                <a:cubicBezTo>
                  <a:pt x="2131671" y="6222516"/>
                  <a:pt x="1804027" y="5582417"/>
                  <a:pt x="1585418" y="4737271"/>
                </a:cubicBezTo>
                <a:cubicBezTo>
                  <a:pt x="1450887" y="4202951"/>
                  <a:pt x="1409117" y="3772784"/>
                  <a:pt x="1450887" y="3378960"/>
                </a:cubicBezTo>
                <a:cubicBezTo>
                  <a:pt x="1488861" y="3033959"/>
                  <a:pt x="1597894" y="2691669"/>
                  <a:pt x="1703129" y="2357515"/>
                </a:cubicBezTo>
                <a:cubicBezTo>
                  <a:pt x="1744898" y="2222445"/>
                  <a:pt x="1791007" y="2082490"/>
                  <a:pt x="1828979" y="1945249"/>
                </a:cubicBezTo>
                <a:cubicBezTo>
                  <a:pt x="2013414" y="1294301"/>
                  <a:pt x="2085019" y="643897"/>
                  <a:pt x="2051388" y="1086"/>
                </a:cubicBezTo>
                <a:close/>
                <a:moveTo>
                  <a:pt x="1867492" y="1086"/>
                </a:moveTo>
                <a:lnTo>
                  <a:pt x="1888650" y="1086"/>
                </a:lnTo>
                <a:cubicBezTo>
                  <a:pt x="1926078" y="659085"/>
                  <a:pt x="1855017" y="1327934"/>
                  <a:pt x="1670038" y="1994070"/>
                </a:cubicBezTo>
                <a:cubicBezTo>
                  <a:pt x="1632067" y="2131311"/>
                  <a:pt x="1589756" y="2269095"/>
                  <a:pt x="1547986" y="2403625"/>
                </a:cubicBezTo>
                <a:cubicBezTo>
                  <a:pt x="1447090" y="2737777"/>
                  <a:pt x="1338056" y="3085492"/>
                  <a:pt x="1304425" y="3432664"/>
                </a:cubicBezTo>
                <a:cubicBezTo>
                  <a:pt x="1262111" y="3829198"/>
                  <a:pt x="1308220" y="4259366"/>
                  <a:pt x="1447090" y="4790975"/>
                </a:cubicBezTo>
                <a:cubicBezTo>
                  <a:pt x="1665701" y="5636121"/>
                  <a:pt x="2001480" y="6273506"/>
                  <a:pt x="2497284" y="6802402"/>
                </a:cubicBezTo>
                <a:lnTo>
                  <a:pt x="2552770" y="6858000"/>
                </a:lnTo>
                <a:lnTo>
                  <a:pt x="2530391" y="6858000"/>
                </a:lnTo>
                <a:lnTo>
                  <a:pt x="2480468" y="6807825"/>
                </a:lnTo>
                <a:cubicBezTo>
                  <a:pt x="1984664" y="6278931"/>
                  <a:pt x="1648884" y="5638834"/>
                  <a:pt x="1430274" y="4793686"/>
                </a:cubicBezTo>
                <a:cubicBezTo>
                  <a:pt x="1287609" y="4259366"/>
                  <a:pt x="1245296" y="3829198"/>
                  <a:pt x="1283269" y="3432664"/>
                </a:cubicBezTo>
                <a:cubicBezTo>
                  <a:pt x="1321240" y="3084949"/>
                  <a:pt x="1430274" y="2737777"/>
                  <a:pt x="1531170" y="2400912"/>
                </a:cubicBezTo>
                <a:cubicBezTo>
                  <a:pt x="1573482" y="2268553"/>
                  <a:pt x="1615252" y="2128600"/>
                  <a:pt x="1653223" y="1994070"/>
                </a:cubicBezTo>
                <a:cubicBezTo>
                  <a:pt x="1838202" y="1325764"/>
                  <a:pt x="1909262" y="656915"/>
                  <a:pt x="1867492" y="1086"/>
                </a:cubicBezTo>
                <a:close/>
                <a:moveTo>
                  <a:pt x="1685229" y="1086"/>
                </a:moveTo>
                <a:lnTo>
                  <a:pt x="1702045" y="1086"/>
                </a:lnTo>
                <a:cubicBezTo>
                  <a:pt x="1744356" y="672103"/>
                  <a:pt x="1677092" y="1359397"/>
                  <a:pt x="1492113" y="2043433"/>
                </a:cubicBezTo>
                <a:cubicBezTo>
                  <a:pt x="1454143" y="2177963"/>
                  <a:pt x="1412373" y="2315203"/>
                  <a:pt x="1374400" y="2447564"/>
                </a:cubicBezTo>
                <a:cubicBezTo>
                  <a:pt x="1274047" y="2784429"/>
                  <a:pt x="1168811" y="3137026"/>
                  <a:pt x="1135179" y="3486909"/>
                </a:cubicBezTo>
                <a:cubicBezTo>
                  <a:pt x="1097748" y="3883445"/>
                  <a:pt x="1143858" y="4316326"/>
                  <a:pt x="1286523" y="4847931"/>
                </a:cubicBezTo>
                <a:cubicBezTo>
                  <a:pt x="1484928" y="5585063"/>
                  <a:pt x="1770547" y="6167278"/>
                  <a:pt x="2173546" y="6655634"/>
                </a:cubicBezTo>
                <a:lnTo>
                  <a:pt x="2352333" y="6858000"/>
                </a:lnTo>
                <a:lnTo>
                  <a:pt x="2331196" y="6858000"/>
                </a:lnTo>
                <a:lnTo>
                  <a:pt x="2156574" y="6660662"/>
                </a:lnTo>
                <a:cubicBezTo>
                  <a:pt x="1753315" y="6172500"/>
                  <a:pt x="1468109" y="5589334"/>
                  <a:pt x="1269707" y="4847931"/>
                </a:cubicBezTo>
                <a:cubicBezTo>
                  <a:pt x="1126498" y="4316326"/>
                  <a:pt x="1076593" y="3883445"/>
                  <a:pt x="1118360" y="3486909"/>
                </a:cubicBezTo>
                <a:cubicBezTo>
                  <a:pt x="1151995" y="3134313"/>
                  <a:pt x="1256687" y="2784429"/>
                  <a:pt x="1357583" y="2444851"/>
                </a:cubicBezTo>
                <a:cubicBezTo>
                  <a:pt x="1395557" y="2313035"/>
                  <a:pt x="1437327" y="2175250"/>
                  <a:pt x="1475296" y="2040722"/>
                </a:cubicBezTo>
                <a:cubicBezTo>
                  <a:pt x="1655934" y="1356684"/>
                  <a:pt x="1726996" y="672647"/>
                  <a:pt x="1685229" y="1086"/>
                </a:cubicBezTo>
                <a:close/>
                <a:moveTo>
                  <a:pt x="1501334" y="1086"/>
                </a:moveTo>
                <a:lnTo>
                  <a:pt x="1518153" y="1086"/>
                </a:lnTo>
                <a:cubicBezTo>
                  <a:pt x="1568600" y="687835"/>
                  <a:pt x="1496998" y="1390316"/>
                  <a:pt x="1316358" y="2092797"/>
                </a:cubicBezTo>
                <a:cubicBezTo>
                  <a:pt x="1278387" y="2225157"/>
                  <a:pt x="1240957" y="2359686"/>
                  <a:pt x="1202986" y="2489332"/>
                </a:cubicBezTo>
                <a:cubicBezTo>
                  <a:pt x="1102087" y="2831622"/>
                  <a:pt x="1001191" y="3186389"/>
                  <a:pt x="967559" y="3541698"/>
                </a:cubicBezTo>
                <a:cubicBezTo>
                  <a:pt x="933926" y="3940403"/>
                  <a:pt x="984376" y="4373282"/>
                  <a:pt x="1127040" y="4904889"/>
                </a:cubicBezTo>
                <a:cubicBezTo>
                  <a:pt x="1333040" y="5642020"/>
                  <a:pt x="1622516" y="6224237"/>
                  <a:pt x="2029268" y="6712591"/>
                </a:cubicBezTo>
                <a:lnTo>
                  <a:pt x="2158886" y="6858000"/>
                </a:lnTo>
                <a:lnTo>
                  <a:pt x="2141652" y="6858000"/>
                </a:lnTo>
                <a:lnTo>
                  <a:pt x="2015538" y="6717531"/>
                </a:lnTo>
                <a:cubicBezTo>
                  <a:pt x="1606242" y="6228984"/>
                  <a:pt x="1316766" y="5644394"/>
                  <a:pt x="1110768" y="4904889"/>
                </a:cubicBezTo>
                <a:cubicBezTo>
                  <a:pt x="963762" y="4373825"/>
                  <a:pt x="913312" y="3940945"/>
                  <a:pt x="951284" y="3538985"/>
                </a:cubicBezTo>
                <a:cubicBezTo>
                  <a:pt x="981119" y="3184219"/>
                  <a:pt x="1085814" y="2831622"/>
                  <a:pt x="1186709" y="2489332"/>
                </a:cubicBezTo>
                <a:cubicBezTo>
                  <a:pt x="1224140" y="2356973"/>
                  <a:pt x="1262111" y="2222445"/>
                  <a:pt x="1295746" y="2090085"/>
                </a:cubicBezTo>
                <a:cubicBezTo>
                  <a:pt x="1480179" y="1387604"/>
                  <a:pt x="1547444" y="685123"/>
                  <a:pt x="1501334" y="1086"/>
                </a:cubicBezTo>
                <a:close/>
                <a:moveTo>
                  <a:pt x="1316901" y="1086"/>
                </a:moveTo>
                <a:lnTo>
                  <a:pt x="1333717" y="1086"/>
                </a:lnTo>
                <a:cubicBezTo>
                  <a:pt x="1388503" y="700853"/>
                  <a:pt x="1321240" y="1419067"/>
                  <a:pt x="1136262" y="2142160"/>
                </a:cubicBezTo>
                <a:cubicBezTo>
                  <a:pt x="1102630" y="2271808"/>
                  <a:pt x="1064659" y="2404167"/>
                  <a:pt x="1031027" y="2533814"/>
                </a:cubicBezTo>
                <a:cubicBezTo>
                  <a:pt x="930128" y="2878274"/>
                  <a:pt x="829234" y="3236295"/>
                  <a:pt x="799941" y="3593773"/>
                </a:cubicBezTo>
                <a:cubicBezTo>
                  <a:pt x="766308" y="3995190"/>
                  <a:pt x="820555" y="4430782"/>
                  <a:pt x="971898" y="4959678"/>
                </a:cubicBezTo>
                <a:cubicBezTo>
                  <a:pt x="1181694" y="5699181"/>
                  <a:pt x="1474552" y="6281695"/>
                  <a:pt x="1887905" y="6770087"/>
                </a:cubicBezTo>
                <a:lnTo>
                  <a:pt x="1967579" y="6858000"/>
                </a:lnTo>
                <a:lnTo>
                  <a:pt x="1944323" y="6858000"/>
                </a:lnTo>
                <a:lnTo>
                  <a:pt x="1871067" y="6776848"/>
                </a:lnTo>
                <a:cubicBezTo>
                  <a:pt x="1457617" y="6286484"/>
                  <a:pt x="1164403" y="5701894"/>
                  <a:pt x="955083" y="4962390"/>
                </a:cubicBezTo>
                <a:cubicBezTo>
                  <a:pt x="804279" y="4430782"/>
                  <a:pt x="749492" y="3997904"/>
                  <a:pt x="783124" y="3593773"/>
                </a:cubicBezTo>
                <a:cubicBezTo>
                  <a:pt x="812418" y="3236295"/>
                  <a:pt x="913312" y="2878274"/>
                  <a:pt x="1014212" y="2531102"/>
                </a:cubicBezTo>
                <a:cubicBezTo>
                  <a:pt x="1047843" y="2403625"/>
                  <a:pt x="1085814" y="2271808"/>
                  <a:pt x="1119447" y="2139448"/>
                </a:cubicBezTo>
                <a:cubicBezTo>
                  <a:pt x="1304425" y="1419067"/>
                  <a:pt x="1371688" y="700853"/>
                  <a:pt x="1316901" y="1086"/>
                </a:cubicBezTo>
                <a:close/>
                <a:moveTo>
                  <a:pt x="1131381" y="1086"/>
                </a:moveTo>
                <a:lnTo>
                  <a:pt x="1148196" y="1086"/>
                </a:lnTo>
                <a:cubicBezTo>
                  <a:pt x="1207326" y="713874"/>
                  <a:pt x="1144400" y="1449986"/>
                  <a:pt x="959422" y="2188812"/>
                </a:cubicBezTo>
                <a:cubicBezTo>
                  <a:pt x="925791" y="2318458"/>
                  <a:pt x="892157" y="2450817"/>
                  <a:pt x="858526" y="2575041"/>
                </a:cubicBezTo>
                <a:cubicBezTo>
                  <a:pt x="761969" y="2924924"/>
                  <a:pt x="661071" y="3287829"/>
                  <a:pt x="631777" y="3648020"/>
                </a:cubicBezTo>
                <a:cubicBezTo>
                  <a:pt x="602486" y="4052148"/>
                  <a:pt x="661071" y="4487740"/>
                  <a:pt x="812418" y="5016636"/>
                </a:cubicBezTo>
                <a:cubicBezTo>
                  <a:pt x="1025534" y="5756140"/>
                  <a:pt x="1325868" y="6338653"/>
                  <a:pt x="1743582" y="6827044"/>
                </a:cubicBezTo>
                <a:lnTo>
                  <a:pt x="1771889" y="6858000"/>
                </a:lnTo>
                <a:lnTo>
                  <a:pt x="1751982" y="6858000"/>
                </a:lnTo>
                <a:lnTo>
                  <a:pt x="1729154" y="6833027"/>
                </a:lnTo>
                <a:cubicBezTo>
                  <a:pt x="1308637" y="6341365"/>
                  <a:pt x="1008718" y="5758851"/>
                  <a:pt x="795600" y="5019348"/>
                </a:cubicBezTo>
                <a:cubicBezTo>
                  <a:pt x="644256" y="4487740"/>
                  <a:pt x="585670" y="4052148"/>
                  <a:pt x="614961" y="3648020"/>
                </a:cubicBezTo>
                <a:cubicBezTo>
                  <a:pt x="644256" y="3285116"/>
                  <a:pt x="740813" y="2924924"/>
                  <a:pt x="837370" y="2575041"/>
                </a:cubicBezTo>
                <a:cubicBezTo>
                  <a:pt x="875341" y="2448106"/>
                  <a:pt x="908975" y="2318458"/>
                  <a:pt x="942606" y="2188812"/>
                </a:cubicBezTo>
                <a:cubicBezTo>
                  <a:pt x="1127040" y="1449986"/>
                  <a:pt x="1189966" y="713874"/>
                  <a:pt x="1131381" y="1086"/>
                </a:cubicBezTo>
                <a:close/>
                <a:moveTo>
                  <a:pt x="946947" y="1086"/>
                </a:moveTo>
                <a:lnTo>
                  <a:pt x="968102" y="1086"/>
                </a:lnTo>
                <a:cubicBezTo>
                  <a:pt x="1026685" y="729605"/>
                  <a:pt x="968102" y="1481448"/>
                  <a:pt x="783124" y="2238175"/>
                </a:cubicBezTo>
                <a:cubicBezTo>
                  <a:pt x="749492" y="2365110"/>
                  <a:pt x="715861" y="2494757"/>
                  <a:pt x="682227" y="2618979"/>
                </a:cubicBezTo>
                <a:cubicBezTo>
                  <a:pt x="590010" y="2971576"/>
                  <a:pt x="492911" y="3336650"/>
                  <a:pt x="467957" y="3702263"/>
                </a:cubicBezTo>
                <a:cubicBezTo>
                  <a:pt x="438121" y="4109107"/>
                  <a:pt x="497249" y="4544699"/>
                  <a:pt x="656732" y="5073592"/>
                </a:cubicBezTo>
                <a:cubicBezTo>
                  <a:pt x="842660" y="5705012"/>
                  <a:pt x="1092359" y="6223228"/>
                  <a:pt x="1427113" y="6668060"/>
                </a:cubicBezTo>
                <a:lnTo>
                  <a:pt x="1580273" y="6858000"/>
                </a:lnTo>
                <a:lnTo>
                  <a:pt x="1558574" y="6858000"/>
                </a:lnTo>
                <a:lnTo>
                  <a:pt x="1409772" y="6673398"/>
                </a:lnTo>
                <a:cubicBezTo>
                  <a:pt x="1074967" y="6228313"/>
                  <a:pt x="824759" y="5709081"/>
                  <a:pt x="635576" y="5073592"/>
                </a:cubicBezTo>
                <a:cubicBezTo>
                  <a:pt x="480434" y="4544699"/>
                  <a:pt x="421848" y="4109107"/>
                  <a:pt x="446802" y="3702263"/>
                </a:cubicBezTo>
                <a:cubicBezTo>
                  <a:pt x="472296" y="3336650"/>
                  <a:pt x="573194" y="2968863"/>
                  <a:pt x="665412" y="2616267"/>
                </a:cubicBezTo>
                <a:cubicBezTo>
                  <a:pt x="699043" y="2492044"/>
                  <a:pt x="732677" y="2362398"/>
                  <a:pt x="766308" y="2235463"/>
                </a:cubicBezTo>
                <a:cubicBezTo>
                  <a:pt x="946947" y="1478736"/>
                  <a:pt x="1009869" y="726892"/>
                  <a:pt x="946947" y="1086"/>
                </a:cubicBezTo>
                <a:close/>
                <a:moveTo>
                  <a:pt x="761427" y="1086"/>
                </a:moveTo>
                <a:lnTo>
                  <a:pt x="782582" y="1086"/>
                </a:lnTo>
                <a:cubicBezTo>
                  <a:pt x="845505" y="742082"/>
                  <a:pt x="786920" y="1509656"/>
                  <a:pt x="606284" y="2286996"/>
                </a:cubicBezTo>
                <a:cubicBezTo>
                  <a:pt x="576991" y="2411218"/>
                  <a:pt x="543358" y="2538153"/>
                  <a:pt x="509728" y="2660207"/>
                </a:cubicBezTo>
                <a:cubicBezTo>
                  <a:pt x="417510" y="3017686"/>
                  <a:pt x="320950" y="3386011"/>
                  <a:pt x="299795" y="3756510"/>
                </a:cubicBezTo>
                <a:cubicBezTo>
                  <a:pt x="274843" y="4158470"/>
                  <a:pt x="337766" y="4607080"/>
                  <a:pt x="497249" y="5127839"/>
                </a:cubicBezTo>
                <a:cubicBezTo>
                  <a:pt x="689686" y="5761292"/>
                  <a:pt x="943147" y="6280016"/>
                  <a:pt x="1281208" y="6724974"/>
                </a:cubicBezTo>
                <a:lnTo>
                  <a:pt x="1389455" y="6858000"/>
                </a:lnTo>
                <a:lnTo>
                  <a:pt x="1370500" y="6858000"/>
                </a:lnTo>
                <a:lnTo>
                  <a:pt x="1265918" y="6730051"/>
                </a:lnTo>
                <a:cubicBezTo>
                  <a:pt x="926129" y="6284458"/>
                  <a:pt x="672463" y="5764412"/>
                  <a:pt x="480434" y="5130551"/>
                </a:cubicBezTo>
                <a:cubicBezTo>
                  <a:pt x="320950" y="4609794"/>
                  <a:pt x="258027" y="4159012"/>
                  <a:pt x="282979" y="3757052"/>
                </a:cubicBezTo>
                <a:cubicBezTo>
                  <a:pt x="304134" y="3386555"/>
                  <a:pt x="400692" y="3015514"/>
                  <a:pt x="492911" y="2658035"/>
                </a:cubicBezTo>
                <a:cubicBezTo>
                  <a:pt x="526542" y="2535984"/>
                  <a:pt x="555835" y="2409049"/>
                  <a:pt x="585128" y="2284827"/>
                </a:cubicBezTo>
                <a:cubicBezTo>
                  <a:pt x="769561" y="1509656"/>
                  <a:pt x="828691" y="739910"/>
                  <a:pt x="761427" y="1086"/>
                </a:cubicBezTo>
                <a:close/>
                <a:moveTo>
                  <a:pt x="581330" y="1086"/>
                </a:moveTo>
                <a:lnTo>
                  <a:pt x="598146" y="1086"/>
                </a:lnTo>
                <a:cubicBezTo>
                  <a:pt x="669751" y="755100"/>
                  <a:pt x="611166" y="1540576"/>
                  <a:pt x="426187" y="2336360"/>
                </a:cubicBezTo>
                <a:cubicBezTo>
                  <a:pt x="400692" y="2458412"/>
                  <a:pt x="367060" y="2582635"/>
                  <a:pt x="337766" y="2701975"/>
                </a:cubicBezTo>
                <a:cubicBezTo>
                  <a:pt x="245548" y="3062166"/>
                  <a:pt x="153332" y="3438088"/>
                  <a:pt x="132176" y="3808585"/>
                </a:cubicBezTo>
                <a:cubicBezTo>
                  <a:pt x="111020" y="4215427"/>
                  <a:pt x="178284" y="4664039"/>
                  <a:pt x="337766" y="5184796"/>
                </a:cubicBezTo>
                <a:cubicBezTo>
                  <a:pt x="533051" y="5818251"/>
                  <a:pt x="792108" y="6336974"/>
                  <a:pt x="1136221" y="6781932"/>
                </a:cubicBezTo>
                <a:lnTo>
                  <a:pt x="1199192" y="6858000"/>
                </a:lnTo>
                <a:lnTo>
                  <a:pt x="1178104" y="6858000"/>
                </a:lnTo>
                <a:lnTo>
                  <a:pt x="1119405" y="6787010"/>
                </a:lnTo>
                <a:cubicBezTo>
                  <a:pt x="775293" y="6341416"/>
                  <a:pt x="516235" y="5821370"/>
                  <a:pt x="320950" y="5187509"/>
                </a:cubicBezTo>
                <a:cubicBezTo>
                  <a:pt x="161469" y="4666751"/>
                  <a:pt x="94204" y="4215427"/>
                  <a:pt x="115360" y="3808585"/>
                </a:cubicBezTo>
                <a:cubicBezTo>
                  <a:pt x="135974" y="3435376"/>
                  <a:pt x="228733" y="3062166"/>
                  <a:pt x="320950" y="2699264"/>
                </a:cubicBezTo>
                <a:cubicBezTo>
                  <a:pt x="350786" y="2579922"/>
                  <a:pt x="380078" y="2455700"/>
                  <a:pt x="409371" y="2333648"/>
                </a:cubicBezTo>
                <a:cubicBezTo>
                  <a:pt x="593806" y="1538406"/>
                  <a:pt x="648596" y="752930"/>
                  <a:pt x="581330" y="1086"/>
                </a:cubicBezTo>
                <a:close/>
                <a:moveTo>
                  <a:pt x="211917" y="1086"/>
                </a:moveTo>
                <a:lnTo>
                  <a:pt x="228733" y="1086"/>
                </a:lnTo>
                <a:cubicBezTo>
                  <a:pt x="228733" y="21699"/>
                  <a:pt x="233074" y="45025"/>
                  <a:pt x="233074" y="65638"/>
                </a:cubicBezTo>
                <a:cubicBezTo>
                  <a:pt x="304677" y="825076"/>
                  <a:pt x="249888" y="1620859"/>
                  <a:pt x="73591" y="2432375"/>
                </a:cubicBezTo>
                <a:lnTo>
                  <a:pt x="0" y="2740979"/>
                </a:lnTo>
                <a:lnTo>
                  <a:pt x="0" y="2669289"/>
                </a:lnTo>
                <a:lnTo>
                  <a:pt x="14734" y="2608334"/>
                </a:lnTo>
                <a:cubicBezTo>
                  <a:pt x="28431" y="2549681"/>
                  <a:pt x="42128" y="2490688"/>
                  <a:pt x="56774" y="2432375"/>
                </a:cubicBezTo>
                <a:cubicBezTo>
                  <a:pt x="233074" y="1620859"/>
                  <a:pt x="287861" y="825076"/>
                  <a:pt x="216257" y="65638"/>
                </a:cubicBezTo>
                <a:cubicBezTo>
                  <a:pt x="216257" y="45025"/>
                  <a:pt x="211917" y="21699"/>
                  <a:pt x="211917" y="1086"/>
                </a:cubicBezTo>
                <a:close/>
                <a:moveTo>
                  <a:pt x="3332125" y="544"/>
                </a:moveTo>
                <a:lnTo>
                  <a:pt x="3348941" y="544"/>
                </a:lnTo>
                <a:cubicBezTo>
                  <a:pt x="3348941" y="537033"/>
                  <a:pt x="3264860" y="1076233"/>
                  <a:pt x="3088562" y="1605129"/>
                </a:cubicBezTo>
                <a:cubicBezTo>
                  <a:pt x="3038114" y="1755389"/>
                  <a:pt x="2983870" y="1905650"/>
                  <a:pt x="2929079" y="2051028"/>
                </a:cubicBezTo>
                <a:cubicBezTo>
                  <a:pt x="2811367" y="2359686"/>
                  <a:pt x="2694196" y="2680819"/>
                  <a:pt x="2639409" y="3002496"/>
                </a:cubicBezTo>
                <a:cubicBezTo>
                  <a:pt x="2576485" y="3383842"/>
                  <a:pt x="2597639" y="3798279"/>
                  <a:pt x="2711012" y="4340193"/>
                </a:cubicBezTo>
                <a:cubicBezTo>
                  <a:pt x="2887310" y="5197816"/>
                  <a:pt x="3168845" y="5814588"/>
                  <a:pt x="3622339" y="6346196"/>
                </a:cubicBezTo>
                <a:cubicBezTo>
                  <a:pt x="3740052" y="6480725"/>
                  <a:pt x="3870240" y="6615797"/>
                  <a:pt x="4017247" y="6742732"/>
                </a:cubicBezTo>
                <a:lnTo>
                  <a:pt x="4153244" y="6858000"/>
                </a:lnTo>
                <a:lnTo>
                  <a:pt x="4131719" y="6858000"/>
                </a:lnTo>
                <a:lnTo>
                  <a:pt x="4000431" y="6747070"/>
                </a:lnTo>
                <a:cubicBezTo>
                  <a:pt x="3857764" y="6620136"/>
                  <a:pt x="3723235" y="6485064"/>
                  <a:pt x="3605523" y="6350535"/>
                </a:cubicBezTo>
                <a:cubicBezTo>
                  <a:pt x="3152029" y="5819472"/>
                  <a:pt x="2870494" y="5199986"/>
                  <a:pt x="2694196" y="4341820"/>
                </a:cubicBezTo>
                <a:cubicBezTo>
                  <a:pt x="2580823" y="3797737"/>
                  <a:pt x="2559668" y="3382757"/>
                  <a:pt x="2622594" y="3001954"/>
                </a:cubicBezTo>
                <a:cubicBezTo>
                  <a:pt x="2676838" y="2678108"/>
                  <a:pt x="2794551" y="2356973"/>
                  <a:pt x="2912265" y="2048314"/>
                </a:cubicBezTo>
                <a:cubicBezTo>
                  <a:pt x="2966509" y="1902938"/>
                  <a:pt x="3021297" y="1752677"/>
                  <a:pt x="3071746" y="1602417"/>
                </a:cubicBezTo>
                <a:cubicBezTo>
                  <a:pt x="3243705" y="1073522"/>
                  <a:pt x="3332125" y="537033"/>
                  <a:pt x="3332125" y="544"/>
                </a:cubicBezTo>
                <a:close/>
                <a:moveTo>
                  <a:pt x="26939" y="544"/>
                </a:moveTo>
                <a:lnTo>
                  <a:pt x="43756" y="544"/>
                </a:lnTo>
                <a:cubicBezTo>
                  <a:pt x="47552" y="36888"/>
                  <a:pt x="51892" y="70520"/>
                  <a:pt x="51892" y="106864"/>
                </a:cubicBezTo>
                <a:cubicBezTo>
                  <a:pt x="105596" y="676444"/>
                  <a:pt x="88203" y="1267992"/>
                  <a:pt x="3605" y="1872585"/>
                </a:cubicBezTo>
                <a:lnTo>
                  <a:pt x="0" y="1893117"/>
                </a:lnTo>
                <a:lnTo>
                  <a:pt x="0" y="1720977"/>
                </a:lnTo>
                <a:lnTo>
                  <a:pt x="46671" y="1272332"/>
                </a:lnTo>
                <a:cubicBezTo>
                  <a:pt x="72912" y="876068"/>
                  <a:pt x="68708" y="486584"/>
                  <a:pt x="35076" y="106864"/>
                </a:cubicBezTo>
                <a:cubicBezTo>
                  <a:pt x="31279" y="70520"/>
                  <a:pt x="31279" y="36888"/>
                  <a:pt x="26939" y="544"/>
                </a:cubicBezTo>
                <a:close/>
                <a:moveTo>
                  <a:pt x="3513847" y="0"/>
                </a:moveTo>
                <a:lnTo>
                  <a:pt x="3530663" y="0"/>
                </a:lnTo>
                <a:cubicBezTo>
                  <a:pt x="3526324" y="520759"/>
                  <a:pt x="3437903" y="1042060"/>
                  <a:pt x="3265944" y="1555224"/>
                </a:cubicBezTo>
                <a:cubicBezTo>
                  <a:pt x="3215497" y="1706025"/>
                  <a:pt x="3156911" y="1858456"/>
                  <a:pt x="3102124" y="2003834"/>
                </a:cubicBezTo>
                <a:cubicBezTo>
                  <a:pt x="2984412" y="2311950"/>
                  <a:pt x="2862900" y="2628201"/>
                  <a:pt x="2808112" y="2947165"/>
                </a:cubicBezTo>
                <a:cubicBezTo>
                  <a:pt x="2740848" y="3328513"/>
                  <a:pt x="2762003" y="3740778"/>
                  <a:pt x="2871036" y="4284862"/>
                </a:cubicBezTo>
                <a:cubicBezTo>
                  <a:pt x="3038657" y="5140315"/>
                  <a:pt x="3315851" y="5759800"/>
                  <a:pt x="3765548" y="6288695"/>
                </a:cubicBezTo>
                <a:cubicBezTo>
                  <a:pt x="3878920" y="6423224"/>
                  <a:pt x="4009110" y="6558296"/>
                  <a:pt x="4151774" y="6685231"/>
                </a:cubicBezTo>
                <a:cubicBezTo>
                  <a:pt x="4207987" y="6735137"/>
                  <a:pt x="4266555" y="6784679"/>
                  <a:pt x="4327448" y="6833830"/>
                </a:cubicBezTo>
                <a:lnTo>
                  <a:pt x="4358784" y="6858000"/>
                </a:lnTo>
                <a:lnTo>
                  <a:pt x="4338751" y="6858000"/>
                </a:lnTo>
                <a:lnTo>
                  <a:pt x="4314974" y="6839584"/>
                </a:lnTo>
                <a:cubicBezTo>
                  <a:pt x="4254081" y="6790187"/>
                  <a:pt x="4195513" y="6740357"/>
                  <a:pt x="4139300" y="6690112"/>
                </a:cubicBezTo>
                <a:cubicBezTo>
                  <a:pt x="3996633" y="6563177"/>
                  <a:pt x="3862105" y="6428107"/>
                  <a:pt x="3748732" y="6293577"/>
                </a:cubicBezTo>
                <a:cubicBezTo>
                  <a:pt x="3299578" y="5762513"/>
                  <a:pt x="3021841" y="5143028"/>
                  <a:pt x="2849882" y="4284862"/>
                </a:cubicBezTo>
                <a:cubicBezTo>
                  <a:pt x="2740848" y="3740236"/>
                  <a:pt x="2724032" y="3327971"/>
                  <a:pt x="2791295" y="2947165"/>
                </a:cubicBezTo>
                <a:cubicBezTo>
                  <a:pt x="2846085" y="2626031"/>
                  <a:pt x="2967596" y="2309779"/>
                  <a:pt x="3085308" y="2001123"/>
                </a:cubicBezTo>
                <a:cubicBezTo>
                  <a:pt x="3140095" y="1855744"/>
                  <a:pt x="3198680" y="1702771"/>
                  <a:pt x="3249128" y="1555224"/>
                </a:cubicBezTo>
                <a:cubicBezTo>
                  <a:pt x="3421629" y="1042060"/>
                  <a:pt x="3509508" y="520759"/>
                  <a:pt x="3513847" y="0"/>
                </a:cubicBezTo>
                <a:close/>
              </a:path>
            </a:pathLst>
          </a:custGeom>
          <a:solidFill>
            <a:schemeClr val="tx2">
              <a:alpha val="1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799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8CF4C9E-5282-4384-A944-CFD478965D19}"/>
              </a:ext>
            </a:extLst>
          </p:cNvPr>
          <p:cNvSpPr/>
          <p:nvPr/>
        </p:nvSpPr>
        <p:spPr>
          <a:xfrm>
            <a:off x="0" y="-2868"/>
            <a:ext cx="4951525" cy="6860868"/>
          </a:xfrm>
          <a:custGeom>
            <a:avLst/>
            <a:gdLst>
              <a:gd name="connsiteX0" fmla="*/ 4386826 w 4951525"/>
              <a:gd name="connsiteY0" fmla="*/ 0 h 6860868"/>
              <a:gd name="connsiteX1" fmla="*/ 4830606 w 4951525"/>
              <a:gd name="connsiteY1" fmla="*/ 6695429 h 6860868"/>
              <a:gd name="connsiteX2" fmla="*/ 4951525 w 4951525"/>
              <a:gd name="connsiteY2" fmla="*/ 6860868 h 6860868"/>
              <a:gd name="connsiteX3" fmla="*/ 0 w 4951525"/>
              <a:gd name="connsiteY3" fmla="*/ 6860868 h 6860868"/>
              <a:gd name="connsiteX4" fmla="*/ 0 w 4951525"/>
              <a:gd name="connsiteY4" fmla="*/ 2905 h 6860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1525" h="6860868">
                <a:moveTo>
                  <a:pt x="4386826" y="0"/>
                </a:moveTo>
                <a:cubicBezTo>
                  <a:pt x="5165363" y="2561287"/>
                  <a:pt x="3038487" y="4101959"/>
                  <a:pt x="4830606" y="6695429"/>
                </a:cubicBezTo>
                <a:lnTo>
                  <a:pt x="4951525" y="6860868"/>
                </a:lnTo>
                <a:lnTo>
                  <a:pt x="0" y="6860868"/>
                </a:lnTo>
                <a:lnTo>
                  <a:pt x="0" y="2905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5825288-4DA3-465F-8A78-ECB0B86A40C3}"/>
              </a:ext>
            </a:extLst>
          </p:cNvPr>
          <p:cNvSpPr/>
          <p:nvPr/>
        </p:nvSpPr>
        <p:spPr>
          <a:xfrm>
            <a:off x="0" y="0"/>
            <a:ext cx="4951525" cy="6860868"/>
          </a:xfrm>
          <a:custGeom>
            <a:avLst/>
            <a:gdLst>
              <a:gd name="connsiteX0" fmla="*/ 4386826 w 4951525"/>
              <a:gd name="connsiteY0" fmla="*/ 0 h 6860868"/>
              <a:gd name="connsiteX1" fmla="*/ 4830606 w 4951525"/>
              <a:gd name="connsiteY1" fmla="*/ 6695429 h 6860868"/>
              <a:gd name="connsiteX2" fmla="*/ 4951525 w 4951525"/>
              <a:gd name="connsiteY2" fmla="*/ 6860868 h 6860868"/>
              <a:gd name="connsiteX3" fmla="*/ 0 w 4951525"/>
              <a:gd name="connsiteY3" fmla="*/ 6860868 h 6860868"/>
              <a:gd name="connsiteX4" fmla="*/ 0 w 4951525"/>
              <a:gd name="connsiteY4" fmla="*/ 2905 h 6860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1525" h="6860868">
                <a:moveTo>
                  <a:pt x="4386826" y="0"/>
                </a:moveTo>
                <a:cubicBezTo>
                  <a:pt x="5165363" y="2561287"/>
                  <a:pt x="3038487" y="4101959"/>
                  <a:pt x="4830606" y="6695429"/>
                </a:cubicBezTo>
                <a:lnTo>
                  <a:pt x="4951525" y="6860868"/>
                </a:lnTo>
                <a:lnTo>
                  <a:pt x="0" y="6860868"/>
                </a:lnTo>
                <a:lnTo>
                  <a:pt x="0" y="2905"/>
                </a:lnTo>
                <a:close/>
              </a:path>
            </a:pathLst>
          </a:custGeom>
          <a:gradFill>
            <a:gsLst>
              <a:gs pos="33000">
                <a:srgbClr val="3EB6AD">
                  <a:lumMod val="100000"/>
                  <a:alpha val="0"/>
                </a:srgbClr>
              </a:gs>
              <a:gs pos="0">
                <a:srgbClr val="3BCCFF">
                  <a:lumMod val="45000"/>
                  <a:alpha val="46000"/>
                </a:srgb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06B9D0E-8C9B-4109-AFF5-A7240534E9BA}"/>
              </a:ext>
            </a:extLst>
          </p:cNvPr>
          <p:cNvSpPr/>
          <p:nvPr/>
        </p:nvSpPr>
        <p:spPr>
          <a:xfrm>
            <a:off x="4021995" y="0"/>
            <a:ext cx="1162537" cy="6858000"/>
          </a:xfrm>
          <a:custGeom>
            <a:avLst/>
            <a:gdLst>
              <a:gd name="connsiteX0" fmla="*/ 1117940 w 1117940"/>
              <a:gd name="connsiteY0" fmla="*/ 0 h 6858000"/>
              <a:gd name="connsiteX1" fmla="*/ 889340 w 1117940"/>
              <a:gd name="connsiteY1" fmla="*/ 1168400 h 6858000"/>
              <a:gd name="connsiteX2" fmla="*/ 178140 w 1117940"/>
              <a:gd name="connsiteY2" fmla="*/ 3048000 h 6858000"/>
              <a:gd name="connsiteX3" fmla="*/ 340 w 1117940"/>
              <a:gd name="connsiteY3" fmla="*/ 4343400 h 6858000"/>
              <a:gd name="connsiteX4" fmla="*/ 203540 w 1117940"/>
              <a:gd name="connsiteY4" fmla="*/ 5613400 h 6858000"/>
              <a:gd name="connsiteX5" fmla="*/ 1003640 w 111794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7940" h="6858000">
                <a:moveTo>
                  <a:pt x="1117940" y="0"/>
                </a:moveTo>
                <a:cubicBezTo>
                  <a:pt x="1081956" y="330200"/>
                  <a:pt x="1045973" y="660400"/>
                  <a:pt x="889340" y="1168400"/>
                </a:cubicBezTo>
                <a:cubicBezTo>
                  <a:pt x="732707" y="1676400"/>
                  <a:pt x="326307" y="2518833"/>
                  <a:pt x="178140" y="3048000"/>
                </a:cubicBezTo>
                <a:cubicBezTo>
                  <a:pt x="29973" y="3577167"/>
                  <a:pt x="-3893" y="3915833"/>
                  <a:pt x="340" y="4343400"/>
                </a:cubicBezTo>
                <a:cubicBezTo>
                  <a:pt x="4573" y="4770967"/>
                  <a:pt x="36323" y="5194300"/>
                  <a:pt x="203540" y="5613400"/>
                </a:cubicBezTo>
                <a:cubicBezTo>
                  <a:pt x="370757" y="6032500"/>
                  <a:pt x="687198" y="6445250"/>
                  <a:pt x="1003640" y="6858000"/>
                </a:cubicBezTo>
              </a:path>
            </a:pathLst>
          </a:cu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D2E57840-A944-4D4D-95A2-6D75D6106F5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7446" y="404132"/>
            <a:ext cx="1099754" cy="464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468254"/>
      </p:ext>
    </p:extLst>
  </p:cSld>
  <p:clrMapOvr>
    <a:masterClrMapping/>
  </p:clrMapOvr>
  <p:hf sldNum="0"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1EF8CAB-74EE-F5E0-2A98-D49729C573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000" t="1" b="49999"/>
          <a:stretch/>
        </p:blipFill>
        <p:spPr>
          <a:xfrm>
            <a:off x="6096001" y="0"/>
            <a:ext cx="6095999" cy="3429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83521D-ED5D-D5DB-16FA-CD1B1203DF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3283" r="87659"/>
          <a:stretch/>
        </p:blipFill>
        <p:spPr>
          <a:xfrm>
            <a:off x="1" y="5731979"/>
            <a:ext cx="1504645" cy="1146408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9381EED1-F8B1-76DD-2AF9-959C65437FF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1355" y="9452"/>
            <a:ext cx="2286000" cy="2286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1D23ADF4-87AF-5693-9986-341478D502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4180"/>
          <a:stretch/>
        </p:blipFill>
        <p:spPr>
          <a:xfrm>
            <a:off x="10687352" y="9452"/>
            <a:ext cx="1504649" cy="2286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E5EE104-2241-C262-895C-BCA7691340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4180" b="50186"/>
          <a:stretch/>
        </p:blipFill>
        <p:spPr>
          <a:xfrm rot="10800000">
            <a:off x="-2" y="5731980"/>
            <a:ext cx="1504649" cy="11387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7285C8-D51D-91BB-C356-908E67607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9" y="841248"/>
            <a:ext cx="10479024" cy="557784"/>
          </a:xfrm>
        </p:spPr>
        <p:txBody>
          <a:bodyPr anchor="t"/>
          <a:lstStyle>
            <a:lvl1pPr>
              <a:defRPr sz="1999" cap="all" spc="3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2">
            <a:extLst>
              <a:ext uri="{FF2B5EF4-FFF2-40B4-BE49-F238E27FC236}">
                <a16:creationId xmlns:a16="http://schemas.microsoft.com/office/drawing/2014/main" id="{19B7E7AC-A0E6-BE9A-4728-8FE036CF353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41248" y="1536829"/>
            <a:ext cx="6556375" cy="4479925"/>
          </a:xfrm>
        </p:spPr>
        <p:txBody>
          <a:bodyPr>
            <a:normAutofit/>
          </a:bodyPr>
          <a:lstStyle>
            <a:lvl1pPr>
              <a:lnSpc>
                <a:spcPct val="140000"/>
              </a:lnSpc>
              <a:spcAft>
                <a:spcPts val="0"/>
              </a:spcAft>
              <a:defRPr sz="2799"/>
            </a:lvl1pPr>
            <a:lvl2pPr>
              <a:defRPr sz="2799"/>
            </a:lvl2pPr>
            <a:lvl3pPr>
              <a:defRPr sz="2399"/>
            </a:lvl3pPr>
            <a:lvl4pPr>
              <a:defRPr sz="2399"/>
            </a:lvl4pPr>
            <a:lvl5pPr>
              <a:defRPr sz="19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4D0E8A-D840-3B34-461F-395ACC9FA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FOOTER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8E551C-14F1-4049-29C9-7A53E172F8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7B645E-C5E5-4727-B977-D372A0AA71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0385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MM Blank w-logo + footer 20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67063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3D836C19-325E-4D05-B17A-60BDD8BFE9D2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8202A46-FF1E-4C41-B7BB-D3253E8CC4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819" r="3583"/>
            <a:stretch/>
          </p:blipFill>
          <p:spPr>
            <a:xfrm>
              <a:off x="1848915" y="-445"/>
              <a:ext cx="8588527" cy="6858000"/>
            </a:xfrm>
            <a:custGeom>
              <a:avLst/>
              <a:gdLst>
                <a:gd name="connsiteX0" fmla="*/ 4214516 w 8588527"/>
                <a:gd name="connsiteY0" fmla="*/ 0 h 6858000"/>
                <a:gd name="connsiteX1" fmla="*/ 8588527 w 8588527"/>
                <a:gd name="connsiteY1" fmla="*/ 0 h 6858000"/>
                <a:gd name="connsiteX2" fmla="*/ 4374012 w 8588527"/>
                <a:gd name="connsiteY2" fmla="*/ 6858000 h 6858000"/>
                <a:gd name="connsiteX3" fmla="*/ 0 w 8588527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8527" h="6858000">
                  <a:moveTo>
                    <a:pt x="4214516" y="0"/>
                  </a:moveTo>
                  <a:lnTo>
                    <a:pt x="8588527" y="0"/>
                  </a:lnTo>
                  <a:lnTo>
                    <a:pt x="4374012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92FB9AC-E902-4C6A-A3B8-30BF08A199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00240" y="-445"/>
              <a:ext cx="5791760" cy="6858001"/>
            </a:xfrm>
            <a:custGeom>
              <a:avLst/>
              <a:gdLst>
                <a:gd name="connsiteX0" fmla="*/ 4214516 w 5791760"/>
                <a:gd name="connsiteY0" fmla="*/ 0 h 6858001"/>
                <a:gd name="connsiteX1" fmla="*/ 5791760 w 5791760"/>
                <a:gd name="connsiteY1" fmla="*/ 0 h 6858001"/>
                <a:gd name="connsiteX2" fmla="*/ 5791760 w 5791760"/>
                <a:gd name="connsiteY2" fmla="*/ 6858001 h 6858001"/>
                <a:gd name="connsiteX3" fmla="*/ 0 w 5791760"/>
                <a:gd name="connsiteY3" fmla="*/ 685800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91760" h="6858001">
                  <a:moveTo>
                    <a:pt x="4214516" y="0"/>
                  </a:moveTo>
                  <a:lnTo>
                    <a:pt x="5791760" y="0"/>
                  </a:lnTo>
                  <a:lnTo>
                    <a:pt x="5791760" y="6858001"/>
                  </a:lnTo>
                  <a:lnTo>
                    <a:pt x="0" y="6858001"/>
                  </a:lnTo>
                  <a:close/>
                </a:path>
              </a:pathLst>
            </a:custGeom>
          </p:spPr>
        </p:pic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92C37757-EC79-4D6B-A6A2-6518CA3C77AC}"/>
                </a:ext>
              </a:extLst>
            </p:cNvPr>
            <p:cNvSpPr/>
            <p:nvPr userDrawn="1"/>
          </p:nvSpPr>
          <p:spPr>
            <a:xfrm>
              <a:off x="0" y="-889"/>
              <a:ext cx="5886389" cy="6858889"/>
            </a:xfrm>
            <a:custGeom>
              <a:avLst/>
              <a:gdLst>
                <a:gd name="connsiteX0" fmla="*/ 0 w 5886389"/>
                <a:gd name="connsiteY0" fmla="*/ 0 h 6858889"/>
                <a:gd name="connsiteX1" fmla="*/ 1512377 w 5886389"/>
                <a:gd name="connsiteY1" fmla="*/ 0 h 6858889"/>
                <a:gd name="connsiteX2" fmla="*/ 3534491 w 5886389"/>
                <a:gd name="connsiteY2" fmla="*/ 0 h 6858889"/>
                <a:gd name="connsiteX3" fmla="*/ 5886389 w 5886389"/>
                <a:gd name="connsiteY3" fmla="*/ 0 h 6858889"/>
                <a:gd name="connsiteX4" fmla="*/ 1671327 w 5886389"/>
                <a:gd name="connsiteY4" fmla="*/ 6858889 h 6858889"/>
                <a:gd name="connsiteX5" fmla="*/ 0 w 5886389"/>
                <a:gd name="connsiteY5" fmla="*/ 6858889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86389" h="6858889">
                  <a:moveTo>
                    <a:pt x="0" y="0"/>
                  </a:moveTo>
                  <a:lnTo>
                    <a:pt x="1512377" y="0"/>
                  </a:lnTo>
                  <a:lnTo>
                    <a:pt x="3534491" y="0"/>
                  </a:lnTo>
                  <a:lnTo>
                    <a:pt x="5886389" y="0"/>
                  </a:lnTo>
                  <a:lnTo>
                    <a:pt x="1671327" y="6858889"/>
                  </a:lnTo>
                  <a:lnTo>
                    <a:pt x="0" y="6858889"/>
                  </a:lnTo>
                  <a:close/>
                </a:path>
              </a:pathLst>
            </a:custGeom>
            <a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r="7427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6" name="Freeform 5">
            <a:extLst>
              <a:ext uri="{FF2B5EF4-FFF2-40B4-BE49-F238E27FC236}">
                <a16:creationId xmlns:a16="http://schemas.microsoft.com/office/drawing/2014/main" id="{A1BB62C4-AB8C-2542-AB50-208EADCC4FCF}"/>
              </a:ext>
            </a:extLst>
          </p:cNvPr>
          <p:cNvSpPr/>
          <p:nvPr userDrawn="1"/>
        </p:nvSpPr>
        <p:spPr>
          <a:xfrm>
            <a:off x="-2" y="0"/>
            <a:ext cx="9667345" cy="6858889"/>
          </a:xfrm>
          <a:custGeom>
            <a:avLst/>
            <a:gdLst>
              <a:gd name="connsiteX0" fmla="*/ 0 w 9667345"/>
              <a:gd name="connsiteY0" fmla="*/ 6810685 h 6858889"/>
              <a:gd name="connsiteX1" fmla="*/ 59283 w 9667345"/>
              <a:gd name="connsiteY1" fmla="*/ 6858456 h 6858889"/>
              <a:gd name="connsiteX2" fmla="*/ 39402 w 9667345"/>
              <a:gd name="connsiteY2" fmla="*/ 6858456 h 6858889"/>
              <a:gd name="connsiteX3" fmla="*/ 0 w 9667345"/>
              <a:gd name="connsiteY3" fmla="*/ 6827674 h 6858889"/>
              <a:gd name="connsiteX4" fmla="*/ 0 w 9667345"/>
              <a:gd name="connsiteY4" fmla="*/ 6672270 h 6858889"/>
              <a:gd name="connsiteX5" fmla="*/ 80461 w 9667345"/>
              <a:gd name="connsiteY5" fmla="*/ 6741333 h 6858889"/>
              <a:gd name="connsiteX6" fmla="*/ 232159 w 9667345"/>
              <a:gd name="connsiteY6" fmla="*/ 6857592 h 6858889"/>
              <a:gd name="connsiteX7" fmla="*/ 213144 w 9667345"/>
              <a:gd name="connsiteY7" fmla="*/ 6857592 h 6858889"/>
              <a:gd name="connsiteX8" fmla="*/ 70519 w 9667345"/>
              <a:gd name="connsiteY8" fmla="*/ 6747384 h 6858889"/>
              <a:gd name="connsiteX9" fmla="*/ 0 w 9667345"/>
              <a:gd name="connsiteY9" fmla="*/ 6686879 h 6858889"/>
              <a:gd name="connsiteX10" fmla="*/ 0 w 9667345"/>
              <a:gd name="connsiteY10" fmla="*/ 6527854 h 6858889"/>
              <a:gd name="connsiteX11" fmla="*/ 2977 w 9667345"/>
              <a:gd name="connsiteY11" fmla="*/ 6530761 h 6858889"/>
              <a:gd name="connsiteX12" fmla="*/ 194126 w 9667345"/>
              <a:gd name="connsiteY12" fmla="*/ 6695952 h 6858889"/>
              <a:gd name="connsiteX13" fmla="*/ 404173 w 9667345"/>
              <a:gd name="connsiteY13" fmla="*/ 6858024 h 6858889"/>
              <a:gd name="connsiteX14" fmla="*/ 386452 w 9667345"/>
              <a:gd name="connsiteY14" fmla="*/ 6858024 h 6858889"/>
              <a:gd name="connsiteX15" fmla="*/ 180728 w 9667345"/>
              <a:gd name="connsiteY15" fmla="*/ 6702435 h 6858889"/>
              <a:gd name="connsiteX16" fmla="*/ 0 w 9667345"/>
              <a:gd name="connsiteY16" fmla="*/ 6545608 h 6858889"/>
              <a:gd name="connsiteX17" fmla="*/ 0 w 9667345"/>
              <a:gd name="connsiteY17" fmla="*/ 6370764 h 6858889"/>
              <a:gd name="connsiteX18" fmla="*/ 116037 w 9667345"/>
              <a:gd name="connsiteY18" fmla="*/ 6485384 h 6858889"/>
              <a:gd name="connsiteX19" fmla="*/ 304768 w 9667345"/>
              <a:gd name="connsiteY19" fmla="*/ 6650572 h 6858889"/>
              <a:gd name="connsiteX20" fmla="*/ 578345 w 9667345"/>
              <a:gd name="connsiteY20" fmla="*/ 6858024 h 6858889"/>
              <a:gd name="connsiteX21" fmla="*/ 559329 w 9667345"/>
              <a:gd name="connsiteY21" fmla="*/ 6858024 h 6858889"/>
              <a:gd name="connsiteX22" fmla="*/ 294395 w 9667345"/>
              <a:gd name="connsiteY22" fmla="*/ 6657055 h 6858889"/>
              <a:gd name="connsiteX23" fmla="*/ 104541 w 9667345"/>
              <a:gd name="connsiteY23" fmla="*/ 6491293 h 6858889"/>
              <a:gd name="connsiteX24" fmla="*/ 0 w 9667345"/>
              <a:gd name="connsiteY24" fmla="*/ 6388228 h 6858889"/>
              <a:gd name="connsiteX25" fmla="*/ 0 w 9667345"/>
              <a:gd name="connsiteY25" fmla="*/ 6202503 h 6858889"/>
              <a:gd name="connsiteX26" fmla="*/ 55211 w 9667345"/>
              <a:gd name="connsiteY26" fmla="*/ 6264794 h 6858889"/>
              <a:gd name="connsiteX27" fmla="*/ 418434 w 9667345"/>
              <a:gd name="connsiteY27" fmla="*/ 6605192 h 6858889"/>
              <a:gd name="connsiteX28" fmla="*/ 754680 w 9667345"/>
              <a:gd name="connsiteY28" fmla="*/ 6857592 h 6858889"/>
              <a:gd name="connsiteX29" fmla="*/ 735663 w 9667345"/>
              <a:gd name="connsiteY29" fmla="*/ 6857592 h 6858889"/>
              <a:gd name="connsiteX30" fmla="*/ 408494 w 9667345"/>
              <a:gd name="connsiteY30" fmla="*/ 6611243 h 6858889"/>
              <a:gd name="connsiteX31" fmla="*/ 43521 w 9667345"/>
              <a:gd name="connsiteY31" fmla="*/ 6269568 h 6858889"/>
              <a:gd name="connsiteX32" fmla="*/ 0 w 9667345"/>
              <a:gd name="connsiteY32" fmla="*/ 6220508 h 6858889"/>
              <a:gd name="connsiteX33" fmla="*/ 0 w 9667345"/>
              <a:gd name="connsiteY33" fmla="*/ 6024018 h 6858889"/>
              <a:gd name="connsiteX34" fmla="*/ 8034 w 9667345"/>
              <a:gd name="connsiteY34" fmla="*/ 6034410 h 6858889"/>
              <a:gd name="connsiteX35" fmla="*/ 529076 w 9667345"/>
              <a:gd name="connsiteY35" fmla="*/ 6559812 h 6858889"/>
              <a:gd name="connsiteX36" fmla="*/ 932743 w 9667345"/>
              <a:gd name="connsiteY36" fmla="*/ 6858024 h 6858889"/>
              <a:gd name="connsiteX37" fmla="*/ 913294 w 9667345"/>
              <a:gd name="connsiteY37" fmla="*/ 6858024 h 6858889"/>
              <a:gd name="connsiteX38" fmla="*/ 519135 w 9667345"/>
              <a:gd name="connsiteY38" fmla="*/ 6564134 h 6858889"/>
              <a:gd name="connsiteX39" fmla="*/ 158491 w 9667345"/>
              <a:gd name="connsiteY39" fmla="*/ 6223702 h 6858889"/>
              <a:gd name="connsiteX40" fmla="*/ 0 w 9667345"/>
              <a:gd name="connsiteY40" fmla="*/ 6043322 h 6858889"/>
              <a:gd name="connsiteX41" fmla="*/ 0 w 9667345"/>
              <a:gd name="connsiteY41" fmla="*/ 5825690 h 6858889"/>
              <a:gd name="connsiteX42" fmla="*/ 125453 w 9667345"/>
              <a:gd name="connsiteY42" fmla="*/ 5989143 h 6858889"/>
              <a:gd name="connsiteX43" fmla="*/ 642743 w 9667345"/>
              <a:gd name="connsiteY43" fmla="*/ 6514432 h 6858889"/>
              <a:gd name="connsiteX44" fmla="*/ 1051163 w 9667345"/>
              <a:gd name="connsiteY44" fmla="*/ 6819992 h 6858889"/>
              <a:gd name="connsiteX45" fmla="*/ 1109942 w 9667345"/>
              <a:gd name="connsiteY45" fmla="*/ 6858456 h 6858889"/>
              <a:gd name="connsiteX46" fmla="*/ 1090062 w 9667345"/>
              <a:gd name="connsiteY46" fmla="*/ 6858456 h 6858889"/>
              <a:gd name="connsiteX47" fmla="*/ 1040791 w 9667345"/>
              <a:gd name="connsiteY47" fmla="*/ 6826907 h 6858889"/>
              <a:gd name="connsiteX48" fmla="*/ 632370 w 9667345"/>
              <a:gd name="connsiteY48" fmla="*/ 6519185 h 6858889"/>
              <a:gd name="connsiteX49" fmla="*/ 112604 w 9667345"/>
              <a:gd name="connsiteY49" fmla="*/ 5993214 h 6858889"/>
              <a:gd name="connsiteX50" fmla="*/ 0 w 9667345"/>
              <a:gd name="connsiteY50" fmla="*/ 5846530 h 6858889"/>
              <a:gd name="connsiteX51" fmla="*/ 0 w 9667345"/>
              <a:gd name="connsiteY51" fmla="*/ 5604549 h 6858889"/>
              <a:gd name="connsiteX52" fmla="*/ 95478 w 9667345"/>
              <a:gd name="connsiteY52" fmla="*/ 5747885 h 6858889"/>
              <a:gd name="connsiteX53" fmla="*/ 756408 w 9667345"/>
              <a:gd name="connsiteY53" fmla="*/ 6469052 h 6858889"/>
              <a:gd name="connsiteX54" fmla="*/ 1161372 w 9667345"/>
              <a:gd name="connsiteY54" fmla="*/ 6774611 h 6858889"/>
              <a:gd name="connsiteX55" fmla="*/ 1289734 w 9667345"/>
              <a:gd name="connsiteY55" fmla="*/ 6857592 h 6858889"/>
              <a:gd name="connsiteX56" fmla="*/ 1271150 w 9667345"/>
              <a:gd name="connsiteY56" fmla="*/ 6857592 h 6858889"/>
              <a:gd name="connsiteX57" fmla="*/ 1151432 w 9667345"/>
              <a:gd name="connsiteY57" fmla="*/ 6780662 h 6858889"/>
              <a:gd name="connsiteX58" fmla="*/ 743010 w 9667345"/>
              <a:gd name="connsiteY58" fmla="*/ 6472941 h 6858889"/>
              <a:gd name="connsiteX59" fmla="*/ 81919 w 9667345"/>
              <a:gd name="connsiteY59" fmla="*/ 5752315 h 6858889"/>
              <a:gd name="connsiteX60" fmla="*/ 0 w 9667345"/>
              <a:gd name="connsiteY60" fmla="*/ 5628996 h 6858889"/>
              <a:gd name="connsiteX61" fmla="*/ 0 w 9667345"/>
              <a:gd name="connsiteY61" fmla="*/ 5359076 h 6858889"/>
              <a:gd name="connsiteX62" fmla="*/ 78670 w 9667345"/>
              <a:gd name="connsiteY62" fmla="*/ 5496155 h 6858889"/>
              <a:gd name="connsiteX63" fmla="*/ 867049 w 9667345"/>
              <a:gd name="connsiteY63" fmla="*/ 6423672 h 6858889"/>
              <a:gd name="connsiteX64" fmla="*/ 1272015 w 9667345"/>
              <a:gd name="connsiteY64" fmla="*/ 6729231 h 6858889"/>
              <a:gd name="connsiteX65" fmla="*/ 1469526 w 9667345"/>
              <a:gd name="connsiteY65" fmla="*/ 6857592 h 6858889"/>
              <a:gd name="connsiteX66" fmla="*/ 1450509 w 9667345"/>
              <a:gd name="connsiteY66" fmla="*/ 6857592 h 6858889"/>
              <a:gd name="connsiteX67" fmla="*/ 1258184 w 9667345"/>
              <a:gd name="connsiteY67" fmla="*/ 6735282 h 6858889"/>
              <a:gd name="connsiteX68" fmla="*/ 856678 w 9667345"/>
              <a:gd name="connsiteY68" fmla="*/ 6427561 h 6858889"/>
              <a:gd name="connsiteX69" fmla="*/ 65196 w 9667345"/>
              <a:gd name="connsiteY69" fmla="*/ 5499518 h 6858889"/>
              <a:gd name="connsiteX70" fmla="*/ 0 w 9667345"/>
              <a:gd name="connsiteY70" fmla="*/ 5386698 h 6858889"/>
              <a:gd name="connsiteX71" fmla="*/ 0 w 9667345"/>
              <a:gd name="connsiteY71" fmla="*/ 5079907 h 6858889"/>
              <a:gd name="connsiteX72" fmla="*/ 75746 w 9667345"/>
              <a:gd name="connsiteY72" fmla="*/ 5232455 h 6858889"/>
              <a:gd name="connsiteX73" fmla="*/ 980716 w 9667345"/>
              <a:gd name="connsiteY73" fmla="*/ 6377859 h 6858889"/>
              <a:gd name="connsiteX74" fmla="*/ 1378765 w 9667345"/>
              <a:gd name="connsiteY74" fmla="*/ 6683419 h 6858889"/>
              <a:gd name="connsiteX75" fmla="*/ 1652775 w 9667345"/>
              <a:gd name="connsiteY75" fmla="*/ 6858024 h 6858889"/>
              <a:gd name="connsiteX76" fmla="*/ 1631165 w 9667345"/>
              <a:gd name="connsiteY76" fmla="*/ 6858024 h 6858889"/>
              <a:gd name="connsiteX77" fmla="*/ 1368824 w 9667345"/>
              <a:gd name="connsiteY77" fmla="*/ 6690334 h 6858889"/>
              <a:gd name="connsiteX78" fmla="*/ 967318 w 9667345"/>
              <a:gd name="connsiteY78" fmla="*/ 6382614 h 6858889"/>
              <a:gd name="connsiteX79" fmla="*/ 62592 w 9667345"/>
              <a:gd name="connsiteY79" fmla="*/ 5235569 h 6858889"/>
              <a:gd name="connsiteX80" fmla="*/ 0 w 9667345"/>
              <a:gd name="connsiteY80" fmla="*/ 5109615 h 6858889"/>
              <a:gd name="connsiteX81" fmla="*/ 0 w 9667345"/>
              <a:gd name="connsiteY81" fmla="*/ 4754262 h 6858889"/>
              <a:gd name="connsiteX82" fmla="*/ 86287 w 9667345"/>
              <a:gd name="connsiteY82" fmla="*/ 4958028 h 6858889"/>
              <a:gd name="connsiteX83" fmla="*/ 1091358 w 9667345"/>
              <a:gd name="connsiteY83" fmla="*/ 6332479 h 6858889"/>
              <a:gd name="connsiteX84" fmla="*/ 1489406 w 9667345"/>
              <a:gd name="connsiteY84" fmla="*/ 6638039 h 6858889"/>
              <a:gd name="connsiteX85" fmla="*/ 1836889 w 9667345"/>
              <a:gd name="connsiteY85" fmla="*/ 6857592 h 6858889"/>
              <a:gd name="connsiteX86" fmla="*/ 1816575 w 9667345"/>
              <a:gd name="connsiteY86" fmla="*/ 6857592 h 6858889"/>
              <a:gd name="connsiteX87" fmla="*/ 1479466 w 9667345"/>
              <a:gd name="connsiteY87" fmla="*/ 6644089 h 6858889"/>
              <a:gd name="connsiteX88" fmla="*/ 1081417 w 9667345"/>
              <a:gd name="connsiteY88" fmla="*/ 6336369 h 6858889"/>
              <a:gd name="connsiteX89" fmla="*/ 73038 w 9667345"/>
              <a:gd name="connsiteY89" fmla="*/ 4959848 h 6858889"/>
              <a:gd name="connsiteX90" fmla="*/ 0 w 9667345"/>
              <a:gd name="connsiteY90" fmla="*/ 4787554 h 6858889"/>
              <a:gd name="connsiteX91" fmla="*/ 0 w 9667345"/>
              <a:gd name="connsiteY91" fmla="*/ 4357497 h 6858889"/>
              <a:gd name="connsiteX92" fmla="*/ 3590 w 9667345"/>
              <a:gd name="connsiteY92" fmla="*/ 4371077 h 6858889"/>
              <a:gd name="connsiteX93" fmla="*/ 107256 w 9667345"/>
              <a:gd name="connsiteY93" fmla="*/ 4670269 h 6858889"/>
              <a:gd name="connsiteX94" fmla="*/ 1205024 w 9667345"/>
              <a:gd name="connsiteY94" fmla="*/ 6287099 h 6858889"/>
              <a:gd name="connsiteX95" fmla="*/ 1600048 w 9667345"/>
              <a:gd name="connsiteY95" fmla="*/ 6592659 h 6858889"/>
              <a:gd name="connsiteX96" fmla="*/ 2023165 w 9667345"/>
              <a:gd name="connsiteY96" fmla="*/ 6858024 h 6858889"/>
              <a:gd name="connsiteX97" fmla="*/ 2001554 w 9667345"/>
              <a:gd name="connsiteY97" fmla="*/ 6858024 h 6858889"/>
              <a:gd name="connsiteX98" fmla="*/ 1587082 w 9667345"/>
              <a:gd name="connsiteY98" fmla="*/ 6599142 h 6858889"/>
              <a:gd name="connsiteX99" fmla="*/ 1192058 w 9667345"/>
              <a:gd name="connsiteY99" fmla="*/ 6291421 h 6858889"/>
              <a:gd name="connsiteX100" fmla="*/ 94290 w 9667345"/>
              <a:gd name="connsiteY100" fmla="*/ 4672429 h 6858889"/>
              <a:gd name="connsiteX101" fmla="*/ 0 w 9667345"/>
              <a:gd name="connsiteY101" fmla="*/ 4400852 h 6858889"/>
              <a:gd name="connsiteX102" fmla="*/ 0 w 9667345"/>
              <a:gd name="connsiteY102" fmla="*/ 3631903 h 6858889"/>
              <a:gd name="connsiteX103" fmla="*/ 10844 w 9667345"/>
              <a:gd name="connsiteY103" fmla="*/ 3768898 h 6858889"/>
              <a:gd name="connsiteX104" fmla="*/ 234320 w 9667345"/>
              <a:gd name="connsiteY104" fmla="*/ 4624456 h 6858889"/>
              <a:gd name="connsiteX105" fmla="*/ 1315233 w 9667345"/>
              <a:gd name="connsiteY105" fmla="*/ 6239558 h 6858889"/>
              <a:gd name="connsiteX106" fmla="*/ 1706800 w 9667345"/>
              <a:gd name="connsiteY106" fmla="*/ 6547278 h 6858889"/>
              <a:gd name="connsiteX107" fmla="*/ 2205549 w 9667345"/>
              <a:gd name="connsiteY107" fmla="*/ 6857592 h 6858889"/>
              <a:gd name="connsiteX108" fmla="*/ 2183507 w 9667345"/>
              <a:gd name="connsiteY108" fmla="*/ 6857592 h 6858889"/>
              <a:gd name="connsiteX109" fmla="*/ 1696860 w 9667345"/>
              <a:gd name="connsiteY109" fmla="*/ 6553329 h 6858889"/>
              <a:gd name="connsiteX110" fmla="*/ 1305292 w 9667345"/>
              <a:gd name="connsiteY110" fmla="*/ 6245609 h 6858889"/>
              <a:gd name="connsiteX111" fmla="*/ 220923 w 9667345"/>
              <a:gd name="connsiteY111" fmla="*/ 4626617 h 6858889"/>
              <a:gd name="connsiteX112" fmla="*/ 42265 w 9667345"/>
              <a:gd name="connsiteY112" fmla="*/ 4041321 h 6858889"/>
              <a:gd name="connsiteX113" fmla="*/ 0 w 9667345"/>
              <a:gd name="connsiteY113" fmla="*/ 3795139 h 6858889"/>
              <a:gd name="connsiteX114" fmla="*/ 5434888 w 9667345"/>
              <a:gd name="connsiteY114" fmla="*/ 1729 h 6858889"/>
              <a:gd name="connsiteX115" fmla="*/ 5448286 w 9667345"/>
              <a:gd name="connsiteY115" fmla="*/ 1729 h 6858889"/>
              <a:gd name="connsiteX116" fmla="*/ 5227436 w 9667345"/>
              <a:gd name="connsiteY116" fmla="*/ 893774 h 6858889"/>
              <a:gd name="connsiteX117" fmla="*/ 5060177 w 9667345"/>
              <a:gd name="connsiteY117" fmla="*/ 1269781 h 6858889"/>
              <a:gd name="connsiteX118" fmla="*/ 4785736 w 9667345"/>
              <a:gd name="connsiteY118" fmla="*/ 1963449 h 6858889"/>
              <a:gd name="connsiteX119" fmla="*/ 4768880 w 9667345"/>
              <a:gd name="connsiteY119" fmla="*/ 3010651 h 6858889"/>
              <a:gd name="connsiteX120" fmla="*/ 5361416 w 9667345"/>
              <a:gd name="connsiteY120" fmla="*/ 4600686 h 6858889"/>
              <a:gd name="connsiteX121" fmla="*/ 5642341 w 9667345"/>
              <a:gd name="connsiteY121" fmla="*/ 4920939 h 6858889"/>
              <a:gd name="connsiteX122" fmla="*/ 6990779 w 9667345"/>
              <a:gd name="connsiteY122" fmla="*/ 5817306 h 6858889"/>
              <a:gd name="connsiteX123" fmla="*/ 7425997 w 9667345"/>
              <a:gd name="connsiteY123" fmla="*/ 6003148 h 6858889"/>
              <a:gd name="connsiteX124" fmla="*/ 8717818 w 9667345"/>
              <a:gd name="connsiteY124" fmla="*/ 6393418 h 6858889"/>
              <a:gd name="connsiteX125" fmla="*/ 9666913 w 9667345"/>
              <a:gd name="connsiteY125" fmla="*/ 6567592 h 6858889"/>
              <a:gd name="connsiteX126" fmla="*/ 9666913 w 9667345"/>
              <a:gd name="connsiteY126" fmla="*/ 6576236 h 6858889"/>
              <a:gd name="connsiteX127" fmla="*/ 8714362 w 9667345"/>
              <a:gd name="connsiteY127" fmla="*/ 6401198 h 6858889"/>
              <a:gd name="connsiteX128" fmla="*/ 7416056 w 9667345"/>
              <a:gd name="connsiteY128" fmla="*/ 6008767 h 6858889"/>
              <a:gd name="connsiteX129" fmla="*/ 6984296 w 9667345"/>
              <a:gd name="connsiteY129" fmla="*/ 5822924 h 6858889"/>
              <a:gd name="connsiteX130" fmla="*/ 5632400 w 9667345"/>
              <a:gd name="connsiteY130" fmla="*/ 4924397 h 6858889"/>
              <a:gd name="connsiteX131" fmla="*/ 5348018 w 9667345"/>
              <a:gd name="connsiteY131" fmla="*/ 4604143 h 6858889"/>
              <a:gd name="connsiteX132" fmla="*/ 4755482 w 9667345"/>
              <a:gd name="connsiteY132" fmla="*/ 3009786 h 6858889"/>
              <a:gd name="connsiteX133" fmla="*/ 4772337 w 9667345"/>
              <a:gd name="connsiteY133" fmla="*/ 1962585 h 6858889"/>
              <a:gd name="connsiteX134" fmla="*/ 5043322 w 9667345"/>
              <a:gd name="connsiteY134" fmla="*/ 1266755 h 6858889"/>
              <a:gd name="connsiteX135" fmla="*/ 5210581 w 9667345"/>
              <a:gd name="connsiteY135" fmla="*/ 890749 h 6858889"/>
              <a:gd name="connsiteX136" fmla="*/ 5434888 w 9667345"/>
              <a:gd name="connsiteY136" fmla="*/ 1729 h 6858889"/>
              <a:gd name="connsiteX137" fmla="*/ 5575783 w 9667345"/>
              <a:gd name="connsiteY137" fmla="*/ 1297 h 6858889"/>
              <a:gd name="connsiteX138" fmla="*/ 5589181 w 9667345"/>
              <a:gd name="connsiteY138" fmla="*/ 1297 h 6858889"/>
              <a:gd name="connsiteX139" fmla="*/ 5368330 w 9667345"/>
              <a:gd name="connsiteY139" fmla="*/ 854012 h 6858889"/>
              <a:gd name="connsiteX140" fmla="*/ 5197614 w 9667345"/>
              <a:gd name="connsiteY140" fmla="*/ 1231748 h 6858889"/>
              <a:gd name="connsiteX141" fmla="*/ 4919715 w 9667345"/>
              <a:gd name="connsiteY141" fmla="*/ 1921527 h 6858889"/>
              <a:gd name="connsiteX142" fmla="*/ 4896376 w 9667345"/>
              <a:gd name="connsiteY142" fmla="*/ 2964406 h 6858889"/>
              <a:gd name="connsiteX143" fmla="*/ 5472057 w 9667345"/>
              <a:gd name="connsiteY143" fmla="*/ 4554441 h 6858889"/>
              <a:gd name="connsiteX144" fmla="*/ 5752981 w 9667345"/>
              <a:gd name="connsiteY144" fmla="*/ 4874695 h 6858889"/>
              <a:gd name="connsiteX145" fmla="*/ 7094937 w 9667345"/>
              <a:gd name="connsiteY145" fmla="*/ 5773223 h 6858889"/>
              <a:gd name="connsiteX146" fmla="*/ 7526698 w 9667345"/>
              <a:gd name="connsiteY146" fmla="*/ 5956904 h 6858889"/>
              <a:gd name="connsiteX147" fmla="*/ 8818519 w 9667345"/>
              <a:gd name="connsiteY147" fmla="*/ 6343283 h 6858889"/>
              <a:gd name="connsiteX148" fmla="*/ 9666913 w 9667345"/>
              <a:gd name="connsiteY148" fmla="*/ 6500602 h 6858889"/>
              <a:gd name="connsiteX149" fmla="*/ 9666913 w 9667345"/>
              <a:gd name="connsiteY149" fmla="*/ 6509246 h 6858889"/>
              <a:gd name="connsiteX150" fmla="*/ 8811605 w 9667345"/>
              <a:gd name="connsiteY150" fmla="*/ 6351496 h 6858889"/>
              <a:gd name="connsiteX151" fmla="*/ 7516324 w 9667345"/>
              <a:gd name="connsiteY151" fmla="*/ 5965116 h 6858889"/>
              <a:gd name="connsiteX152" fmla="*/ 7084564 w 9667345"/>
              <a:gd name="connsiteY152" fmla="*/ 5779273 h 6858889"/>
              <a:gd name="connsiteX153" fmla="*/ 5739151 w 9667345"/>
              <a:gd name="connsiteY153" fmla="*/ 4879017 h 6858889"/>
              <a:gd name="connsiteX154" fmla="*/ 5458226 w 9667345"/>
              <a:gd name="connsiteY154" fmla="*/ 4558762 h 6858889"/>
              <a:gd name="connsiteX155" fmla="*/ 4882546 w 9667345"/>
              <a:gd name="connsiteY155" fmla="*/ 2966567 h 6858889"/>
              <a:gd name="connsiteX156" fmla="*/ 4905886 w 9667345"/>
              <a:gd name="connsiteY156" fmla="*/ 1919366 h 6858889"/>
              <a:gd name="connsiteX157" fmla="*/ 5180327 w 9667345"/>
              <a:gd name="connsiteY157" fmla="*/ 1229587 h 6858889"/>
              <a:gd name="connsiteX158" fmla="*/ 5354501 w 9667345"/>
              <a:gd name="connsiteY158" fmla="*/ 851851 h 6858889"/>
              <a:gd name="connsiteX159" fmla="*/ 5575783 w 9667345"/>
              <a:gd name="connsiteY159" fmla="*/ 1297 h 6858889"/>
              <a:gd name="connsiteX160" fmla="*/ 5293994 w 9667345"/>
              <a:gd name="connsiteY160" fmla="*/ 1297 h 6858889"/>
              <a:gd name="connsiteX161" fmla="*/ 5307392 w 9667345"/>
              <a:gd name="connsiteY161" fmla="*/ 1297 h 6858889"/>
              <a:gd name="connsiteX162" fmla="*/ 5083083 w 9667345"/>
              <a:gd name="connsiteY162" fmla="*/ 930511 h 6858889"/>
              <a:gd name="connsiteX163" fmla="*/ 4919283 w 9667345"/>
              <a:gd name="connsiteY163" fmla="*/ 1306517 h 6858889"/>
              <a:gd name="connsiteX164" fmla="*/ 4651756 w 9667345"/>
              <a:gd name="connsiteY164" fmla="*/ 2006668 h 6858889"/>
              <a:gd name="connsiteX165" fmla="*/ 4645273 w 9667345"/>
              <a:gd name="connsiteY165" fmla="*/ 3055599 h 6858889"/>
              <a:gd name="connsiteX166" fmla="*/ 5247749 w 9667345"/>
              <a:gd name="connsiteY166" fmla="*/ 4645633 h 6858889"/>
              <a:gd name="connsiteX167" fmla="*/ 5535589 w 9667345"/>
              <a:gd name="connsiteY167" fmla="*/ 4965888 h 6858889"/>
              <a:gd name="connsiteX168" fmla="*/ 6890942 w 9667345"/>
              <a:gd name="connsiteY168" fmla="*/ 5862254 h 6858889"/>
              <a:gd name="connsiteX169" fmla="*/ 7326160 w 9667345"/>
              <a:gd name="connsiteY169" fmla="*/ 6045935 h 6858889"/>
              <a:gd name="connsiteX170" fmla="*/ 8617983 w 9667345"/>
              <a:gd name="connsiteY170" fmla="*/ 6440527 h 6858889"/>
              <a:gd name="connsiteX171" fmla="*/ 9667345 w 9667345"/>
              <a:gd name="connsiteY171" fmla="*/ 6632852 h 6858889"/>
              <a:gd name="connsiteX172" fmla="*/ 9667345 w 9667345"/>
              <a:gd name="connsiteY172" fmla="*/ 6642793 h 6858889"/>
              <a:gd name="connsiteX173" fmla="*/ 8614525 w 9667345"/>
              <a:gd name="connsiteY173" fmla="*/ 6448739 h 6858889"/>
              <a:gd name="connsiteX174" fmla="*/ 7316220 w 9667345"/>
              <a:gd name="connsiteY174" fmla="*/ 6054147 h 6858889"/>
              <a:gd name="connsiteX175" fmla="*/ 6884460 w 9667345"/>
              <a:gd name="connsiteY175" fmla="*/ 5868305 h 6858889"/>
              <a:gd name="connsiteX176" fmla="*/ 5522623 w 9667345"/>
              <a:gd name="connsiteY176" fmla="*/ 4969778 h 6858889"/>
              <a:gd name="connsiteX177" fmla="*/ 5234783 w 9667345"/>
              <a:gd name="connsiteY177" fmla="*/ 4649523 h 6858889"/>
              <a:gd name="connsiteX178" fmla="*/ 4628850 w 9667345"/>
              <a:gd name="connsiteY178" fmla="*/ 3055167 h 6858889"/>
              <a:gd name="connsiteX179" fmla="*/ 4638790 w 9667345"/>
              <a:gd name="connsiteY179" fmla="*/ 2004076 h 6858889"/>
              <a:gd name="connsiteX180" fmla="*/ 4906318 w 9667345"/>
              <a:gd name="connsiteY180" fmla="*/ 1303924 h 6858889"/>
              <a:gd name="connsiteX181" fmla="*/ 5070118 w 9667345"/>
              <a:gd name="connsiteY181" fmla="*/ 927917 h 6858889"/>
              <a:gd name="connsiteX182" fmla="*/ 5293994 w 9667345"/>
              <a:gd name="connsiteY182" fmla="*/ 1297 h 6858889"/>
              <a:gd name="connsiteX183" fmla="*/ 5150073 w 9667345"/>
              <a:gd name="connsiteY183" fmla="*/ 1297 h 6858889"/>
              <a:gd name="connsiteX184" fmla="*/ 5163472 w 9667345"/>
              <a:gd name="connsiteY184" fmla="*/ 1297 h 6858889"/>
              <a:gd name="connsiteX185" fmla="*/ 4942621 w 9667345"/>
              <a:gd name="connsiteY185" fmla="*/ 969840 h 6858889"/>
              <a:gd name="connsiteX186" fmla="*/ 4781845 w 9667345"/>
              <a:gd name="connsiteY186" fmla="*/ 1343686 h 6858889"/>
              <a:gd name="connsiteX187" fmla="*/ 4517344 w 9667345"/>
              <a:gd name="connsiteY187" fmla="*/ 2049888 h 6858889"/>
              <a:gd name="connsiteX188" fmla="*/ 4517344 w 9667345"/>
              <a:gd name="connsiteY188" fmla="*/ 3098818 h 6858889"/>
              <a:gd name="connsiteX189" fmla="*/ 5136243 w 9667345"/>
              <a:gd name="connsiteY189" fmla="*/ 4691014 h 6858889"/>
              <a:gd name="connsiteX190" fmla="*/ 5424084 w 9667345"/>
              <a:gd name="connsiteY190" fmla="*/ 5011268 h 6858889"/>
              <a:gd name="connsiteX191" fmla="*/ 6789377 w 9667345"/>
              <a:gd name="connsiteY191" fmla="*/ 5905473 h 6858889"/>
              <a:gd name="connsiteX192" fmla="*/ 7224595 w 9667345"/>
              <a:gd name="connsiteY192" fmla="*/ 6091316 h 6858889"/>
              <a:gd name="connsiteX193" fmla="*/ 8519875 w 9667345"/>
              <a:gd name="connsiteY193" fmla="*/ 6487636 h 6858889"/>
              <a:gd name="connsiteX194" fmla="*/ 9666480 w 9667345"/>
              <a:gd name="connsiteY194" fmla="*/ 6699411 h 6858889"/>
              <a:gd name="connsiteX195" fmla="*/ 9666480 w 9667345"/>
              <a:gd name="connsiteY195" fmla="*/ 6708918 h 6858889"/>
              <a:gd name="connsiteX196" fmla="*/ 8513393 w 9667345"/>
              <a:gd name="connsiteY196" fmla="*/ 6495848 h 6858889"/>
              <a:gd name="connsiteX197" fmla="*/ 7218112 w 9667345"/>
              <a:gd name="connsiteY197" fmla="*/ 6099527 h 6858889"/>
              <a:gd name="connsiteX198" fmla="*/ 6779869 w 9667345"/>
              <a:gd name="connsiteY198" fmla="*/ 5911524 h 6858889"/>
              <a:gd name="connsiteX199" fmla="*/ 5411118 w 9667345"/>
              <a:gd name="connsiteY199" fmla="*/ 5015158 h 6858889"/>
              <a:gd name="connsiteX200" fmla="*/ 5123278 w 9667345"/>
              <a:gd name="connsiteY200" fmla="*/ 4694903 h 6858889"/>
              <a:gd name="connsiteX201" fmla="*/ 4504379 w 9667345"/>
              <a:gd name="connsiteY201" fmla="*/ 3100547 h 6858889"/>
              <a:gd name="connsiteX202" fmla="*/ 4504379 w 9667345"/>
              <a:gd name="connsiteY202" fmla="*/ 2047294 h 6858889"/>
              <a:gd name="connsiteX203" fmla="*/ 4768880 w 9667345"/>
              <a:gd name="connsiteY203" fmla="*/ 1341093 h 6858889"/>
              <a:gd name="connsiteX204" fmla="*/ 4929656 w 9667345"/>
              <a:gd name="connsiteY204" fmla="*/ 967246 h 6858889"/>
              <a:gd name="connsiteX205" fmla="*/ 5150073 w 9667345"/>
              <a:gd name="connsiteY205" fmla="*/ 1297 h 6858889"/>
              <a:gd name="connsiteX206" fmla="*/ 5008747 w 9667345"/>
              <a:gd name="connsiteY206" fmla="*/ 1297 h 6858889"/>
              <a:gd name="connsiteX207" fmla="*/ 5022145 w 9667345"/>
              <a:gd name="connsiteY207" fmla="*/ 1297 h 6858889"/>
              <a:gd name="connsiteX208" fmla="*/ 4801294 w 9667345"/>
              <a:gd name="connsiteY208" fmla="*/ 1009169 h 6858889"/>
              <a:gd name="connsiteX209" fmla="*/ 4643977 w 9667345"/>
              <a:gd name="connsiteY209" fmla="*/ 1378694 h 6858889"/>
              <a:gd name="connsiteX210" fmla="*/ 4386390 w 9667345"/>
              <a:gd name="connsiteY210" fmla="*/ 2093107 h 6858889"/>
              <a:gd name="connsiteX211" fmla="*/ 4389848 w 9667345"/>
              <a:gd name="connsiteY211" fmla="*/ 3144198 h 6858889"/>
              <a:gd name="connsiteX212" fmla="*/ 5022145 w 9667345"/>
              <a:gd name="connsiteY212" fmla="*/ 4736393 h 6858889"/>
              <a:gd name="connsiteX213" fmla="*/ 5313442 w 9667345"/>
              <a:gd name="connsiteY213" fmla="*/ 5056648 h 6858889"/>
              <a:gd name="connsiteX214" fmla="*/ 6688676 w 9667345"/>
              <a:gd name="connsiteY214" fmla="*/ 5948692 h 6858889"/>
              <a:gd name="connsiteX215" fmla="*/ 7123895 w 9667345"/>
              <a:gd name="connsiteY215" fmla="*/ 6136696 h 6858889"/>
              <a:gd name="connsiteX216" fmla="*/ 8419174 w 9667345"/>
              <a:gd name="connsiteY216" fmla="*/ 6537339 h 6858889"/>
              <a:gd name="connsiteX217" fmla="*/ 9666049 w 9667345"/>
              <a:gd name="connsiteY217" fmla="*/ 6767264 h 6858889"/>
              <a:gd name="connsiteX218" fmla="*/ 9666049 w 9667345"/>
              <a:gd name="connsiteY218" fmla="*/ 6775908 h 6858889"/>
              <a:gd name="connsiteX219" fmla="*/ 8412691 w 9667345"/>
              <a:gd name="connsiteY219" fmla="*/ 6545550 h 6858889"/>
              <a:gd name="connsiteX220" fmla="*/ 7117412 w 9667345"/>
              <a:gd name="connsiteY220" fmla="*/ 6142747 h 6858889"/>
              <a:gd name="connsiteX221" fmla="*/ 6679169 w 9667345"/>
              <a:gd name="connsiteY221" fmla="*/ 5956904 h 6858889"/>
              <a:gd name="connsiteX222" fmla="*/ 5303934 w 9667345"/>
              <a:gd name="connsiteY222" fmla="*/ 5060537 h 6858889"/>
              <a:gd name="connsiteX223" fmla="*/ 5009611 w 9667345"/>
              <a:gd name="connsiteY223" fmla="*/ 4740283 h 6858889"/>
              <a:gd name="connsiteX224" fmla="*/ 4377314 w 9667345"/>
              <a:gd name="connsiteY224" fmla="*/ 3145926 h 6858889"/>
              <a:gd name="connsiteX225" fmla="*/ 4370831 w 9667345"/>
              <a:gd name="connsiteY225" fmla="*/ 2090514 h 6858889"/>
              <a:gd name="connsiteX226" fmla="*/ 4631875 w 9667345"/>
              <a:gd name="connsiteY226" fmla="*/ 1376100 h 6858889"/>
              <a:gd name="connsiteX227" fmla="*/ 4789193 w 9667345"/>
              <a:gd name="connsiteY227" fmla="*/ 1006575 h 6858889"/>
              <a:gd name="connsiteX228" fmla="*/ 5008747 w 9667345"/>
              <a:gd name="connsiteY228" fmla="*/ 1297 h 6858889"/>
              <a:gd name="connsiteX229" fmla="*/ 4865691 w 9667345"/>
              <a:gd name="connsiteY229" fmla="*/ 1297 h 6858889"/>
              <a:gd name="connsiteX230" fmla="*/ 4879089 w 9667345"/>
              <a:gd name="connsiteY230" fmla="*/ 1297 h 6858889"/>
              <a:gd name="connsiteX231" fmla="*/ 4661697 w 9667345"/>
              <a:gd name="connsiteY231" fmla="*/ 1048499 h 6858889"/>
              <a:gd name="connsiteX232" fmla="*/ 4507836 w 9667345"/>
              <a:gd name="connsiteY232" fmla="*/ 1416295 h 6858889"/>
              <a:gd name="connsiteX233" fmla="*/ 4253707 w 9667345"/>
              <a:gd name="connsiteY233" fmla="*/ 2135030 h 6858889"/>
              <a:gd name="connsiteX234" fmla="*/ 4267105 w 9667345"/>
              <a:gd name="connsiteY234" fmla="*/ 3190442 h 6858889"/>
              <a:gd name="connsiteX235" fmla="*/ 4909775 w 9667345"/>
              <a:gd name="connsiteY235" fmla="*/ 4782638 h 6858889"/>
              <a:gd name="connsiteX236" fmla="*/ 5207555 w 9667345"/>
              <a:gd name="connsiteY236" fmla="*/ 5102893 h 6858889"/>
              <a:gd name="connsiteX237" fmla="*/ 6586247 w 9667345"/>
              <a:gd name="connsiteY237" fmla="*/ 5994937 h 6858889"/>
              <a:gd name="connsiteX238" fmla="*/ 7024491 w 9667345"/>
              <a:gd name="connsiteY238" fmla="*/ 6180779 h 6858889"/>
              <a:gd name="connsiteX239" fmla="*/ 8319770 w 9667345"/>
              <a:gd name="connsiteY239" fmla="*/ 6585744 h 6858889"/>
              <a:gd name="connsiteX240" fmla="*/ 9666913 w 9667345"/>
              <a:gd name="connsiteY240" fmla="*/ 6835982 h 6858889"/>
              <a:gd name="connsiteX241" fmla="*/ 9666913 w 9667345"/>
              <a:gd name="connsiteY241" fmla="*/ 6844626 h 6858889"/>
              <a:gd name="connsiteX242" fmla="*/ 8316312 w 9667345"/>
              <a:gd name="connsiteY242" fmla="*/ 6593955 h 6858889"/>
              <a:gd name="connsiteX243" fmla="*/ 7018008 w 9667345"/>
              <a:gd name="connsiteY243" fmla="*/ 6188992 h 6858889"/>
              <a:gd name="connsiteX244" fmla="*/ 6579764 w 9667345"/>
              <a:gd name="connsiteY244" fmla="*/ 6000988 h 6858889"/>
              <a:gd name="connsiteX245" fmla="*/ 5194157 w 9667345"/>
              <a:gd name="connsiteY245" fmla="*/ 5106782 h 6858889"/>
              <a:gd name="connsiteX246" fmla="*/ 4899835 w 9667345"/>
              <a:gd name="connsiteY246" fmla="*/ 4786528 h 6858889"/>
              <a:gd name="connsiteX247" fmla="*/ 4254139 w 9667345"/>
              <a:gd name="connsiteY247" fmla="*/ 3190010 h 6858889"/>
              <a:gd name="connsiteX248" fmla="*/ 4240741 w 9667345"/>
              <a:gd name="connsiteY248" fmla="*/ 2134598 h 6858889"/>
              <a:gd name="connsiteX249" fmla="*/ 4494870 w 9667345"/>
              <a:gd name="connsiteY249" fmla="*/ 1413701 h 6858889"/>
              <a:gd name="connsiteX250" fmla="*/ 4645273 w 9667345"/>
              <a:gd name="connsiteY250" fmla="*/ 1045906 h 6858889"/>
              <a:gd name="connsiteX251" fmla="*/ 4865691 w 9667345"/>
              <a:gd name="connsiteY251" fmla="*/ 1297 h 6858889"/>
              <a:gd name="connsiteX252" fmla="*/ 4438253 w 9667345"/>
              <a:gd name="connsiteY252" fmla="*/ 1297 h 6858889"/>
              <a:gd name="connsiteX253" fmla="*/ 4451652 w 9667345"/>
              <a:gd name="connsiteY253" fmla="*/ 1297 h 6858889"/>
              <a:gd name="connsiteX254" fmla="*/ 4237284 w 9667345"/>
              <a:gd name="connsiteY254" fmla="*/ 1163894 h 6858889"/>
              <a:gd name="connsiteX255" fmla="*/ 4096821 w 9667345"/>
              <a:gd name="connsiteY255" fmla="*/ 1525207 h 6858889"/>
              <a:gd name="connsiteX256" fmla="*/ 3852633 w 9667345"/>
              <a:gd name="connsiteY256" fmla="*/ 2264687 h 6858889"/>
              <a:gd name="connsiteX257" fmla="*/ 3889369 w 9667345"/>
              <a:gd name="connsiteY257" fmla="*/ 3323990 h 6858889"/>
              <a:gd name="connsiteX258" fmla="*/ 4575258 w 9667345"/>
              <a:gd name="connsiteY258" fmla="*/ 4918347 h 6858889"/>
              <a:gd name="connsiteX259" fmla="*/ 4879953 w 9667345"/>
              <a:gd name="connsiteY259" fmla="*/ 5236440 h 6858889"/>
              <a:gd name="connsiteX260" fmla="*/ 6285442 w 9667345"/>
              <a:gd name="connsiteY260" fmla="*/ 6126323 h 6858889"/>
              <a:gd name="connsiteX261" fmla="*/ 6723685 w 9667345"/>
              <a:gd name="connsiteY261" fmla="*/ 6314327 h 6858889"/>
              <a:gd name="connsiteX262" fmla="*/ 8021989 w 9667345"/>
              <a:gd name="connsiteY262" fmla="*/ 6729231 h 6858889"/>
              <a:gd name="connsiteX263" fmla="*/ 8590321 w 9667345"/>
              <a:gd name="connsiteY263" fmla="*/ 6858456 h 6858889"/>
              <a:gd name="connsiteX264" fmla="*/ 8546671 w 9667345"/>
              <a:gd name="connsiteY264" fmla="*/ 6858456 h 6858889"/>
              <a:gd name="connsiteX265" fmla="*/ 8018964 w 9667345"/>
              <a:gd name="connsiteY265" fmla="*/ 6737876 h 6858889"/>
              <a:gd name="connsiteX266" fmla="*/ 6717202 w 9667345"/>
              <a:gd name="connsiteY266" fmla="*/ 6322971 h 6858889"/>
              <a:gd name="connsiteX267" fmla="*/ 6275502 w 9667345"/>
              <a:gd name="connsiteY267" fmla="*/ 6134968 h 6858889"/>
              <a:gd name="connsiteX268" fmla="*/ 4866555 w 9667345"/>
              <a:gd name="connsiteY268" fmla="*/ 5242923 h 6858889"/>
              <a:gd name="connsiteX269" fmla="*/ 4561860 w 9667345"/>
              <a:gd name="connsiteY269" fmla="*/ 4922669 h 6858889"/>
              <a:gd name="connsiteX270" fmla="*/ 3875971 w 9667345"/>
              <a:gd name="connsiteY270" fmla="*/ 3326151 h 6858889"/>
              <a:gd name="connsiteX271" fmla="*/ 3839235 w 9667345"/>
              <a:gd name="connsiteY271" fmla="*/ 2262526 h 6858889"/>
              <a:gd name="connsiteX272" fmla="*/ 4083423 w 9667345"/>
              <a:gd name="connsiteY272" fmla="*/ 1523045 h 6858889"/>
              <a:gd name="connsiteX273" fmla="*/ 4223886 w 9667345"/>
              <a:gd name="connsiteY273" fmla="*/ 1161733 h 6858889"/>
              <a:gd name="connsiteX274" fmla="*/ 4438253 w 9667345"/>
              <a:gd name="connsiteY274" fmla="*/ 1297 h 6858889"/>
              <a:gd name="connsiteX275" fmla="*/ 3715197 w 9667345"/>
              <a:gd name="connsiteY275" fmla="*/ 1297 h 6858889"/>
              <a:gd name="connsiteX276" fmla="*/ 3728595 w 9667345"/>
              <a:gd name="connsiteY276" fmla="*/ 1297 h 6858889"/>
              <a:gd name="connsiteX277" fmla="*/ 3531083 w 9667345"/>
              <a:gd name="connsiteY277" fmla="*/ 1357948 h 6858889"/>
              <a:gd name="connsiteX278" fmla="*/ 3410501 w 9667345"/>
              <a:gd name="connsiteY278" fmla="*/ 1704998 h 6858889"/>
              <a:gd name="connsiteX279" fmla="*/ 3186194 w 9667345"/>
              <a:gd name="connsiteY279" fmla="*/ 2479486 h 6858889"/>
              <a:gd name="connsiteX280" fmla="*/ 3259665 w 9667345"/>
              <a:gd name="connsiteY280" fmla="*/ 3549162 h 6858889"/>
              <a:gd name="connsiteX281" fmla="*/ 4012544 w 9667345"/>
              <a:gd name="connsiteY281" fmla="*/ 5147409 h 6858889"/>
              <a:gd name="connsiteX282" fmla="*/ 4330638 w 9667345"/>
              <a:gd name="connsiteY282" fmla="*/ 5463341 h 6858889"/>
              <a:gd name="connsiteX283" fmla="*/ 5776320 w 9667345"/>
              <a:gd name="connsiteY283" fmla="*/ 6347174 h 6858889"/>
              <a:gd name="connsiteX284" fmla="*/ 6221478 w 9667345"/>
              <a:gd name="connsiteY284" fmla="*/ 6539067 h 6858889"/>
              <a:gd name="connsiteX285" fmla="*/ 7132106 w 9667345"/>
              <a:gd name="connsiteY285" fmla="*/ 6858889 h 6858889"/>
              <a:gd name="connsiteX286" fmla="*/ 7102285 w 9667345"/>
              <a:gd name="connsiteY286" fmla="*/ 6858889 h 6858889"/>
              <a:gd name="connsiteX287" fmla="*/ 6214995 w 9667345"/>
              <a:gd name="connsiteY287" fmla="*/ 6546414 h 6858889"/>
              <a:gd name="connsiteX288" fmla="*/ 5769837 w 9667345"/>
              <a:gd name="connsiteY288" fmla="*/ 6356249 h 6858889"/>
              <a:gd name="connsiteX289" fmla="*/ 4320697 w 9667345"/>
              <a:gd name="connsiteY289" fmla="*/ 5468095 h 6858889"/>
              <a:gd name="connsiteX290" fmla="*/ 3999578 w 9667345"/>
              <a:gd name="connsiteY290" fmla="*/ 5152162 h 6858889"/>
              <a:gd name="connsiteX291" fmla="*/ 3243243 w 9667345"/>
              <a:gd name="connsiteY291" fmla="*/ 3549594 h 6858889"/>
              <a:gd name="connsiteX292" fmla="*/ 3172796 w 9667345"/>
              <a:gd name="connsiteY292" fmla="*/ 2477758 h 6858889"/>
              <a:gd name="connsiteX293" fmla="*/ 3397102 w 9667345"/>
              <a:gd name="connsiteY293" fmla="*/ 1703270 h 6858889"/>
              <a:gd name="connsiteX294" fmla="*/ 3514226 w 9667345"/>
              <a:gd name="connsiteY294" fmla="*/ 1356220 h 6858889"/>
              <a:gd name="connsiteX295" fmla="*/ 3715197 w 9667345"/>
              <a:gd name="connsiteY295" fmla="*/ 1297 h 6858889"/>
              <a:gd name="connsiteX296" fmla="*/ 3566955 w 9667345"/>
              <a:gd name="connsiteY296" fmla="*/ 1297 h 6858889"/>
              <a:gd name="connsiteX297" fmla="*/ 3583809 w 9667345"/>
              <a:gd name="connsiteY297" fmla="*/ 1297 h 6858889"/>
              <a:gd name="connsiteX298" fmla="*/ 3386299 w 9667345"/>
              <a:gd name="connsiteY298" fmla="*/ 1395117 h 6858889"/>
              <a:gd name="connsiteX299" fmla="*/ 3272631 w 9667345"/>
              <a:gd name="connsiteY299" fmla="*/ 1740006 h 6858889"/>
              <a:gd name="connsiteX300" fmla="*/ 3055239 w 9667345"/>
              <a:gd name="connsiteY300" fmla="*/ 2520545 h 6858889"/>
              <a:gd name="connsiteX301" fmla="*/ 3132169 w 9667345"/>
              <a:gd name="connsiteY301" fmla="*/ 3592381 h 6858889"/>
              <a:gd name="connsiteX302" fmla="*/ 3898445 w 9667345"/>
              <a:gd name="connsiteY302" fmla="*/ 5192789 h 6858889"/>
              <a:gd name="connsiteX303" fmla="*/ 4223022 w 9667345"/>
              <a:gd name="connsiteY303" fmla="*/ 5508721 h 6858889"/>
              <a:gd name="connsiteX304" fmla="*/ 5675619 w 9667345"/>
              <a:gd name="connsiteY304" fmla="*/ 6392554 h 6858889"/>
              <a:gd name="connsiteX305" fmla="*/ 6120777 w 9667345"/>
              <a:gd name="connsiteY305" fmla="*/ 6584447 h 6858889"/>
              <a:gd name="connsiteX306" fmla="*/ 6884460 w 9667345"/>
              <a:gd name="connsiteY306" fmla="*/ 6858024 h 6858889"/>
              <a:gd name="connsiteX307" fmla="*/ 6853343 w 9667345"/>
              <a:gd name="connsiteY307" fmla="*/ 6858024 h 6858889"/>
              <a:gd name="connsiteX308" fmla="*/ 6113862 w 9667345"/>
              <a:gd name="connsiteY308" fmla="*/ 6590931 h 6858889"/>
              <a:gd name="connsiteX309" fmla="*/ 5665247 w 9667345"/>
              <a:gd name="connsiteY309" fmla="*/ 6399037 h 6858889"/>
              <a:gd name="connsiteX310" fmla="*/ 4209623 w 9667345"/>
              <a:gd name="connsiteY310" fmla="*/ 5513043 h 6858889"/>
              <a:gd name="connsiteX311" fmla="*/ 3888505 w 9667345"/>
              <a:gd name="connsiteY311" fmla="*/ 5197111 h 6858889"/>
              <a:gd name="connsiteX312" fmla="*/ 3118771 w 9667345"/>
              <a:gd name="connsiteY312" fmla="*/ 3594543 h 6858889"/>
              <a:gd name="connsiteX313" fmla="*/ 3038384 w 9667345"/>
              <a:gd name="connsiteY313" fmla="*/ 2520545 h 6858889"/>
              <a:gd name="connsiteX314" fmla="*/ 3259234 w 9667345"/>
              <a:gd name="connsiteY314" fmla="*/ 1737845 h 6858889"/>
              <a:gd name="connsiteX315" fmla="*/ 3372899 w 9667345"/>
              <a:gd name="connsiteY315" fmla="*/ 1395117 h 6858889"/>
              <a:gd name="connsiteX316" fmla="*/ 3566955 w 9667345"/>
              <a:gd name="connsiteY316" fmla="*/ 1297 h 6858889"/>
              <a:gd name="connsiteX317" fmla="*/ 3423467 w 9667345"/>
              <a:gd name="connsiteY317" fmla="*/ 1297 h 6858889"/>
              <a:gd name="connsiteX318" fmla="*/ 3436865 w 9667345"/>
              <a:gd name="connsiteY318" fmla="*/ 1297 h 6858889"/>
              <a:gd name="connsiteX319" fmla="*/ 3246268 w 9667345"/>
              <a:gd name="connsiteY319" fmla="*/ 1434446 h 6858889"/>
              <a:gd name="connsiteX320" fmla="*/ 3135627 w 9667345"/>
              <a:gd name="connsiteY320" fmla="*/ 1775013 h 6858889"/>
              <a:gd name="connsiteX321" fmla="*/ 2921258 w 9667345"/>
              <a:gd name="connsiteY321" fmla="*/ 2563764 h 6858889"/>
              <a:gd name="connsiteX322" fmla="*/ 3005104 w 9667345"/>
              <a:gd name="connsiteY322" fmla="*/ 3637761 h 6858889"/>
              <a:gd name="connsiteX323" fmla="*/ 3788238 w 9667345"/>
              <a:gd name="connsiteY323" fmla="*/ 5238168 h 6858889"/>
              <a:gd name="connsiteX324" fmla="*/ 4112813 w 9667345"/>
              <a:gd name="connsiteY324" fmla="*/ 5554101 h 6858889"/>
              <a:gd name="connsiteX325" fmla="*/ 5575351 w 9667345"/>
              <a:gd name="connsiteY325" fmla="*/ 6435773 h 6858889"/>
              <a:gd name="connsiteX326" fmla="*/ 6020509 w 9667345"/>
              <a:gd name="connsiteY326" fmla="*/ 6627666 h 6858889"/>
              <a:gd name="connsiteX327" fmla="*/ 6644161 w 9667345"/>
              <a:gd name="connsiteY327" fmla="*/ 6857592 h 6858889"/>
              <a:gd name="connsiteX328" fmla="*/ 6615637 w 9667345"/>
              <a:gd name="connsiteY328" fmla="*/ 6857592 h 6858889"/>
              <a:gd name="connsiteX329" fmla="*/ 6014025 w 9667345"/>
              <a:gd name="connsiteY329" fmla="*/ 6635877 h 6858889"/>
              <a:gd name="connsiteX330" fmla="*/ 5565410 w 9667345"/>
              <a:gd name="connsiteY330" fmla="*/ 6443985 h 6858889"/>
              <a:gd name="connsiteX331" fmla="*/ 4102871 w 9667345"/>
              <a:gd name="connsiteY331" fmla="*/ 5557991 h 6858889"/>
              <a:gd name="connsiteX332" fmla="*/ 3774838 w 9667345"/>
              <a:gd name="connsiteY332" fmla="*/ 5242058 h 6858889"/>
              <a:gd name="connsiteX333" fmla="*/ 2991707 w 9667345"/>
              <a:gd name="connsiteY333" fmla="*/ 3639491 h 6858889"/>
              <a:gd name="connsiteX334" fmla="*/ 2907861 w 9667345"/>
              <a:gd name="connsiteY334" fmla="*/ 2563764 h 6858889"/>
              <a:gd name="connsiteX335" fmla="*/ 3122227 w 9667345"/>
              <a:gd name="connsiteY335" fmla="*/ 1775013 h 6858889"/>
              <a:gd name="connsiteX336" fmla="*/ 3232870 w 9667345"/>
              <a:gd name="connsiteY336" fmla="*/ 1432286 h 6858889"/>
              <a:gd name="connsiteX337" fmla="*/ 3423467 w 9667345"/>
              <a:gd name="connsiteY337" fmla="*/ 1297 h 6858889"/>
              <a:gd name="connsiteX338" fmla="*/ 3276521 w 9667345"/>
              <a:gd name="connsiteY338" fmla="*/ 1297 h 6858889"/>
              <a:gd name="connsiteX339" fmla="*/ 3293377 w 9667345"/>
              <a:gd name="connsiteY339" fmla="*/ 1297 h 6858889"/>
              <a:gd name="connsiteX340" fmla="*/ 3105805 w 9667345"/>
              <a:gd name="connsiteY340" fmla="*/ 1473776 h 6858889"/>
              <a:gd name="connsiteX341" fmla="*/ 2998622 w 9667345"/>
              <a:gd name="connsiteY341" fmla="*/ 1812614 h 6858889"/>
              <a:gd name="connsiteX342" fmla="*/ 2787713 w 9667345"/>
              <a:gd name="connsiteY342" fmla="*/ 2607848 h 6858889"/>
              <a:gd name="connsiteX343" fmla="*/ 2881497 w 9667345"/>
              <a:gd name="connsiteY343" fmla="*/ 3683573 h 6858889"/>
              <a:gd name="connsiteX344" fmla="*/ 3674571 w 9667345"/>
              <a:gd name="connsiteY344" fmla="*/ 5283981 h 6858889"/>
              <a:gd name="connsiteX345" fmla="*/ 4002604 w 9667345"/>
              <a:gd name="connsiteY345" fmla="*/ 5599913 h 6858889"/>
              <a:gd name="connsiteX346" fmla="*/ 5471625 w 9667345"/>
              <a:gd name="connsiteY346" fmla="*/ 6481585 h 6858889"/>
              <a:gd name="connsiteX347" fmla="*/ 5920240 w 9667345"/>
              <a:gd name="connsiteY347" fmla="*/ 6673478 h 6858889"/>
              <a:gd name="connsiteX348" fmla="*/ 6409913 w 9667345"/>
              <a:gd name="connsiteY348" fmla="*/ 6858024 h 6858889"/>
              <a:gd name="connsiteX349" fmla="*/ 6380956 w 9667345"/>
              <a:gd name="connsiteY349" fmla="*/ 6858024 h 6858889"/>
              <a:gd name="connsiteX350" fmla="*/ 5913757 w 9667345"/>
              <a:gd name="connsiteY350" fmla="*/ 6679961 h 6858889"/>
              <a:gd name="connsiteX351" fmla="*/ 5465142 w 9667345"/>
              <a:gd name="connsiteY351" fmla="*/ 6488068 h 6858889"/>
              <a:gd name="connsiteX352" fmla="*/ 3992663 w 9667345"/>
              <a:gd name="connsiteY352" fmla="*/ 5604236 h 6858889"/>
              <a:gd name="connsiteX353" fmla="*/ 3664629 w 9667345"/>
              <a:gd name="connsiteY353" fmla="*/ 5288303 h 6858889"/>
              <a:gd name="connsiteX354" fmla="*/ 2864642 w 9667345"/>
              <a:gd name="connsiteY354" fmla="*/ 3685734 h 6858889"/>
              <a:gd name="connsiteX355" fmla="*/ 2774314 w 9667345"/>
              <a:gd name="connsiteY355" fmla="*/ 2605687 h 6858889"/>
              <a:gd name="connsiteX356" fmla="*/ 2981766 w 9667345"/>
              <a:gd name="connsiteY356" fmla="*/ 1810454 h 6858889"/>
              <a:gd name="connsiteX357" fmla="*/ 3092408 w 9667345"/>
              <a:gd name="connsiteY357" fmla="*/ 1471615 h 6858889"/>
              <a:gd name="connsiteX358" fmla="*/ 3276521 w 9667345"/>
              <a:gd name="connsiteY358" fmla="*/ 1297 h 6858889"/>
              <a:gd name="connsiteX359" fmla="*/ 3132169 w 9667345"/>
              <a:gd name="connsiteY359" fmla="*/ 1297 h 6858889"/>
              <a:gd name="connsiteX360" fmla="*/ 3145566 w 9667345"/>
              <a:gd name="connsiteY360" fmla="*/ 1297 h 6858889"/>
              <a:gd name="connsiteX361" fmla="*/ 2964911 w 9667345"/>
              <a:gd name="connsiteY361" fmla="*/ 1513105 h 6858889"/>
              <a:gd name="connsiteX362" fmla="*/ 2857726 w 9667345"/>
              <a:gd name="connsiteY362" fmla="*/ 1845461 h 6858889"/>
              <a:gd name="connsiteX363" fmla="*/ 2653732 w 9667345"/>
              <a:gd name="connsiteY363" fmla="*/ 2651066 h 6858889"/>
              <a:gd name="connsiteX364" fmla="*/ 2754001 w 9667345"/>
              <a:gd name="connsiteY364" fmla="*/ 3728954 h 6858889"/>
              <a:gd name="connsiteX365" fmla="*/ 3563930 w 9667345"/>
              <a:gd name="connsiteY365" fmla="*/ 5329361 h 6858889"/>
              <a:gd name="connsiteX366" fmla="*/ 3895420 w 9667345"/>
              <a:gd name="connsiteY366" fmla="*/ 5643133 h 6858889"/>
              <a:gd name="connsiteX367" fmla="*/ 5371356 w 9667345"/>
              <a:gd name="connsiteY367" fmla="*/ 6524804 h 6858889"/>
              <a:gd name="connsiteX368" fmla="*/ 5819971 w 9667345"/>
              <a:gd name="connsiteY368" fmla="*/ 6718859 h 6858889"/>
              <a:gd name="connsiteX369" fmla="*/ 6183877 w 9667345"/>
              <a:gd name="connsiteY369" fmla="*/ 6858024 h 6858889"/>
              <a:gd name="connsiteX370" fmla="*/ 6156648 w 9667345"/>
              <a:gd name="connsiteY370" fmla="*/ 6858024 h 6858889"/>
              <a:gd name="connsiteX371" fmla="*/ 5813056 w 9667345"/>
              <a:gd name="connsiteY371" fmla="*/ 6725342 h 6858889"/>
              <a:gd name="connsiteX372" fmla="*/ 5364441 w 9667345"/>
              <a:gd name="connsiteY372" fmla="*/ 6531288 h 6858889"/>
              <a:gd name="connsiteX373" fmla="*/ 3882022 w 9667345"/>
              <a:gd name="connsiteY373" fmla="*/ 5649616 h 6858889"/>
              <a:gd name="connsiteX374" fmla="*/ 3550532 w 9667345"/>
              <a:gd name="connsiteY374" fmla="*/ 5333683 h 6858889"/>
              <a:gd name="connsiteX375" fmla="*/ 2740603 w 9667345"/>
              <a:gd name="connsiteY375" fmla="*/ 3728954 h 6858889"/>
              <a:gd name="connsiteX376" fmla="*/ 2640334 w 9667345"/>
              <a:gd name="connsiteY376" fmla="*/ 2648906 h 6858889"/>
              <a:gd name="connsiteX377" fmla="*/ 2844328 w 9667345"/>
              <a:gd name="connsiteY377" fmla="*/ 1845461 h 6858889"/>
              <a:gd name="connsiteX378" fmla="*/ 2948056 w 9667345"/>
              <a:gd name="connsiteY378" fmla="*/ 1510944 h 6858889"/>
              <a:gd name="connsiteX379" fmla="*/ 3132169 w 9667345"/>
              <a:gd name="connsiteY379" fmla="*/ 1297 h 6858889"/>
              <a:gd name="connsiteX380" fmla="*/ 1666605 w 9667345"/>
              <a:gd name="connsiteY380" fmla="*/ 1297 h 6858889"/>
              <a:gd name="connsiteX381" fmla="*/ 1680003 w 9667345"/>
              <a:gd name="connsiteY381" fmla="*/ 1297 h 6858889"/>
              <a:gd name="connsiteX382" fmla="*/ 1680003 w 9667345"/>
              <a:gd name="connsiteY382" fmla="*/ 19882 h 6858889"/>
              <a:gd name="connsiteX383" fmla="*/ 1549482 w 9667345"/>
              <a:gd name="connsiteY383" fmla="*/ 1899053 h 6858889"/>
              <a:gd name="connsiteX384" fmla="*/ 1482491 w 9667345"/>
              <a:gd name="connsiteY384" fmla="*/ 2186028 h 6858889"/>
              <a:gd name="connsiteX385" fmla="*/ 1321715 w 9667345"/>
              <a:gd name="connsiteY385" fmla="*/ 3078073 h 6858889"/>
              <a:gd name="connsiteX386" fmla="*/ 1495889 w 9667345"/>
              <a:gd name="connsiteY386" fmla="*/ 4176705 h 6858889"/>
              <a:gd name="connsiteX387" fmla="*/ 2439797 w 9667345"/>
              <a:gd name="connsiteY387" fmla="*/ 5785324 h 6858889"/>
              <a:gd name="connsiteX388" fmla="*/ 2801111 w 9667345"/>
              <a:gd name="connsiteY388" fmla="*/ 6095205 h 6858889"/>
              <a:gd name="connsiteX389" fmla="*/ 4120160 w 9667345"/>
              <a:gd name="connsiteY389" fmla="*/ 6858024 h 6858889"/>
              <a:gd name="connsiteX390" fmla="*/ 4095092 w 9667345"/>
              <a:gd name="connsiteY390" fmla="*/ 6858024 h 6858889"/>
              <a:gd name="connsiteX391" fmla="*/ 2790738 w 9667345"/>
              <a:gd name="connsiteY391" fmla="*/ 6101688 h 6858889"/>
              <a:gd name="connsiteX392" fmla="*/ 2425967 w 9667345"/>
              <a:gd name="connsiteY392" fmla="*/ 5789646 h 6858889"/>
              <a:gd name="connsiteX393" fmla="*/ 1479034 w 9667345"/>
              <a:gd name="connsiteY393" fmla="*/ 4178866 h 6858889"/>
              <a:gd name="connsiteX394" fmla="*/ 1308318 w 9667345"/>
              <a:gd name="connsiteY394" fmla="*/ 3078073 h 6858889"/>
              <a:gd name="connsiteX395" fmla="*/ 1469093 w 9667345"/>
              <a:gd name="connsiteY395" fmla="*/ 2183867 h 6858889"/>
              <a:gd name="connsiteX396" fmla="*/ 1536083 w 9667345"/>
              <a:gd name="connsiteY396" fmla="*/ 1899053 h 6858889"/>
              <a:gd name="connsiteX397" fmla="*/ 1666605 w 9667345"/>
              <a:gd name="connsiteY397" fmla="*/ 19882 h 6858889"/>
              <a:gd name="connsiteX398" fmla="*/ 1666605 w 9667345"/>
              <a:gd name="connsiteY398" fmla="*/ 1297 h 6858889"/>
              <a:gd name="connsiteX399" fmla="*/ 5716245 w 9667345"/>
              <a:gd name="connsiteY399" fmla="*/ 865 h 6858889"/>
              <a:gd name="connsiteX400" fmla="*/ 5729643 w 9667345"/>
              <a:gd name="connsiteY400" fmla="*/ 865 h 6858889"/>
              <a:gd name="connsiteX401" fmla="*/ 5508793 w 9667345"/>
              <a:gd name="connsiteY401" fmla="*/ 814683 h 6858889"/>
              <a:gd name="connsiteX402" fmla="*/ 5334619 w 9667345"/>
              <a:gd name="connsiteY402" fmla="*/ 1194580 h 6858889"/>
              <a:gd name="connsiteX403" fmla="*/ 5053695 w 9667345"/>
              <a:gd name="connsiteY403" fmla="*/ 1878739 h 6858889"/>
              <a:gd name="connsiteX404" fmla="*/ 5023441 w 9667345"/>
              <a:gd name="connsiteY404" fmla="*/ 2919458 h 6858889"/>
              <a:gd name="connsiteX405" fmla="*/ 5585723 w 9667345"/>
              <a:gd name="connsiteY405" fmla="*/ 4509493 h 6858889"/>
              <a:gd name="connsiteX406" fmla="*/ 7626966 w 9667345"/>
              <a:gd name="connsiteY406" fmla="*/ 5911524 h 6858889"/>
              <a:gd name="connsiteX407" fmla="*/ 9666913 w 9667345"/>
              <a:gd name="connsiteY407" fmla="*/ 6434908 h 6858889"/>
              <a:gd name="connsiteX408" fmla="*/ 9666913 w 9667345"/>
              <a:gd name="connsiteY408" fmla="*/ 6443985 h 6858889"/>
              <a:gd name="connsiteX409" fmla="*/ 7617025 w 9667345"/>
              <a:gd name="connsiteY409" fmla="*/ 5919736 h 6858889"/>
              <a:gd name="connsiteX410" fmla="*/ 6425472 w 9667345"/>
              <a:gd name="connsiteY410" fmla="*/ 5306455 h 6858889"/>
              <a:gd name="connsiteX411" fmla="*/ 5572325 w 9667345"/>
              <a:gd name="connsiteY411" fmla="*/ 4513383 h 6858889"/>
              <a:gd name="connsiteX412" fmla="*/ 5006586 w 9667345"/>
              <a:gd name="connsiteY412" fmla="*/ 2921188 h 6858889"/>
              <a:gd name="connsiteX413" fmla="*/ 5036839 w 9667345"/>
              <a:gd name="connsiteY413" fmla="*/ 1876146 h 6858889"/>
              <a:gd name="connsiteX414" fmla="*/ 5321221 w 9667345"/>
              <a:gd name="connsiteY414" fmla="*/ 1192419 h 6858889"/>
              <a:gd name="connsiteX415" fmla="*/ 5495395 w 9667345"/>
              <a:gd name="connsiteY415" fmla="*/ 812521 h 6858889"/>
              <a:gd name="connsiteX416" fmla="*/ 5716245 w 9667345"/>
              <a:gd name="connsiteY416" fmla="*/ 865 h 6858889"/>
              <a:gd name="connsiteX417" fmla="*/ 4726525 w 9667345"/>
              <a:gd name="connsiteY417" fmla="*/ 865 h 6858889"/>
              <a:gd name="connsiteX418" fmla="*/ 4739923 w 9667345"/>
              <a:gd name="connsiteY418" fmla="*/ 865 h 6858889"/>
              <a:gd name="connsiteX419" fmla="*/ 4519073 w 9667345"/>
              <a:gd name="connsiteY419" fmla="*/ 1085235 h 6858889"/>
              <a:gd name="connsiteX420" fmla="*/ 4371695 w 9667345"/>
              <a:gd name="connsiteY420" fmla="*/ 1453030 h 6858889"/>
              <a:gd name="connsiteX421" fmla="*/ 4120592 w 9667345"/>
              <a:gd name="connsiteY421" fmla="*/ 2177816 h 6858889"/>
              <a:gd name="connsiteX422" fmla="*/ 4140473 w 9667345"/>
              <a:gd name="connsiteY422" fmla="*/ 3234958 h 6858889"/>
              <a:gd name="connsiteX423" fmla="*/ 4799566 w 9667345"/>
              <a:gd name="connsiteY423" fmla="*/ 4827154 h 6858889"/>
              <a:gd name="connsiteX424" fmla="*/ 5097346 w 9667345"/>
              <a:gd name="connsiteY424" fmla="*/ 5145247 h 6858889"/>
              <a:gd name="connsiteX425" fmla="*/ 6485979 w 9667345"/>
              <a:gd name="connsiteY425" fmla="*/ 6037292 h 6858889"/>
              <a:gd name="connsiteX426" fmla="*/ 6924221 w 9667345"/>
              <a:gd name="connsiteY426" fmla="*/ 6225295 h 6858889"/>
              <a:gd name="connsiteX427" fmla="*/ 8222527 w 9667345"/>
              <a:gd name="connsiteY427" fmla="*/ 6631988 h 6858889"/>
              <a:gd name="connsiteX428" fmla="*/ 9362217 w 9667345"/>
              <a:gd name="connsiteY428" fmla="*/ 6858024 h 6858889"/>
              <a:gd name="connsiteX429" fmla="*/ 9306465 w 9667345"/>
              <a:gd name="connsiteY429" fmla="*/ 6858024 h 6858889"/>
              <a:gd name="connsiteX430" fmla="*/ 8216044 w 9667345"/>
              <a:gd name="connsiteY430" fmla="*/ 6640632 h 6858889"/>
              <a:gd name="connsiteX431" fmla="*/ 6917738 w 9667345"/>
              <a:gd name="connsiteY431" fmla="*/ 6233939 h 6858889"/>
              <a:gd name="connsiteX432" fmla="*/ 6479496 w 9667345"/>
              <a:gd name="connsiteY432" fmla="*/ 6045935 h 6858889"/>
              <a:gd name="connsiteX433" fmla="*/ 5083948 w 9667345"/>
              <a:gd name="connsiteY433" fmla="*/ 5151730 h 6858889"/>
              <a:gd name="connsiteX434" fmla="*/ 4786168 w 9667345"/>
              <a:gd name="connsiteY434" fmla="*/ 4831476 h 6858889"/>
              <a:gd name="connsiteX435" fmla="*/ 4127075 w 9667345"/>
              <a:gd name="connsiteY435" fmla="*/ 3234958 h 6858889"/>
              <a:gd name="connsiteX436" fmla="*/ 4107194 w 9667345"/>
              <a:gd name="connsiteY436" fmla="*/ 2177816 h 6858889"/>
              <a:gd name="connsiteX437" fmla="*/ 4358298 w 9667345"/>
              <a:gd name="connsiteY437" fmla="*/ 1450869 h 6858889"/>
              <a:gd name="connsiteX438" fmla="*/ 4505676 w 9667345"/>
              <a:gd name="connsiteY438" fmla="*/ 1083075 h 6858889"/>
              <a:gd name="connsiteX439" fmla="*/ 4726525 w 9667345"/>
              <a:gd name="connsiteY439" fmla="*/ 865 h 6858889"/>
              <a:gd name="connsiteX440" fmla="*/ 4581741 w 9667345"/>
              <a:gd name="connsiteY440" fmla="*/ 865 h 6858889"/>
              <a:gd name="connsiteX441" fmla="*/ 4595139 w 9667345"/>
              <a:gd name="connsiteY441" fmla="*/ 865 h 6858889"/>
              <a:gd name="connsiteX442" fmla="*/ 4377746 w 9667345"/>
              <a:gd name="connsiteY442" fmla="*/ 1124132 h 6858889"/>
              <a:gd name="connsiteX443" fmla="*/ 4233826 w 9667345"/>
              <a:gd name="connsiteY443" fmla="*/ 1489767 h 6858889"/>
              <a:gd name="connsiteX444" fmla="*/ 3986180 w 9667345"/>
              <a:gd name="connsiteY444" fmla="*/ 2221036 h 6858889"/>
              <a:gd name="connsiteX445" fmla="*/ 4012976 w 9667345"/>
              <a:gd name="connsiteY445" fmla="*/ 3278178 h 6858889"/>
              <a:gd name="connsiteX446" fmla="*/ 4685467 w 9667345"/>
              <a:gd name="connsiteY446" fmla="*/ 4872534 h 6858889"/>
              <a:gd name="connsiteX447" fmla="*/ 4986705 w 9667345"/>
              <a:gd name="connsiteY447" fmla="*/ 5190628 h 6858889"/>
              <a:gd name="connsiteX448" fmla="*/ 6385711 w 9667345"/>
              <a:gd name="connsiteY448" fmla="*/ 6082672 h 6858889"/>
              <a:gd name="connsiteX449" fmla="*/ 6823953 w 9667345"/>
              <a:gd name="connsiteY449" fmla="*/ 6270675 h 6858889"/>
              <a:gd name="connsiteX450" fmla="*/ 8122259 w 9667345"/>
              <a:gd name="connsiteY450" fmla="*/ 6681690 h 6858889"/>
              <a:gd name="connsiteX451" fmla="*/ 8951634 w 9667345"/>
              <a:gd name="connsiteY451" fmla="*/ 6858456 h 6858889"/>
              <a:gd name="connsiteX452" fmla="*/ 8900205 w 9667345"/>
              <a:gd name="connsiteY452" fmla="*/ 6858456 h 6858889"/>
              <a:gd name="connsiteX453" fmla="*/ 8115776 w 9667345"/>
              <a:gd name="connsiteY453" fmla="*/ 6690766 h 6858889"/>
              <a:gd name="connsiteX454" fmla="*/ 6817470 w 9667345"/>
              <a:gd name="connsiteY454" fmla="*/ 6277591 h 6858889"/>
              <a:gd name="connsiteX455" fmla="*/ 6375770 w 9667345"/>
              <a:gd name="connsiteY455" fmla="*/ 6089588 h 6858889"/>
              <a:gd name="connsiteX456" fmla="*/ 4976765 w 9667345"/>
              <a:gd name="connsiteY456" fmla="*/ 5197543 h 6858889"/>
              <a:gd name="connsiteX457" fmla="*/ 4675527 w 9667345"/>
              <a:gd name="connsiteY457" fmla="*/ 4877289 h 6858889"/>
              <a:gd name="connsiteX458" fmla="*/ 3999578 w 9667345"/>
              <a:gd name="connsiteY458" fmla="*/ 3280771 h 6858889"/>
              <a:gd name="connsiteX459" fmla="*/ 3972783 w 9667345"/>
              <a:gd name="connsiteY459" fmla="*/ 2219307 h 6858889"/>
              <a:gd name="connsiteX460" fmla="*/ 4220429 w 9667345"/>
              <a:gd name="connsiteY460" fmla="*/ 1488038 h 6858889"/>
              <a:gd name="connsiteX461" fmla="*/ 4364348 w 9667345"/>
              <a:gd name="connsiteY461" fmla="*/ 1122404 h 6858889"/>
              <a:gd name="connsiteX462" fmla="*/ 4581741 w 9667345"/>
              <a:gd name="connsiteY462" fmla="*/ 865 h 6858889"/>
              <a:gd name="connsiteX463" fmla="*/ 4293901 w 9667345"/>
              <a:gd name="connsiteY463" fmla="*/ 865 h 6858889"/>
              <a:gd name="connsiteX464" fmla="*/ 4307299 w 9667345"/>
              <a:gd name="connsiteY464" fmla="*/ 865 h 6858889"/>
              <a:gd name="connsiteX465" fmla="*/ 4096389 w 9667345"/>
              <a:gd name="connsiteY465" fmla="*/ 1202791 h 6858889"/>
              <a:gd name="connsiteX466" fmla="*/ 3959384 w 9667345"/>
              <a:gd name="connsiteY466" fmla="*/ 1561942 h 6858889"/>
              <a:gd name="connsiteX467" fmla="*/ 3721679 w 9667345"/>
              <a:gd name="connsiteY467" fmla="*/ 2305314 h 6858889"/>
              <a:gd name="connsiteX468" fmla="*/ 3761872 w 9667345"/>
              <a:gd name="connsiteY468" fmla="*/ 3368937 h 6858889"/>
              <a:gd name="connsiteX469" fmla="*/ 4461159 w 9667345"/>
              <a:gd name="connsiteY469" fmla="*/ 4965455 h 6858889"/>
              <a:gd name="connsiteX470" fmla="*/ 4768880 w 9667345"/>
              <a:gd name="connsiteY470" fmla="*/ 5281388 h 6858889"/>
              <a:gd name="connsiteX471" fmla="*/ 6181283 w 9667345"/>
              <a:gd name="connsiteY471" fmla="*/ 6171271 h 6858889"/>
              <a:gd name="connsiteX472" fmla="*/ 6622984 w 9667345"/>
              <a:gd name="connsiteY472" fmla="*/ 6359275 h 6858889"/>
              <a:gd name="connsiteX473" fmla="*/ 7921289 w 9667345"/>
              <a:gd name="connsiteY473" fmla="*/ 6776340 h 6858889"/>
              <a:gd name="connsiteX474" fmla="*/ 8257533 w 9667345"/>
              <a:gd name="connsiteY474" fmla="*/ 6857592 h 6858889"/>
              <a:gd name="connsiteX475" fmla="*/ 8219501 w 9667345"/>
              <a:gd name="connsiteY475" fmla="*/ 6857592 h 6858889"/>
              <a:gd name="connsiteX476" fmla="*/ 7917399 w 9667345"/>
              <a:gd name="connsiteY476" fmla="*/ 6784552 h 6858889"/>
              <a:gd name="connsiteX477" fmla="*/ 6615637 w 9667345"/>
              <a:gd name="connsiteY477" fmla="*/ 6367487 h 6858889"/>
              <a:gd name="connsiteX478" fmla="*/ 6173937 w 9667345"/>
              <a:gd name="connsiteY478" fmla="*/ 6177322 h 6858889"/>
              <a:gd name="connsiteX479" fmla="*/ 4755050 w 9667345"/>
              <a:gd name="connsiteY479" fmla="*/ 5287439 h 6858889"/>
              <a:gd name="connsiteX480" fmla="*/ 4447329 w 9667345"/>
              <a:gd name="connsiteY480" fmla="*/ 4967184 h 6858889"/>
              <a:gd name="connsiteX481" fmla="*/ 3748043 w 9667345"/>
              <a:gd name="connsiteY481" fmla="*/ 3368937 h 6858889"/>
              <a:gd name="connsiteX482" fmla="*/ 3704392 w 9667345"/>
              <a:gd name="connsiteY482" fmla="*/ 2305314 h 6858889"/>
              <a:gd name="connsiteX483" fmla="*/ 3945554 w 9667345"/>
              <a:gd name="connsiteY483" fmla="*/ 1559782 h 6858889"/>
              <a:gd name="connsiteX484" fmla="*/ 4079533 w 9667345"/>
              <a:gd name="connsiteY484" fmla="*/ 1200631 h 6858889"/>
              <a:gd name="connsiteX485" fmla="*/ 4293901 w 9667345"/>
              <a:gd name="connsiteY485" fmla="*/ 865 h 6858889"/>
              <a:gd name="connsiteX486" fmla="*/ 3858684 w 9667345"/>
              <a:gd name="connsiteY486" fmla="*/ 865 h 6858889"/>
              <a:gd name="connsiteX487" fmla="*/ 3872082 w 9667345"/>
              <a:gd name="connsiteY487" fmla="*/ 865 h 6858889"/>
              <a:gd name="connsiteX488" fmla="*/ 3671113 w 9667345"/>
              <a:gd name="connsiteY488" fmla="*/ 1318619 h 6858889"/>
              <a:gd name="connsiteX489" fmla="*/ 3547506 w 9667345"/>
              <a:gd name="connsiteY489" fmla="*/ 1669558 h 6858889"/>
              <a:gd name="connsiteX490" fmla="*/ 3319740 w 9667345"/>
              <a:gd name="connsiteY490" fmla="*/ 2435835 h 6858889"/>
              <a:gd name="connsiteX491" fmla="*/ 3383272 w 9667345"/>
              <a:gd name="connsiteY491" fmla="*/ 3503350 h 6858889"/>
              <a:gd name="connsiteX492" fmla="*/ 4126211 w 9667345"/>
              <a:gd name="connsiteY492" fmla="*/ 5101596 h 6858889"/>
              <a:gd name="connsiteX493" fmla="*/ 4440846 w 9667345"/>
              <a:gd name="connsiteY493" fmla="*/ 5417529 h 6858889"/>
              <a:gd name="connsiteX494" fmla="*/ 5876588 w 9667345"/>
              <a:gd name="connsiteY494" fmla="*/ 6303522 h 6858889"/>
              <a:gd name="connsiteX495" fmla="*/ 6321746 w 9667345"/>
              <a:gd name="connsiteY495" fmla="*/ 6493687 h 6858889"/>
              <a:gd name="connsiteX496" fmla="*/ 7390557 w 9667345"/>
              <a:gd name="connsiteY496" fmla="*/ 6857592 h 6858889"/>
              <a:gd name="connsiteX497" fmla="*/ 7359439 w 9667345"/>
              <a:gd name="connsiteY497" fmla="*/ 6857592 h 6858889"/>
              <a:gd name="connsiteX498" fmla="*/ 6314831 w 9667345"/>
              <a:gd name="connsiteY498" fmla="*/ 6501898 h 6858889"/>
              <a:gd name="connsiteX499" fmla="*/ 5869673 w 9667345"/>
              <a:gd name="connsiteY499" fmla="*/ 6310005 h 6858889"/>
              <a:gd name="connsiteX500" fmla="*/ 4427449 w 9667345"/>
              <a:gd name="connsiteY500" fmla="*/ 5421850 h 6858889"/>
              <a:gd name="connsiteX501" fmla="*/ 4112813 w 9667345"/>
              <a:gd name="connsiteY501" fmla="*/ 5105917 h 6858889"/>
              <a:gd name="connsiteX502" fmla="*/ 3369875 w 9667345"/>
              <a:gd name="connsiteY502" fmla="*/ 3505511 h 6858889"/>
              <a:gd name="connsiteX503" fmla="*/ 3306342 w 9667345"/>
              <a:gd name="connsiteY503" fmla="*/ 2433674 h 6858889"/>
              <a:gd name="connsiteX504" fmla="*/ 3534108 w 9667345"/>
              <a:gd name="connsiteY504" fmla="*/ 1667398 h 6858889"/>
              <a:gd name="connsiteX505" fmla="*/ 3657715 w 9667345"/>
              <a:gd name="connsiteY505" fmla="*/ 1316458 h 6858889"/>
              <a:gd name="connsiteX506" fmla="*/ 3858684 w 9667345"/>
              <a:gd name="connsiteY506" fmla="*/ 865 h 6858889"/>
              <a:gd name="connsiteX507" fmla="*/ 2985225 w 9667345"/>
              <a:gd name="connsiteY507" fmla="*/ 865 h 6858889"/>
              <a:gd name="connsiteX508" fmla="*/ 2998622 w 9667345"/>
              <a:gd name="connsiteY508" fmla="*/ 865 h 6858889"/>
              <a:gd name="connsiteX509" fmla="*/ 2821423 w 9667345"/>
              <a:gd name="connsiteY509" fmla="*/ 1551570 h 6858889"/>
              <a:gd name="connsiteX510" fmla="*/ 2721154 w 9667345"/>
              <a:gd name="connsiteY510" fmla="*/ 1880037 h 6858889"/>
              <a:gd name="connsiteX511" fmla="*/ 2520184 w 9667345"/>
              <a:gd name="connsiteY511" fmla="*/ 2691693 h 6858889"/>
              <a:gd name="connsiteX512" fmla="*/ 2627369 w 9667345"/>
              <a:gd name="connsiteY512" fmla="*/ 3771741 h 6858889"/>
              <a:gd name="connsiteX513" fmla="*/ 3450694 w 9667345"/>
              <a:gd name="connsiteY513" fmla="*/ 5374309 h 6858889"/>
              <a:gd name="connsiteX514" fmla="*/ 3785211 w 9667345"/>
              <a:gd name="connsiteY514" fmla="*/ 5688081 h 6858889"/>
              <a:gd name="connsiteX515" fmla="*/ 5271088 w 9667345"/>
              <a:gd name="connsiteY515" fmla="*/ 6568024 h 6858889"/>
              <a:gd name="connsiteX516" fmla="*/ 5722728 w 9667345"/>
              <a:gd name="connsiteY516" fmla="*/ 6762078 h 6858889"/>
              <a:gd name="connsiteX517" fmla="*/ 5963890 w 9667345"/>
              <a:gd name="connsiteY517" fmla="*/ 6858024 h 6858889"/>
              <a:gd name="connsiteX518" fmla="*/ 5935798 w 9667345"/>
              <a:gd name="connsiteY518" fmla="*/ 6858024 h 6858889"/>
              <a:gd name="connsiteX519" fmla="*/ 5712788 w 9667345"/>
              <a:gd name="connsiteY519" fmla="*/ 6770722 h 6858889"/>
              <a:gd name="connsiteX520" fmla="*/ 5261147 w 9667345"/>
              <a:gd name="connsiteY520" fmla="*/ 6576668 h 6858889"/>
              <a:gd name="connsiteX521" fmla="*/ 3775272 w 9667345"/>
              <a:gd name="connsiteY521" fmla="*/ 5694996 h 6858889"/>
              <a:gd name="connsiteX522" fmla="*/ 3437296 w 9667345"/>
              <a:gd name="connsiteY522" fmla="*/ 5379064 h 6858889"/>
              <a:gd name="connsiteX523" fmla="*/ 2613972 w 9667345"/>
              <a:gd name="connsiteY523" fmla="*/ 3774334 h 6858889"/>
              <a:gd name="connsiteX524" fmla="*/ 2506787 w 9667345"/>
              <a:gd name="connsiteY524" fmla="*/ 2692125 h 6858889"/>
              <a:gd name="connsiteX525" fmla="*/ 2707756 w 9667345"/>
              <a:gd name="connsiteY525" fmla="*/ 1878307 h 6858889"/>
              <a:gd name="connsiteX526" fmla="*/ 2808025 w 9667345"/>
              <a:gd name="connsiteY526" fmla="*/ 1549842 h 6858889"/>
              <a:gd name="connsiteX527" fmla="*/ 2985225 w 9667345"/>
              <a:gd name="connsiteY527" fmla="*/ 865 h 6858889"/>
              <a:gd name="connsiteX528" fmla="*/ 2838710 w 9667345"/>
              <a:gd name="connsiteY528" fmla="*/ 865 h 6858889"/>
              <a:gd name="connsiteX529" fmla="*/ 2855567 w 9667345"/>
              <a:gd name="connsiteY529" fmla="*/ 865 h 6858889"/>
              <a:gd name="connsiteX530" fmla="*/ 2681392 w 9667345"/>
              <a:gd name="connsiteY530" fmla="*/ 1588739 h 6858889"/>
              <a:gd name="connsiteX531" fmla="*/ 2584149 w 9667345"/>
              <a:gd name="connsiteY531" fmla="*/ 1915044 h 6858889"/>
              <a:gd name="connsiteX532" fmla="*/ 2390096 w 9667345"/>
              <a:gd name="connsiteY532" fmla="*/ 2734912 h 6858889"/>
              <a:gd name="connsiteX533" fmla="*/ 2503762 w 9667345"/>
              <a:gd name="connsiteY533" fmla="*/ 3817122 h 6858889"/>
              <a:gd name="connsiteX534" fmla="*/ 3340485 w 9667345"/>
              <a:gd name="connsiteY534" fmla="*/ 5419690 h 6858889"/>
              <a:gd name="connsiteX535" fmla="*/ 3675002 w 9667345"/>
              <a:gd name="connsiteY535" fmla="*/ 5733461 h 6858889"/>
              <a:gd name="connsiteX536" fmla="*/ 5170819 w 9667345"/>
              <a:gd name="connsiteY536" fmla="*/ 6613403 h 6858889"/>
              <a:gd name="connsiteX537" fmla="*/ 5622459 w 9667345"/>
              <a:gd name="connsiteY537" fmla="*/ 6807459 h 6858889"/>
              <a:gd name="connsiteX538" fmla="*/ 5747363 w 9667345"/>
              <a:gd name="connsiteY538" fmla="*/ 6858024 h 6858889"/>
              <a:gd name="connsiteX539" fmla="*/ 5722728 w 9667345"/>
              <a:gd name="connsiteY539" fmla="*/ 6858024 h 6858889"/>
              <a:gd name="connsiteX540" fmla="*/ 5612519 w 9667345"/>
              <a:gd name="connsiteY540" fmla="*/ 6813941 h 6858889"/>
              <a:gd name="connsiteX541" fmla="*/ 5160879 w 9667345"/>
              <a:gd name="connsiteY541" fmla="*/ 6619886 h 6858889"/>
              <a:gd name="connsiteX542" fmla="*/ 3665063 w 9667345"/>
              <a:gd name="connsiteY542" fmla="*/ 5739943 h 6858889"/>
              <a:gd name="connsiteX543" fmla="*/ 3327087 w 9667345"/>
              <a:gd name="connsiteY543" fmla="*/ 5424011 h 6858889"/>
              <a:gd name="connsiteX544" fmla="*/ 2490364 w 9667345"/>
              <a:gd name="connsiteY544" fmla="*/ 3819282 h 6858889"/>
              <a:gd name="connsiteX545" fmla="*/ 2373240 w 9667345"/>
              <a:gd name="connsiteY545" fmla="*/ 2734912 h 6858889"/>
              <a:gd name="connsiteX546" fmla="*/ 2570751 w 9667345"/>
              <a:gd name="connsiteY546" fmla="*/ 1912883 h 6858889"/>
              <a:gd name="connsiteX547" fmla="*/ 2667995 w 9667345"/>
              <a:gd name="connsiteY547" fmla="*/ 1588739 h 6858889"/>
              <a:gd name="connsiteX548" fmla="*/ 2838710 w 9667345"/>
              <a:gd name="connsiteY548" fmla="*/ 865 h 6858889"/>
              <a:gd name="connsiteX549" fmla="*/ 2693495 w 9667345"/>
              <a:gd name="connsiteY549" fmla="*/ 865 h 6858889"/>
              <a:gd name="connsiteX550" fmla="*/ 2706893 w 9667345"/>
              <a:gd name="connsiteY550" fmla="*/ 865 h 6858889"/>
              <a:gd name="connsiteX551" fmla="*/ 2539633 w 9667345"/>
              <a:gd name="connsiteY551" fmla="*/ 1628068 h 6858889"/>
              <a:gd name="connsiteX552" fmla="*/ 2445847 w 9667345"/>
              <a:gd name="connsiteY552" fmla="*/ 1950052 h 6858889"/>
              <a:gd name="connsiteX553" fmla="*/ 2255252 w 9667345"/>
              <a:gd name="connsiteY553" fmla="*/ 2778131 h 6858889"/>
              <a:gd name="connsiteX554" fmla="*/ 2375833 w 9667345"/>
              <a:gd name="connsiteY554" fmla="*/ 3862501 h 6858889"/>
              <a:gd name="connsiteX555" fmla="*/ 3225955 w 9667345"/>
              <a:gd name="connsiteY555" fmla="*/ 5465070 h 6858889"/>
              <a:gd name="connsiteX556" fmla="*/ 3567387 w 9667345"/>
              <a:gd name="connsiteY556" fmla="*/ 5778841 h 6858889"/>
              <a:gd name="connsiteX557" fmla="*/ 5066660 w 9667345"/>
              <a:gd name="connsiteY557" fmla="*/ 6656623 h 6858889"/>
              <a:gd name="connsiteX558" fmla="*/ 5521759 w 9667345"/>
              <a:gd name="connsiteY558" fmla="*/ 6852838 h 6858889"/>
              <a:gd name="connsiteX559" fmla="*/ 5533428 w 9667345"/>
              <a:gd name="connsiteY559" fmla="*/ 6857592 h 6858889"/>
              <a:gd name="connsiteX560" fmla="*/ 5507928 w 9667345"/>
              <a:gd name="connsiteY560" fmla="*/ 6857592 h 6858889"/>
              <a:gd name="connsiteX561" fmla="*/ 5059745 w 9667345"/>
              <a:gd name="connsiteY561" fmla="*/ 6664835 h 6858889"/>
              <a:gd name="connsiteX562" fmla="*/ 3553989 w 9667345"/>
              <a:gd name="connsiteY562" fmla="*/ 5784892 h 6858889"/>
              <a:gd name="connsiteX563" fmla="*/ 3212557 w 9667345"/>
              <a:gd name="connsiteY563" fmla="*/ 5468959 h 6858889"/>
              <a:gd name="connsiteX564" fmla="*/ 2362435 w 9667345"/>
              <a:gd name="connsiteY564" fmla="*/ 3862501 h 6858889"/>
              <a:gd name="connsiteX565" fmla="*/ 2241852 w 9667345"/>
              <a:gd name="connsiteY565" fmla="*/ 2778131 h 6858889"/>
              <a:gd name="connsiteX566" fmla="*/ 2432449 w 9667345"/>
              <a:gd name="connsiteY566" fmla="*/ 1947890 h 6858889"/>
              <a:gd name="connsiteX567" fmla="*/ 2526235 w 9667345"/>
              <a:gd name="connsiteY567" fmla="*/ 1625908 h 6858889"/>
              <a:gd name="connsiteX568" fmla="*/ 2693495 w 9667345"/>
              <a:gd name="connsiteY568" fmla="*/ 865 h 6858889"/>
              <a:gd name="connsiteX569" fmla="*/ 2546980 w 9667345"/>
              <a:gd name="connsiteY569" fmla="*/ 865 h 6858889"/>
              <a:gd name="connsiteX570" fmla="*/ 2560380 w 9667345"/>
              <a:gd name="connsiteY570" fmla="*/ 865 h 6858889"/>
              <a:gd name="connsiteX571" fmla="*/ 2399604 w 9667345"/>
              <a:gd name="connsiteY571" fmla="*/ 1667398 h 6858889"/>
              <a:gd name="connsiteX572" fmla="*/ 2309276 w 9667345"/>
              <a:gd name="connsiteY572" fmla="*/ 1983330 h 6858889"/>
              <a:gd name="connsiteX573" fmla="*/ 2121704 w 9667345"/>
              <a:gd name="connsiteY573" fmla="*/ 2821783 h 6858889"/>
              <a:gd name="connsiteX574" fmla="*/ 2248768 w 9667345"/>
              <a:gd name="connsiteY574" fmla="*/ 3907881 h 6858889"/>
              <a:gd name="connsiteX575" fmla="*/ 3112289 w 9667345"/>
              <a:gd name="connsiteY575" fmla="*/ 5510450 h 6858889"/>
              <a:gd name="connsiteX576" fmla="*/ 3457178 w 9667345"/>
              <a:gd name="connsiteY576" fmla="*/ 5824221 h 6858889"/>
              <a:gd name="connsiteX577" fmla="*/ 4966392 w 9667345"/>
              <a:gd name="connsiteY577" fmla="*/ 6702003 h 6858889"/>
              <a:gd name="connsiteX578" fmla="*/ 5328136 w 9667345"/>
              <a:gd name="connsiteY578" fmla="*/ 6857160 h 6858889"/>
              <a:gd name="connsiteX579" fmla="*/ 5299612 w 9667345"/>
              <a:gd name="connsiteY579" fmla="*/ 6857160 h 6858889"/>
              <a:gd name="connsiteX580" fmla="*/ 4959910 w 9667345"/>
              <a:gd name="connsiteY580" fmla="*/ 6708054 h 6858889"/>
              <a:gd name="connsiteX581" fmla="*/ 3447237 w 9667345"/>
              <a:gd name="connsiteY581" fmla="*/ 5830272 h 6858889"/>
              <a:gd name="connsiteX582" fmla="*/ 3102348 w 9667345"/>
              <a:gd name="connsiteY582" fmla="*/ 5514339 h 6858889"/>
              <a:gd name="connsiteX583" fmla="*/ 2235803 w 9667345"/>
              <a:gd name="connsiteY583" fmla="*/ 3907881 h 6858889"/>
              <a:gd name="connsiteX584" fmla="*/ 2108737 w 9667345"/>
              <a:gd name="connsiteY584" fmla="*/ 2819622 h 6858889"/>
              <a:gd name="connsiteX585" fmla="*/ 2296308 w 9667345"/>
              <a:gd name="connsiteY585" fmla="*/ 1983330 h 6858889"/>
              <a:gd name="connsiteX586" fmla="*/ 2383181 w 9667345"/>
              <a:gd name="connsiteY586" fmla="*/ 1665237 h 6858889"/>
              <a:gd name="connsiteX587" fmla="*/ 2546980 w 9667345"/>
              <a:gd name="connsiteY587" fmla="*/ 865 h 6858889"/>
              <a:gd name="connsiteX588" fmla="*/ 2400036 w 9667345"/>
              <a:gd name="connsiteY588" fmla="*/ 865 h 6858889"/>
              <a:gd name="connsiteX589" fmla="*/ 2413434 w 9667345"/>
              <a:gd name="connsiteY589" fmla="*/ 865 h 6858889"/>
              <a:gd name="connsiteX590" fmla="*/ 2256115 w 9667345"/>
              <a:gd name="connsiteY590" fmla="*/ 1706727 h 6858889"/>
              <a:gd name="connsiteX591" fmla="*/ 2172271 w 9667345"/>
              <a:gd name="connsiteY591" fmla="*/ 2018770 h 6858889"/>
              <a:gd name="connsiteX592" fmla="*/ 1988157 w 9667345"/>
              <a:gd name="connsiteY592" fmla="*/ 2863273 h 6858889"/>
              <a:gd name="connsiteX593" fmla="*/ 2125161 w 9667345"/>
              <a:gd name="connsiteY593" fmla="*/ 3951533 h 6858889"/>
              <a:gd name="connsiteX594" fmla="*/ 3002080 w 9667345"/>
              <a:gd name="connsiteY594" fmla="*/ 5556263 h 6858889"/>
              <a:gd name="connsiteX595" fmla="*/ 3346969 w 9667345"/>
              <a:gd name="connsiteY595" fmla="*/ 5870033 h 6858889"/>
              <a:gd name="connsiteX596" fmla="*/ 4866123 w 9667345"/>
              <a:gd name="connsiteY596" fmla="*/ 6745655 h 6858889"/>
              <a:gd name="connsiteX597" fmla="*/ 5120684 w 9667345"/>
              <a:gd name="connsiteY597" fmla="*/ 6857592 h 6858889"/>
              <a:gd name="connsiteX598" fmla="*/ 5091296 w 9667345"/>
              <a:gd name="connsiteY598" fmla="*/ 6857592 h 6858889"/>
              <a:gd name="connsiteX599" fmla="*/ 4855751 w 9667345"/>
              <a:gd name="connsiteY599" fmla="*/ 6753867 h 6858889"/>
              <a:gd name="connsiteX600" fmla="*/ 3336595 w 9667345"/>
              <a:gd name="connsiteY600" fmla="*/ 5876084 h 6858889"/>
              <a:gd name="connsiteX601" fmla="*/ 2988682 w 9667345"/>
              <a:gd name="connsiteY601" fmla="*/ 5562313 h 6858889"/>
              <a:gd name="connsiteX602" fmla="*/ 2111764 w 9667345"/>
              <a:gd name="connsiteY602" fmla="*/ 3953694 h 6858889"/>
              <a:gd name="connsiteX603" fmla="*/ 1974759 w 9667345"/>
              <a:gd name="connsiteY603" fmla="*/ 2863273 h 6858889"/>
              <a:gd name="connsiteX604" fmla="*/ 2158874 w 9667345"/>
              <a:gd name="connsiteY604" fmla="*/ 2016609 h 6858889"/>
              <a:gd name="connsiteX605" fmla="*/ 2242718 w 9667345"/>
              <a:gd name="connsiteY605" fmla="*/ 1704566 h 6858889"/>
              <a:gd name="connsiteX606" fmla="*/ 2400036 w 9667345"/>
              <a:gd name="connsiteY606" fmla="*/ 865 h 6858889"/>
              <a:gd name="connsiteX607" fmla="*/ 2252226 w 9667345"/>
              <a:gd name="connsiteY607" fmla="*/ 865 h 6858889"/>
              <a:gd name="connsiteX608" fmla="*/ 2265624 w 9667345"/>
              <a:gd name="connsiteY608" fmla="*/ 865 h 6858889"/>
              <a:gd name="connsiteX609" fmla="*/ 2115221 w 9667345"/>
              <a:gd name="connsiteY609" fmla="*/ 1743896 h 6858889"/>
              <a:gd name="connsiteX610" fmla="*/ 2034834 w 9667345"/>
              <a:gd name="connsiteY610" fmla="*/ 2051617 h 6858889"/>
              <a:gd name="connsiteX611" fmla="*/ 1854176 w 9667345"/>
              <a:gd name="connsiteY611" fmla="*/ 2906493 h 6858889"/>
              <a:gd name="connsiteX612" fmla="*/ 1998098 w 9667345"/>
              <a:gd name="connsiteY612" fmla="*/ 3996913 h 6858889"/>
              <a:gd name="connsiteX613" fmla="*/ 2888413 w 9667345"/>
              <a:gd name="connsiteY613" fmla="*/ 5601642 h 6858889"/>
              <a:gd name="connsiteX614" fmla="*/ 3239786 w 9667345"/>
              <a:gd name="connsiteY614" fmla="*/ 5915414 h 6858889"/>
              <a:gd name="connsiteX615" fmla="*/ 4765854 w 9667345"/>
              <a:gd name="connsiteY615" fmla="*/ 6791034 h 6858889"/>
              <a:gd name="connsiteX616" fmla="*/ 4915393 w 9667345"/>
              <a:gd name="connsiteY616" fmla="*/ 6858024 h 6858889"/>
              <a:gd name="connsiteX617" fmla="*/ 4892055 w 9667345"/>
              <a:gd name="connsiteY617" fmla="*/ 6858024 h 6858889"/>
              <a:gd name="connsiteX618" fmla="*/ 4755482 w 9667345"/>
              <a:gd name="connsiteY618" fmla="*/ 6797517 h 6858889"/>
              <a:gd name="connsiteX619" fmla="*/ 3225955 w 9667345"/>
              <a:gd name="connsiteY619" fmla="*/ 5919736 h 6858889"/>
              <a:gd name="connsiteX620" fmla="*/ 2878041 w 9667345"/>
              <a:gd name="connsiteY620" fmla="*/ 5607693 h 6858889"/>
              <a:gd name="connsiteX621" fmla="*/ 1984699 w 9667345"/>
              <a:gd name="connsiteY621" fmla="*/ 3999074 h 6858889"/>
              <a:gd name="connsiteX622" fmla="*/ 1840778 w 9667345"/>
              <a:gd name="connsiteY622" fmla="*/ 2906493 h 6858889"/>
              <a:gd name="connsiteX623" fmla="*/ 2017978 w 9667345"/>
              <a:gd name="connsiteY623" fmla="*/ 2051617 h 6858889"/>
              <a:gd name="connsiteX624" fmla="*/ 2101823 w 9667345"/>
              <a:gd name="connsiteY624" fmla="*/ 1743896 h 6858889"/>
              <a:gd name="connsiteX625" fmla="*/ 2252226 w 9667345"/>
              <a:gd name="connsiteY625" fmla="*/ 865 h 6858889"/>
              <a:gd name="connsiteX626" fmla="*/ 2105282 w 9667345"/>
              <a:gd name="connsiteY626" fmla="*/ 865 h 6858889"/>
              <a:gd name="connsiteX627" fmla="*/ 2122137 w 9667345"/>
              <a:gd name="connsiteY627" fmla="*/ 865 h 6858889"/>
              <a:gd name="connsiteX628" fmla="*/ 1974759 w 9667345"/>
              <a:gd name="connsiteY628" fmla="*/ 1783225 h 6858889"/>
              <a:gd name="connsiteX629" fmla="*/ 1894371 w 9667345"/>
              <a:gd name="connsiteY629" fmla="*/ 2086624 h 6858889"/>
              <a:gd name="connsiteX630" fmla="*/ 1723655 w 9667345"/>
              <a:gd name="connsiteY630" fmla="*/ 2949711 h 6858889"/>
              <a:gd name="connsiteX631" fmla="*/ 1874058 w 9667345"/>
              <a:gd name="connsiteY631" fmla="*/ 4042292 h 6858889"/>
              <a:gd name="connsiteX632" fmla="*/ 2777772 w 9667345"/>
              <a:gd name="connsiteY632" fmla="*/ 5648752 h 6858889"/>
              <a:gd name="connsiteX633" fmla="*/ 3129144 w 9667345"/>
              <a:gd name="connsiteY633" fmla="*/ 5960794 h 6858889"/>
              <a:gd name="connsiteX634" fmla="*/ 4661697 w 9667345"/>
              <a:gd name="connsiteY634" fmla="*/ 6834254 h 6858889"/>
              <a:gd name="connsiteX635" fmla="*/ 4712694 w 9667345"/>
              <a:gd name="connsiteY635" fmla="*/ 6858024 h 6858889"/>
              <a:gd name="connsiteX636" fmla="*/ 4691518 w 9667345"/>
              <a:gd name="connsiteY636" fmla="*/ 6858024 h 6858889"/>
              <a:gd name="connsiteX637" fmla="*/ 4654782 w 9667345"/>
              <a:gd name="connsiteY637" fmla="*/ 6840737 h 6858889"/>
              <a:gd name="connsiteX638" fmla="*/ 3118771 w 9667345"/>
              <a:gd name="connsiteY638" fmla="*/ 5965116 h 6858889"/>
              <a:gd name="connsiteX639" fmla="*/ 2763942 w 9667345"/>
              <a:gd name="connsiteY639" fmla="*/ 5653073 h 6858889"/>
              <a:gd name="connsiteX640" fmla="*/ 1857203 w 9667345"/>
              <a:gd name="connsiteY640" fmla="*/ 4042292 h 6858889"/>
              <a:gd name="connsiteX641" fmla="*/ 1706800 w 9667345"/>
              <a:gd name="connsiteY641" fmla="*/ 2949711 h 6858889"/>
              <a:gd name="connsiteX642" fmla="*/ 1880974 w 9667345"/>
              <a:gd name="connsiteY642" fmla="*/ 2084463 h 6858889"/>
              <a:gd name="connsiteX643" fmla="*/ 1961361 w 9667345"/>
              <a:gd name="connsiteY643" fmla="*/ 1781064 h 6858889"/>
              <a:gd name="connsiteX644" fmla="*/ 2105282 w 9667345"/>
              <a:gd name="connsiteY644" fmla="*/ 865 h 6858889"/>
              <a:gd name="connsiteX645" fmla="*/ 1957472 w 9667345"/>
              <a:gd name="connsiteY645" fmla="*/ 865 h 6858889"/>
              <a:gd name="connsiteX646" fmla="*/ 1974327 w 9667345"/>
              <a:gd name="connsiteY646" fmla="*/ 865 h 6858889"/>
              <a:gd name="connsiteX647" fmla="*/ 1833865 w 9667345"/>
              <a:gd name="connsiteY647" fmla="*/ 1822122 h 6858889"/>
              <a:gd name="connsiteX648" fmla="*/ 1756935 w 9667345"/>
              <a:gd name="connsiteY648" fmla="*/ 2119471 h 6858889"/>
              <a:gd name="connsiteX649" fmla="*/ 1589675 w 9667345"/>
              <a:gd name="connsiteY649" fmla="*/ 2992931 h 6858889"/>
              <a:gd name="connsiteX650" fmla="*/ 1746993 w 9667345"/>
              <a:gd name="connsiteY650" fmla="*/ 4085512 h 6858889"/>
              <a:gd name="connsiteX651" fmla="*/ 2664105 w 9667345"/>
              <a:gd name="connsiteY651" fmla="*/ 5694131 h 6858889"/>
              <a:gd name="connsiteX652" fmla="*/ 3018935 w 9667345"/>
              <a:gd name="connsiteY652" fmla="*/ 6006174 h 6858889"/>
              <a:gd name="connsiteX653" fmla="*/ 4516912 w 9667345"/>
              <a:gd name="connsiteY653" fmla="*/ 6858024 h 6858889"/>
              <a:gd name="connsiteX654" fmla="*/ 4491845 w 9667345"/>
              <a:gd name="connsiteY654" fmla="*/ 6858024 h 6858889"/>
              <a:gd name="connsiteX655" fmla="*/ 3008562 w 9667345"/>
              <a:gd name="connsiteY655" fmla="*/ 6010496 h 6858889"/>
              <a:gd name="connsiteX656" fmla="*/ 2653732 w 9667345"/>
              <a:gd name="connsiteY656" fmla="*/ 5698453 h 6858889"/>
              <a:gd name="connsiteX657" fmla="*/ 1733596 w 9667345"/>
              <a:gd name="connsiteY657" fmla="*/ 4087673 h 6858889"/>
              <a:gd name="connsiteX658" fmla="*/ 1576277 w 9667345"/>
              <a:gd name="connsiteY658" fmla="*/ 2993363 h 6858889"/>
              <a:gd name="connsiteX659" fmla="*/ 1743537 w 9667345"/>
              <a:gd name="connsiteY659" fmla="*/ 2117741 h 6858889"/>
              <a:gd name="connsiteX660" fmla="*/ 1817009 w 9667345"/>
              <a:gd name="connsiteY660" fmla="*/ 1820394 h 6858889"/>
              <a:gd name="connsiteX661" fmla="*/ 1957472 w 9667345"/>
              <a:gd name="connsiteY661" fmla="*/ 865 h 6858889"/>
              <a:gd name="connsiteX662" fmla="*/ 1813983 w 9667345"/>
              <a:gd name="connsiteY662" fmla="*/ 865 h 6858889"/>
              <a:gd name="connsiteX663" fmla="*/ 1827381 w 9667345"/>
              <a:gd name="connsiteY663" fmla="*/ 865 h 6858889"/>
              <a:gd name="connsiteX664" fmla="*/ 1690376 w 9667345"/>
              <a:gd name="connsiteY664" fmla="*/ 1861452 h 6858889"/>
              <a:gd name="connsiteX665" fmla="*/ 1619928 w 9667345"/>
              <a:gd name="connsiteY665" fmla="*/ 2152749 h 6858889"/>
              <a:gd name="connsiteX666" fmla="*/ 1456128 w 9667345"/>
              <a:gd name="connsiteY666" fmla="*/ 3034421 h 6858889"/>
              <a:gd name="connsiteX667" fmla="*/ 1619928 w 9667345"/>
              <a:gd name="connsiteY667" fmla="*/ 4130892 h 6858889"/>
              <a:gd name="connsiteX668" fmla="*/ 2553464 w 9667345"/>
              <a:gd name="connsiteY668" fmla="*/ 5739511 h 6858889"/>
              <a:gd name="connsiteX669" fmla="*/ 2911750 w 9667345"/>
              <a:gd name="connsiteY669" fmla="*/ 6051554 h 6858889"/>
              <a:gd name="connsiteX670" fmla="*/ 4316807 w 9667345"/>
              <a:gd name="connsiteY670" fmla="*/ 6857592 h 6858889"/>
              <a:gd name="connsiteX671" fmla="*/ 4293901 w 9667345"/>
              <a:gd name="connsiteY671" fmla="*/ 6857592 h 6858889"/>
              <a:gd name="connsiteX672" fmla="*/ 2898352 w 9667345"/>
              <a:gd name="connsiteY672" fmla="*/ 6055876 h 6858889"/>
              <a:gd name="connsiteX673" fmla="*/ 2540066 w 9667345"/>
              <a:gd name="connsiteY673" fmla="*/ 5743834 h 6858889"/>
              <a:gd name="connsiteX674" fmla="*/ 1606530 w 9667345"/>
              <a:gd name="connsiteY674" fmla="*/ 4133053 h 6858889"/>
              <a:gd name="connsiteX675" fmla="*/ 1442730 w 9667345"/>
              <a:gd name="connsiteY675" fmla="*/ 3034421 h 6858889"/>
              <a:gd name="connsiteX676" fmla="*/ 1606530 w 9667345"/>
              <a:gd name="connsiteY676" fmla="*/ 2150589 h 6858889"/>
              <a:gd name="connsiteX677" fmla="*/ 1676978 w 9667345"/>
              <a:gd name="connsiteY677" fmla="*/ 1859291 h 6858889"/>
              <a:gd name="connsiteX678" fmla="*/ 1813983 w 9667345"/>
              <a:gd name="connsiteY678" fmla="*/ 865 h 6858889"/>
              <a:gd name="connsiteX679" fmla="*/ 1519660 w 9667345"/>
              <a:gd name="connsiteY679" fmla="*/ 865 h 6858889"/>
              <a:gd name="connsiteX680" fmla="*/ 1533058 w 9667345"/>
              <a:gd name="connsiteY680" fmla="*/ 865 h 6858889"/>
              <a:gd name="connsiteX681" fmla="*/ 1536516 w 9667345"/>
              <a:gd name="connsiteY681" fmla="*/ 52296 h 6858889"/>
              <a:gd name="connsiteX682" fmla="*/ 1409451 w 9667345"/>
              <a:gd name="connsiteY682" fmla="*/ 1937950 h 6858889"/>
              <a:gd name="connsiteX683" fmla="*/ 1342461 w 9667345"/>
              <a:gd name="connsiteY683" fmla="*/ 2218875 h 6858889"/>
              <a:gd name="connsiteX684" fmla="*/ 1188601 w 9667345"/>
              <a:gd name="connsiteY684" fmla="*/ 3121292 h 6858889"/>
              <a:gd name="connsiteX685" fmla="*/ 1369256 w 9667345"/>
              <a:gd name="connsiteY685" fmla="*/ 4222085 h 6858889"/>
              <a:gd name="connsiteX686" fmla="*/ 2329588 w 9667345"/>
              <a:gd name="connsiteY686" fmla="*/ 5830704 h 6858889"/>
              <a:gd name="connsiteX687" fmla="*/ 2690902 w 9667345"/>
              <a:gd name="connsiteY687" fmla="*/ 6140585 h 6858889"/>
              <a:gd name="connsiteX688" fmla="*/ 3923512 w 9667345"/>
              <a:gd name="connsiteY688" fmla="*/ 6858024 h 6858889"/>
              <a:gd name="connsiteX689" fmla="*/ 3900606 w 9667345"/>
              <a:gd name="connsiteY689" fmla="*/ 6858024 h 6858889"/>
              <a:gd name="connsiteX690" fmla="*/ 2680528 w 9667345"/>
              <a:gd name="connsiteY690" fmla="*/ 6147068 h 6858889"/>
              <a:gd name="connsiteX691" fmla="*/ 2315758 w 9667345"/>
              <a:gd name="connsiteY691" fmla="*/ 5835026 h 6858889"/>
              <a:gd name="connsiteX692" fmla="*/ 1355426 w 9667345"/>
              <a:gd name="connsiteY692" fmla="*/ 4222085 h 6858889"/>
              <a:gd name="connsiteX693" fmla="*/ 1174770 w 9667345"/>
              <a:gd name="connsiteY693" fmla="*/ 3121292 h 6858889"/>
              <a:gd name="connsiteX694" fmla="*/ 1329063 w 9667345"/>
              <a:gd name="connsiteY694" fmla="*/ 2216714 h 6858889"/>
              <a:gd name="connsiteX695" fmla="*/ 1396053 w 9667345"/>
              <a:gd name="connsiteY695" fmla="*/ 1937950 h 6858889"/>
              <a:gd name="connsiteX696" fmla="*/ 1523118 w 9667345"/>
              <a:gd name="connsiteY696" fmla="*/ 52296 h 6858889"/>
              <a:gd name="connsiteX697" fmla="*/ 1519660 w 9667345"/>
              <a:gd name="connsiteY697" fmla="*/ 865 h 6858889"/>
              <a:gd name="connsiteX698" fmla="*/ 927556 w 9667345"/>
              <a:gd name="connsiteY698" fmla="*/ 865 h 6858889"/>
              <a:gd name="connsiteX699" fmla="*/ 940955 w 9667345"/>
              <a:gd name="connsiteY699" fmla="*/ 865 h 6858889"/>
              <a:gd name="connsiteX700" fmla="*/ 960836 w 9667345"/>
              <a:gd name="connsiteY700" fmla="*/ 182386 h 6858889"/>
              <a:gd name="connsiteX701" fmla="*/ 843711 w 9667345"/>
              <a:gd name="connsiteY701" fmla="*/ 2092675 h 6858889"/>
              <a:gd name="connsiteX702" fmla="*/ 790119 w 9667345"/>
              <a:gd name="connsiteY702" fmla="*/ 2346804 h 6858889"/>
              <a:gd name="connsiteX703" fmla="*/ 656141 w 9667345"/>
              <a:gd name="connsiteY703" fmla="*/ 3292440 h 6858889"/>
              <a:gd name="connsiteX704" fmla="*/ 863592 w 9667345"/>
              <a:gd name="connsiteY704" fmla="*/ 4401445 h 6858889"/>
              <a:gd name="connsiteX705" fmla="*/ 1877515 w 9667345"/>
              <a:gd name="connsiteY705" fmla="*/ 6012225 h 6858889"/>
              <a:gd name="connsiteX706" fmla="*/ 2255684 w 9667345"/>
              <a:gd name="connsiteY706" fmla="*/ 6322107 h 6858889"/>
              <a:gd name="connsiteX707" fmla="*/ 3150753 w 9667345"/>
              <a:gd name="connsiteY707" fmla="*/ 6858024 h 6858889"/>
              <a:gd name="connsiteX708" fmla="*/ 3127414 w 9667345"/>
              <a:gd name="connsiteY708" fmla="*/ 6858024 h 6858889"/>
              <a:gd name="connsiteX709" fmla="*/ 2242284 w 9667345"/>
              <a:gd name="connsiteY709" fmla="*/ 6328590 h 6858889"/>
              <a:gd name="connsiteX710" fmla="*/ 1867576 w 9667345"/>
              <a:gd name="connsiteY710" fmla="*/ 6016547 h 6858889"/>
              <a:gd name="connsiteX711" fmla="*/ 850194 w 9667345"/>
              <a:gd name="connsiteY711" fmla="*/ 4401445 h 6858889"/>
              <a:gd name="connsiteX712" fmla="*/ 642743 w 9667345"/>
              <a:gd name="connsiteY712" fmla="*/ 3292440 h 6858889"/>
              <a:gd name="connsiteX713" fmla="*/ 776722 w 9667345"/>
              <a:gd name="connsiteY713" fmla="*/ 2344643 h 6858889"/>
              <a:gd name="connsiteX714" fmla="*/ 830313 w 9667345"/>
              <a:gd name="connsiteY714" fmla="*/ 2092675 h 6858889"/>
              <a:gd name="connsiteX715" fmla="*/ 947438 w 9667345"/>
              <a:gd name="connsiteY715" fmla="*/ 182386 h 6858889"/>
              <a:gd name="connsiteX716" fmla="*/ 927556 w 9667345"/>
              <a:gd name="connsiteY716" fmla="*/ 865 h 6858889"/>
              <a:gd name="connsiteX717" fmla="*/ 482400 w 9667345"/>
              <a:gd name="connsiteY717" fmla="*/ 865 h 6858889"/>
              <a:gd name="connsiteX718" fmla="*/ 495797 w 9667345"/>
              <a:gd name="connsiteY718" fmla="*/ 865 h 6858889"/>
              <a:gd name="connsiteX719" fmla="*/ 529076 w 9667345"/>
              <a:gd name="connsiteY719" fmla="*/ 279629 h 6858889"/>
              <a:gd name="connsiteX720" fmla="*/ 418434 w 9667345"/>
              <a:gd name="connsiteY720" fmla="*/ 2208502 h 6858889"/>
              <a:gd name="connsiteX721" fmla="*/ 374782 w 9667345"/>
              <a:gd name="connsiteY721" fmla="*/ 2439725 h 6858889"/>
              <a:gd name="connsiteX722" fmla="*/ 257659 w 9667345"/>
              <a:gd name="connsiteY722" fmla="*/ 3420801 h 6858889"/>
              <a:gd name="connsiteX723" fmla="*/ 485424 w 9667345"/>
              <a:gd name="connsiteY723" fmla="*/ 4535856 h 6858889"/>
              <a:gd name="connsiteX724" fmla="*/ 1542998 w 9667345"/>
              <a:gd name="connsiteY724" fmla="*/ 6148797 h 6858889"/>
              <a:gd name="connsiteX725" fmla="*/ 1927651 w 9667345"/>
              <a:gd name="connsiteY725" fmla="*/ 6458678 h 6858889"/>
              <a:gd name="connsiteX726" fmla="*/ 2581556 w 9667345"/>
              <a:gd name="connsiteY726" fmla="*/ 6857592 h 6858889"/>
              <a:gd name="connsiteX727" fmla="*/ 2559515 w 9667345"/>
              <a:gd name="connsiteY727" fmla="*/ 6857592 h 6858889"/>
              <a:gd name="connsiteX728" fmla="*/ 1914251 w 9667345"/>
              <a:gd name="connsiteY728" fmla="*/ 6462569 h 6858889"/>
              <a:gd name="connsiteX729" fmla="*/ 1529600 w 9667345"/>
              <a:gd name="connsiteY729" fmla="*/ 6154848 h 6858889"/>
              <a:gd name="connsiteX730" fmla="*/ 472026 w 9667345"/>
              <a:gd name="connsiteY730" fmla="*/ 4538018 h 6858889"/>
              <a:gd name="connsiteX731" fmla="*/ 244261 w 9667345"/>
              <a:gd name="connsiteY731" fmla="*/ 3420801 h 6858889"/>
              <a:gd name="connsiteX732" fmla="*/ 361385 w 9667345"/>
              <a:gd name="connsiteY732" fmla="*/ 2439725 h 6858889"/>
              <a:gd name="connsiteX733" fmla="*/ 405036 w 9667345"/>
              <a:gd name="connsiteY733" fmla="*/ 2208502 h 6858889"/>
              <a:gd name="connsiteX734" fmla="*/ 515678 w 9667345"/>
              <a:gd name="connsiteY734" fmla="*/ 279629 h 6858889"/>
              <a:gd name="connsiteX735" fmla="*/ 482400 w 9667345"/>
              <a:gd name="connsiteY735" fmla="*/ 865 h 6858889"/>
              <a:gd name="connsiteX736" fmla="*/ 331564 w 9667345"/>
              <a:gd name="connsiteY736" fmla="*/ 865 h 6858889"/>
              <a:gd name="connsiteX737" fmla="*/ 344962 w 9667345"/>
              <a:gd name="connsiteY737" fmla="*/ 865 h 6858889"/>
              <a:gd name="connsiteX738" fmla="*/ 385156 w 9667345"/>
              <a:gd name="connsiteY738" fmla="*/ 312908 h 6858889"/>
              <a:gd name="connsiteX739" fmla="*/ 277973 w 9667345"/>
              <a:gd name="connsiteY739" fmla="*/ 2247832 h 6858889"/>
              <a:gd name="connsiteX740" fmla="*/ 237778 w 9667345"/>
              <a:gd name="connsiteY740" fmla="*/ 2470843 h 6858889"/>
              <a:gd name="connsiteX741" fmla="*/ 124111 w 9667345"/>
              <a:gd name="connsiteY741" fmla="*/ 3464020 h 6858889"/>
              <a:gd name="connsiteX742" fmla="*/ 361817 w 9667345"/>
              <a:gd name="connsiteY742" fmla="*/ 4579076 h 6858889"/>
              <a:gd name="connsiteX743" fmla="*/ 1429331 w 9667345"/>
              <a:gd name="connsiteY743" fmla="*/ 6194177 h 6858889"/>
              <a:gd name="connsiteX744" fmla="*/ 1817441 w 9667345"/>
              <a:gd name="connsiteY744" fmla="*/ 6504059 h 6858889"/>
              <a:gd name="connsiteX745" fmla="*/ 2394850 w 9667345"/>
              <a:gd name="connsiteY745" fmla="*/ 6857592 h 6858889"/>
              <a:gd name="connsiteX746" fmla="*/ 2373240 w 9667345"/>
              <a:gd name="connsiteY746" fmla="*/ 6857592 h 6858889"/>
              <a:gd name="connsiteX747" fmla="*/ 1807501 w 9667345"/>
              <a:gd name="connsiteY747" fmla="*/ 6507949 h 6858889"/>
              <a:gd name="connsiteX748" fmla="*/ 1415933 w 9667345"/>
              <a:gd name="connsiteY748" fmla="*/ 6200228 h 6858889"/>
              <a:gd name="connsiteX749" fmla="*/ 348419 w 9667345"/>
              <a:gd name="connsiteY749" fmla="*/ 4581237 h 6858889"/>
              <a:gd name="connsiteX750" fmla="*/ 110713 w 9667345"/>
              <a:gd name="connsiteY750" fmla="*/ 3464020 h 6858889"/>
              <a:gd name="connsiteX751" fmla="*/ 224380 w 9667345"/>
              <a:gd name="connsiteY751" fmla="*/ 2470843 h 6858889"/>
              <a:gd name="connsiteX752" fmla="*/ 264575 w 9667345"/>
              <a:gd name="connsiteY752" fmla="*/ 2247832 h 6858889"/>
              <a:gd name="connsiteX753" fmla="*/ 371757 w 9667345"/>
              <a:gd name="connsiteY753" fmla="*/ 312908 h 6858889"/>
              <a:gd name="connsiteX754" fmla="*/ 331564 w 9667345"/>
              <a:gd name="connsiteY754" fmla="*/ 865 h 6858889"/>
              <a:gd name="connsiteX755" fmla="*/ 177272 w 9667345"/>
              <a:gd name="connsiteY755" fmla="*/ 865 h 6858889"/>
              <a:gd name="connsiteX756" fmla="*/ 194126 w 9667345"/>
              <a:gd name="connsiteY756" fmla="*/ 865 h 6858889"/>
              <a:gd name="connsiteX757" fmla="*/ 241235 w 9667345"/>
              <a:gd name="connsiteY757" fmla="*/ 343594 h 6858889"/>
              <a:gd name="connsiteX758" fmla="*/ 137509 w 9667345"/>
              <a:gd name="connsiteY758" fmla="*/ 2286729 h 6858889"/>
              <a:gd name="connsiteX759" fmla="*/ 100773 w 9667345"/>
              <a:gd name="connsiteY759" fmla="*/ 2501528 h 6858889"/>
              <a:gd name="connsiteX760" fmla="*/ 21628 w 9667345"/>
              <a:gd name="connsiteY760" fmla="*/ 3001305 h 6858889"/>
              <a:gd name="connsiteX761" fmla="*/ 0 w 9667345"/>
              <a:gd name="connsiteY761" fmla="*/ 3220433 h 6858889"/>
              <a:gd name="connsiteX762" fmla="*/ 0 w 9667345"/>
              <a:gd name="connsiteY762" fmla="*/ 3069197 h 6858889"/>
              <a:gd name="connsiteX763" fmla="*/ 6448 w 9667345"/>
              <a:gd name="connsiteY763" fmla="*/ 3000440 h 6858889"/>
              <a:gd name="connsiteX764" fmla="*/ 83485 w 9667345"/>
              <a:gd name="connsiteY764" fmla="*/ 2499800 h 6858889"/>
              <a:gd name="connsiteX765" fmla="*/ 120222 w 9667345"/>
              <a:gd name="connsiteY765" fmla="*/ 2285000 h 6858889"/>
              <a:gd name="connsiteX766" fmla="*/ 227406 w 9667345"/>
              <a:gd name="connsiteY766" fmla="*/ 343594 h 6858889"/>
              <a:gd name="connsiteX767" fmla="*/ 177272 w 9667345"/>
              <a:gd name="connsiteY767" fmla="*/ 865 h 6858889"/>
              <a:gd name="connsiteX768" fmla="*/ 26870 w 9667345"/>
              <a:gd name="connsiteY768" fmla="*/ 865 h 6858889"/>
              <a:gd name="connsiteX769" fmla="*/ 39834 w 9667345"/>
              <a:gd name="connsiteY769" fmla="*/ 865 h 6858889"/>
              <a:gd name="connsiteX770" fmla="*/ 96883 w 9667345"/>
              <a:gd name="connsiteY770" fmla="*/ 376872 h 6858889"/>
              <a:gd name="connsiteX771" fmla="*/ 62180 w 9667345"/>
              <a:gd name="connsiteY771" fmla="*/ 1813458 h 6858889"/>
              <a:gd name="connsiteX772" fmla="*/ 0 w 9667345"/>
              <a:gd name="connsiteY772" fmla="*/ 2275627 h 6858889"/>
              <a:gd name="connsiteX773" fmla="*/ 0 w 9667345"/>
              <a:gd name="connsiteY773" fmla="*/ 2177011 h 6858889"/>
              <a:gd name="connsiteX774" fmla="*/ 49031 w 9667345"/>
              <a:gd name="connsiteY774" fmla="*/ 1812364 h 6858889"/>
              <a:gd name="connsiteX775" fmla="*/ 83918 w 9667345"/>
              <a:gd name="connsiteY775" fmla="*/ 376872 h 6858889"/>
              <a:gd name="connsiteX776" fmla="*/ 26870 w 9667345"/>
              <a:gd name="connsiteY776" fmla="*/ 865 h 6858889"/>
              <a:gd name="connsiteX777" fmla="*/ 4005629 w 9667345"/>
              <a:gd name="connsiteY777" fmla="*/ 433 h 6858889"/>
              <a:gd name="connsiteX778" fmla="*/ 4019027 w 9667345"/>
              <a:gd name="connsiteY778" fmla="*/ 433 h 6858889"/>
              <a:gd name="connsiteX779" fmla="*/ 3811575 w 9667345"/>
              <a:gd name="connsiteY779" fmla="*/ 1278857 h 6858889"/>
              <a:gd name="connsiteX780" fmla="*/ 3684510 w 9667345"/>
              <a:gd name="connsiteY780" fmla="*/ 1634119 h 6858889"/>
              <a:gd name="connsiteX781" fmla="*/ 3453720 w 9667345"/>
              <a:gd name="connsiteY781" fmla="*/ 2392184 h 6858889"/>
              <a:gd name="connsiteX782" fmla="*/ 3510769 w 9667345"/>
              <a:gd name="connsiteY782" fmla="*/ 3457970 h 6858889"/>
              <a:gd name="connsiteX783" fmla="*/ 4236852 w 9667345"/>
              <a:gd name="connsiteY783" fmla="*/ 5056216 h 6858889"/>
              <a:gd name="connsiteX784" fmla="*/ 4551488 w 9667345"/>
              <a:gd name="connsiteY784" fmla="*/ 5372149 h 6858889"/>
              <a:gd name="connsiteX785" fmla="*/ 5980314 w 9667345"/>
              <a:gd name="connsiteY785" fmla="*/ 6258142 h 6858889"/>
              <a:gd name="connsiteX786" fmla="*/ 6422015 w 9667345"/>
              <a:gd name="connsiteY786" fmla="*/ 6447010 h 6858889"/>
              <a:gd name="connsiteX787" fmla="*/ 7663269 w 9667345"/>
              <a:gd name="connsiteY787" fmla="*/ 6856728 h 6858889"/>
              <a:gd name="connsiteX788" fmla="*/ 7626102 w 9667345"/>
              <a:gd name="connsiteY788" fmla="*/ 6856728 h 6858889"/>
              <a:gd name="connsiteX789" fmla="*/ 6415531 w 9667345"/>
              <a:gd name="connsiteY789" fmla="*/ 6455654 h 6858889"/>
              <a:gd name="connsiteX790" fmla="*/ 5970373 w 9667345"/>
              <a:gd name="connsiteY790" fmla="*/ 6265489 h 6858889"/>
              <a:gd name="connsiteX791" fmla="*/ 4538090 w 9667345"/>
              <a:gd name="connsiteY791" fmla="*/ 5375605 h 6858889"/>
              <a:gd name="connsiteX792" fmla="*/ 4223454 w 9667345"/>
              <a:gd name="connsiteY792" fmla="*/ 5059673 h 6858889"/>
              <a:gd name="connsiteX793" fmla="*/ 3497371 w 9667345"/>
              <a:gd name="connsiteY793" fmla="*/ 3459266 h 6858889"/>
              <a:gd name="connsiteX794" fmla="*/ 3440323 w 9667345"/>
              <a:gd name="connsiteY794" fmla="*/ 2391752 h 6858889"/>
              <a:gd name="connsiteX795" fmla="*/ 3671113 w 9667345"/>
              <a:gd name="connsiteY795" fmla="*/ 1631957 h 6858889"/>
              <a:gd name="connsiteX796" fmla="*/ 3798177 w 9667345"/>
              <a:gd name="connsiteY796" fmla="*/ 1276696 h 6858889"/>
              <a:gd name="connsiteX797" fmla="*/ 4005629 w 9667345"/>
              <a:gd name="connsiteY797" fmla="*/ 433 h 6858889"/>
              <a:gd name="connsiteX798" fmla="*/ 1372282 w 9667345"/>
              <a:gd name="connsiteY798" fmla="*/ 433 h 6858889"/>
              <a:gd name="connsiteX799" fmla="*/ 1385681 w 9667345"/>
              <a:gd name="connsiteY799" fmla="*/ 433 h 6858889"/>
              <a:gd name="connsiteX800" fmla="*/ 1392163 w 9667345"/>
              <a:gd name="connsiteY800" fmla="*/ 85142 h 6858889"/>
              <a:gd name="connsiteX801" fmla="*/ 1268556 w 9667345"/>
              <a:gd name="connsiteY801" fmla="*/ 1976847 h 6858889"/>
              <a:gd name="connsiteX802" fmla="*/ 1205024 w 9667345"/>
              <a:gd name="connsiteY802" fmla="*/ 2251722 h 6858889"/>
              <a:gd name="connsiteX803" fmla="*/ 1057646 w 9667345"/>
              <a:gd name="connsiteY803" fmla="*/ 3164511 h 6858889"/>
              <a:gd name="connsiteX804" fmla="*/ 1241760 w 9667345"/>
              <a:gd name="connsiteY804" fmla="*/ 4265304 h 6858889"/>
              <a:gd name="connsiteX805" fmla="*/ 2215489 w 9667345"/>
              <a:gd name="connsiteY805" fmla="*/ 5876084 h 6858889"/>
              <a:gd name="connsiteX806" fmla="*/ 2583717 w 9667345"/>
              <a:gd name="connsiteY806" fmla="*/ 6185966 h 6858889"/>
              <a:gd name="connsiteX807" fmla="*/ 3730323 w 9667345"/>
              <a:gd name="connsiteY807" fmla="*/ 6858024 h 6858889"/>
              <a:gd name="connsiteX808" fmla="*/ 3705687 w 9667345"/>
              <a:gd name="connsiteY808" fmla="*/ 6858024 h 6858889"/>
              <a:gd name="connsiteX809" fmla="*/ 2570320 w 9667345"/>
              <a:gd name="connsiteY809" fmla="*/ 6192449 h 6858889"/>
              <a:gd name="connsiteX810" fmla="*/ 2202091 w 9667345"/>
              <a:gd name="connsiteY810" fmla="*/ 5880407 h 6858889"/>
              <a:gd name="connsiteX811" fmla="*/ 1228362 w 9667345"/>
              <a:gd name="connsiteY811" fmla="*/ 4267466 h 6858889"/>
              <a:gd name="connsiteX812" fmla="*/ 1040791 w 9667345"/>
              <a:gd name="connsiteY812" fmla="*/ 3164511 h 6858889"/>
              <a:gd name="connsiteX813" fmla="*/ 1191627 w 9667345"/>
              <a:gd name="connsiteY813" fmla="*/ 2249561 h 6858889"/>
              <a:gd name="connsiteX814" fmla="*/ 1251701 w 9667345"/>
              <a:gd name="connsiteY814" fmla="*/ 1974686 h 6858889"/>
              <a:gd name="connsiteX815" fmla="*/ 1378765 w 9667345"/>
              <a:gd name="connsiteY815" fmla="*/ 85142 h 6858889"/>
              <a:gd name="connsiteX816" fmla="*/ 1372282 w 9667345"/>
              <a:gd name="connsiteY816" fmla="*/ 433 h 6858889"/>
              <a:gd name="connsiteX817" fmla="*/ 1225337 w 9667345"/>
              <a:gd name="connsiteY817" fmla="*/ 433 h 6858889"/>
              <a:gd name="connsiteX818" fmla="*/ 1238734 w 9667345"/>
              <a:gd name="connsiteY818" fmla="*/ 433 h 6858889"/>
              <a:gd name="connsiteX819" fmla="*/ 1248676 w 9667345"/>
              <a:gd name="connsiteY819" fmla="*/ 116260 h 6858889"/>
              <a:gd name="connsiteX820" fmla="*/ 1125069 w 9667345"/>
              <a:gd name="connsiteY820" fmla="*/ 2016176 h 6858889"/>
              <a:gd name="connsiteX821" fmla="*/ 1068020 w 9667345"/>
              <a:gd name="connsiteY821" fmla="*/ 2282407 h 6858889"/>
              <a:gd name="connsiteX822" fmla="*/ 924099 w 9667345"/>
              <a:gd name="connsiteY822" fmla="*/ 3207730 h 6858889"/>
              <a:gd name="connsiteX823" fmla="*/ 1118153 w 9667345"/>
              <a:gd name="connsiteY823" fmla="*/ 4310684 h 6858889"/>
              <a:gd name="connsiteX824" fmla="*/ 2101823 w 9667345"/>
              <a:gd name="connsiteY824" fmla="*/ 5921465 h 6858889"/>
              <a:gd name="connsiteX825" fmla="*/ 2473076 w 9667345"/>
              <a:gd name="connsiteY825" fmla="*/ 6231346 h 6858889"/>
              <a:gd name="connsiteX826" fmla="*/ 3536701 w 9667345"/>
              <a:gd name="connsiteY826" fmla="*/ 6857592 h 6858889"/>
              <a:gd name="connsiteX827" fmla="*/ 3511634 w 9667345"/>
              <a:gd name="connsiteY827" fmla="*/ 6857592 h 6858889"/>
              <a:gd name="connsiteX828" fmla="*/ 2463136 w 9667345"/>
              <a:gd name="connsiteY828" fmla="*/ 6237397 h 6858889"/>
              <a:gd name="connsiteX829" fmla="*/ 2091882 w 9667345"/>
              <a:gd name="connsiteY829" fmla="*/ 5925354 h 6858889"/>
              <a:gd name="connsiteX830" fmla="*/ 1101298 w 9667345"/>
              <a:gd name="connsiteY830" fmla="*/ 4312414 h 6858889"/>
              <a:gd name="connsiteX831" fmla="*/ 910701 w 9667345"/>
              <a:gd name="connsiteY831" fmla="*/ 3205569 h 6858889"/>
              <a:gd name="connsiteX832" fmla="*/ 1054621 w 9667345"/>
              <a:gd name="connsiteY832" fmla="*/ 2282407 h 6858889"/>
              <a:gd name="connsiteX833" fmla="*/ 1111671 w 9667345"/>
              <a:gd name="connsiteY833" fmla="*/ 2014016 h 6858889"/>
              <a:gd name="connsiteX834" fmla="*/ 1235277 w 9667345"/>
              <a:gd name="connsiteY834" fmla="*/ 116260 h 6858889"/>
              <a:gd name="connsiteX835" fmla="*/ 1225337 w 9667345"/>
              <a:gd name="connsiteY835" fmla="*/ 433 h 6858889"/>
              <a:gd name="connsiteX836" fmla="*/ 1074069 w 9667345"/>
              <a:gd name="connsiteY836" fmla="*/ 433 h 6858889"/>
              <a:gd name="connsiteX837" fmla="*/ 1090925 w 9667345"/>
              <a:gd name="connsiteY837" fmla="*/ 433 h 6858889"/>
              <a:gd name="connsiteX838" fmla="*/ 1104323 w 9667345"/>
              <a:gd name="connsiteY838" fmla="*/ 149107 h 6858889"/>
              <a:gd name="connsiteX839" fmla="*/ 983741 w 9667345"/>
              <a:gd name="connsiteY839" fmla="*/ 2053345 h 6858889"/>
              <a:gd name="connsiteX840" fmla="*/ 930150 w 9667345"/>
              <a:gd name="connsiteY840" fmla="*/ 2315686 h 6858889"/>
              <a:gd name="connsiteX841" fmla="*/ 789687 w 9667345"/>
              <a:gd name="connsiteY841" fmla="*/ 3249221 h 6858889"/>
              <a:gd name="connsiteX842" fmla="*/ 990657 w 9667345"/>
              <a:gd name="connsiteY842" fmla="*/ 4356065 h 6858889"/>
              <a:gd name="connsiteX843" fmla="*/ 1991614 w 9667345"/>
              <a:gd name="connsiteY843" fmla="*/ 5966845 h 6858889"/>
              <a:gd name="connsiteX844" fmla="*/ 2362867 w 9667345"/>
              <a:gd name="connsiteY844" fmla="*/ 6276726 h 6858889"/>
              <a:gd name="connsiteX845" fmla="*/ 3342214 w 9667345"/>
              <a:gd name="connsiteY845" fmla="*/ 6858024 h 6858889"/>
              <a:gd name="connsiteX846" fmla="*/ 3320605 w 9667345"/>
              <a:gd name="connsiteY846" fmla="*/ 6858024 h 6858889"/>
              <a:gd name="connsiteX847" fmla="*/ 2352927 w 9667345"/>
              <a:gd name="connsiteY847" fmla="*/ 6283209 h 6858889"/>
              <a:gd name="connsiteX848" fmla="*/ 1978216 w 9667345"/>
              <a:gd name="connsiteY848" fmla="*/ 5971166 h 6858889"/>
              <a:gd name="connsiteX849" fmla="*/ 977691 w 9667345"/>
              <a:gd name="connsiteY849" fmla="*/ 4358225 h 6858889"/>
              <a:gd name="connsiteX850" fmla="*/ 776722 w 9667345"/>
              <a:gd name="connsiteY850" fmla="*/ 3249221 h 6858889"/>
              <a:gd name="connsiteX851" fmla="*/ 913294 w 9667345"/>
              <a:gd name="connsiteY851" fmla="*/ 2313525 h 6858889"/>
              <a:gd name="connsiteX852" fmla="*/ 970344 w 9667345"/>
              <a:gd name="connsiteY852" fmla="*/ 2053345 h 6858889"/>
              <a:gd name="connsiteX853" fmla="*/ 1090925 w 9667345"/>
              <a:gd name="connsiteY853" fmla="*/ 149107 h 6858889"/>
              <a:gd name="connsiteX854" fmla="*/ 1074069 w 9667345"/>
              <a:gd name="connsiteY854" fmla="*/ 433 h 6858889"/>
              <a:gd name="connsiteX855" fmla="*/ 780179 w 9667345"/>
              <a:gd name="connsiteY855" fmla="*/ 433 h 6858889"/>
              <a:gd name="connsiteX856" fmla="*/ 793577 w 9667345"/>
              <a:gd name="connsiteY856" fmla="*/ 433 h 6858889"/>
              <a:gd name="connsiteX857" fmla="*/ 816915 w 9667345"/>
              <a:gd name="connsiteY857" fmla="*/ 213072 h 6858889"/>
              <a:gd name="connsiteX858" fmla="*/ 703249 w 9667345"/>
              <a:gd name="connsiteY858" fmla="*/ 2131572 h 6858889"/>
              <a:gd name="connsiteX859" fmla="*/ 653115 w 9667345"/>
              <a:gd name="connsiteY859" fmla="*/ 2377489 h 6858889"/>
              <a:gd name="connsiteX860" fmla="*/ 522593 w 9667345"/>
              <a:gd name="connsiteY860" fmla="*/ 3335659 h 6858889"/>
              <a:gd name="connsiteX861" fmla="*/ 739985 w 9667345"/>
              <a:gd name="connsiteY861" fmla="*/ 4444664 h 6858889"/>
              <a:gd name="connsiteX862" fmla="*/ 1767306 w 9667345"/>
              <a:gd name="connsiteY862" fmla="*/ 6057605 h 6858889"/>
              <a:gd name="connsiteX863" fmla="*/ 2145475 w 9667345"/>
              <a:gd name="connsiteY863" fmla="*/ 6367487 h 6858889"/>
              <a:gd name="connsiteX864" fmla="*/ 2960590 w 9667345"/>
              <a:gd name="connsiteY864" fmla="*/ 6857160 h 6858889"/>
              <a:gd name="connsiteX865" fmla="*/ 2936818 w 9667345"/>
              <a:gd name="connsiteY865" fmla="*/ 6857160 h 6858889"/>
              <a:gd name="connsiteX866" fmla="*/ 2135535 w 9667345"/>
              <a:gd name="connsiteY866" fmla="*/ 6373105 h 6858889"/>
              <a:gd name="connsiteX867" fmla="*/ 1753909 w 9667345"/>
              <a:gd name="connsiteY867" fmla="*/ 6063223 h 6858889"/>
              <a:gd name="connsiteX868" fmla="*/ 726587 w 9667345"/>
              <a:gd name="connsiteY868" fmla="*/ 4446393 h 6858889"/>
              <a:gd name="connsiteX869" fmla="*/ 509195 w 9667345"/>
              <a:gd name="connsiteY869" fmla="*/ 3335227 h 6858889"/>
              <a:gd name="connsiteX870" fmla="*/ 639717 w 9667345"/>
              <a:gd name="connsiteY870" fmla="*/ 2377057 h 6858889"/>
              <a:gd name="connsiteX871" fmla="*/ 686393 w 9667345"/>
              <a:gd name="connsiteY871" fmla="*/ 2129411 h 6858889"/>
              <a:gd name="connsiteX872" fmla="*/ 803517 w 9667345"/>
              <a:gd name="connsiteY872" fmla="*/ 215232 h 6858889"/>
              <a:gd name="connsiteX873" fmla="*/ 780179 w 9667345"/>
              <a:gd name="connsiteY873" fmla="*/ 433 h 6858889"/>
              <a:gd name="connsiteX874" fmla="*/ 628912 w 9667345"/>
              <a:gd name="connsiteY874" fmla="*/ 433 h 6858889"/>
              <a:gd name="connsiteX875" fmla="*/ 645768 w 9667345"/>
              <a:gd name="connsiteY875" fmla="*/ 433 h 6858889"/>
              <a:gd name="connsiteX876" fmla="*/ 672563 w 9667345"/>
              <a:gd name="connsiteY876" fmla="*/ 246350 h 6858889"/>
              <a:gd name="connsiteX877" fmla="*/ 558897 w 9667345"/>
              <a:gd name="connsiteY877" fmla="*/ 2170901 h 6858889"/>
              <a:gd name="connsiteX878" fmla="*/ 515245 w 9667345"/>
              <a:gd name="connsiteY878" fmla="*/ 2408175 h 6858889"/>
              <a:gd name="connsiteX879" fmla="*/ 391639 w 9667345"/>
              <a:gd name="connsiteY879" fmla="*/ 3378879 h 6858889"/>
              <a:gd name="connsiteX880" fmla="*/ 612488 w 9667345"/>
              <a:gd name="connsiteY880" fmla="*/ 4490044 h 6858889"/>
              <a:gd name="connsiteX881" fmla="*/ 1653207 w 9667345"/>
              <a:gd name="connsiteY881" fmla="*/ 6102985 h 6858889"/>
              <a:gd name="connsiteX882" fmla="*/ 2034834 w 9667345"/>
              <a:gd name="connsiteY882" fmla="*/ 6412867 h 6858889"/>
              <a:gd name="connsiteX883" fmla="*/ 2768696 w 9667345"/>
              <a:gd name="connsiteY883" fmla="*/ 6857592 h 6858889"/>
              <a:gd name="connsiteX884" fmla="*/ 2748382 w 9667345"/>
              <a:gd name="connsiteY884" fmla="*/ 6857592 h 6858889"/>
              <a:gd name="connsiteX885" fmla="*/ 2024893 w 9667345"/>
              <a:gd name="connsiteY885" fmla="*/ 6419349 h 6858889"/>
              <a:gd name="connsiteX886" fmla="*/ 1643267 w 9667345"/>
              <a:gd name="connsiteY886" fmla="*/ 6109468 h 6858889"/>
              <a:gd name="connsiteX887" fmla="*/ 599091 w 9667345"/>
              <a:gd name="connsiteY887" fmla="*/ 4492205 h 6858889"/>
              <a:gd name="connsiteX888" fmla="*/ 374782 w 9667345"/>
              <a:gd name="connsiteY888" fmla="*/ 3379311 h 6858889"/>
              <a:gd name="connsiteX889" fmla="*/ 501847 w 9667345"/>
              <a:gd name="connsiteY889" fmla="*/ 2408607 h 6858889"/>
              <a:gd name="connsiteX890" fmla="*/ 545499 w 9667345"/>
              <a:gd name="connsiteY890" fmla="*/ 2169173 h 6858889"/>
              <a:gd name="connsiteX891" fmla="*/ 659165 w 9667345"/>
              <a:gd name="connsiteY891" fmla="*/ 246350 h 6858889"/>
              <a:gd name="connsiteX892" fmla="*/ 628912 w 9667345"/>
              <a:gd name="connsiteY892" fmla="*/ 433 h 6858889"/>
              <a:gd name="connsiteX893" fmla="*/ 4150413 w 9667345"/>
              <a:gd name="connsiteY893" fmla="*/ 0 h 6858889"/>
              <a:gd name="connsiteX894" fmla="*/ 4163811 w 9667345"/>
              <a:gd name="connsiteY894" fmla="*/ 0 h 6858889"/>
              <a:gd name="connsiteX895" fmla="*/ 3952901 w 9667345"/>
              <a:gd name="connsiteY895" fmla="*/ 1239096 h 6858889"/>
              <a:gd name="connsiteX896" fmla="*/ 3822380 w 9667345"/>
              <a:gd name="connsiteY896" fmla="*/ 1596518 h 6858889"/>
              <a:gd name="connsiteX897" fmla="*/ 3588131 w 9667345"/>
              <a:gd name="connsiteY897" fmla="*/ 2348100 h 6858889"/>
              <a:gd name="connsiteX898" fmla="*/ 3638265 w 9667345"/>
              <a:gd name="connsiteY898" fmla="*/ 3413886 h 6858889"/>
              <a:gd name="connsiteX899" fmla="*/ 4350951 w 9667345"/>
              <a:gd name="connsiteY899" fmla="*/ 5010403 h 6858889"/>
              <a:gd name="connsiteX900" fmla="*/ 4658670 w 9667345"/>
              <a:gd name="connsiteY900" fmla="*/ 5326336 h 6858889"/>
              <a:gd name="connsiteX901" fmla="*/ 6081015 w 9667345"/>
              <a:gd name="connsiteY901" fmla="*/ 6214491 h 6858889"/>
              <a:gd name="connsiteX902" fmla="*/ 6522715 w 9667345"/>
              <a:gd name="connsiteY902" fmla="*/ 6404654 h 6858889"/>
              <a:gd name="connsiteX903" fmla="*/ 7824477 w 9667345"/>
              <a:gd name="connsiteY903" fmla="*/ 6826042 h 6858889"/>
              <a:gd name="connsiteX904" fmla="*/ 7951543 w 9667345"/>
              <a:gd name="connsiteY904" fmla="*/ 6857160 h 6858889"/>
              <a:gd name="connsiteX905" fmla="*/ 7910051 w 9667345"/>
              <a:gd name="connsiteY905" fmla="*/ 6857160 h 6858889"/>
              <a:gd name="connsiteX906" fmla="*/ 7817994 w 9667345"/>
              <a:gd name="connsiteY906" fmla="*/ 6833822 h 6858889"/>
              <a:gd name="connsiteX907" fmla="*/ 6516232 w 9667345"/>
              <a:gd name="connsiteY907" fmla="*/ 6410273 h 6858889"/>
              <a:gd name="connsiteX908" fmla="*/ 6071074 w 9667345"/>
              <a:gd name="connsiteY908" fmla="*/ 6220110 h 6858889"/>
              <a:gd name="connsiteX909" fmla="*/ 4648731 w 9667345"/>
              <a:gd name="connsiteY909" fmla="*/ 5330225 h 6858889"/>
              <a:gd name="connsiteX910" fmla="*/ 4337553 w 9667345"/>
              <a:gd name="connsiteY910" fmla="*/ 5014293 h 6858889"/>
              <a:gd name="connsiteX911" fmla="*/ 3621411 w 9667345"/>
              <a:gd name="connsiteY911" fmla="*/ 3413886 h 6858889"/>
              <a:gd name="connsiteX912" fmla="*/ 3574733 w 9667345"/>
              <a:gd name="connsiteY912" fmla="*/ 2348100 h 6858889"/>
              <a:gd name="connsiteX913" fmla="*/ 3808982 w 9667345"/>
              <a:gd name="connsiteY913" fmla="*/ 1594358 h 6858889"/>
              <a:gd name="connsiteX914" fmla="*/ 3939503 w 9667345"/>
              <a:gd name="connsiteY914" fmla="*/ 1239096 h 6858889"/>
              <a:gd name="connsiteX915" fmla="*/ 4150413 w 9667345"/>
              <a:gd name="connsiteY915" fmla="*/ 0 h 68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</a:cxnLst>
            <a:rect l="l" t="t" r="r" b="b"/>
            <a:pathLst>
              <a:path w="9667345" h="6858889">
                <a:moveTo>
                  <a:pt x="0" y="6810685"/>
                </a:moveTo>
                <a:lnTo>
                  <a:pt x="59283" y="6858456"/>
                </a:lnTo>
                <a:lnTo>
                  <a:pt x="39402" y="6858456"/>
                </a:lnTo>
                <a:lnTo>
                  <a:pt x="0" y="6827674"/>
                </a:lnTo>
                <a:close/>
                <a:moveTo>
                  <a:pt x="0" y="6672270"/>
                </a:moveTo>
                <a:lnTo>
                  <a:pt x="80461" y="6741333"/>
                </a:lnTo>
                <a:cubicBezTo>
                  <a:pt x="130162" y="6780662"/>
                  <a:pt x="180728" y="6819559"/>
                  <a:pt x="232159" y="6857592"/>
                </a:cubicBezTo>
                <a:lnTo>
                  <a:pt x="213144" y="6857592"/>
                </a:lnTo>
                <a:cubicBezTo>
                  <a:pt x="164738" y="6821288"/>
                  <a:pt x="117197" y="6784552"/>
                  <a:pt x="70519" y="6747384"/>
                </a:cubicBezTo>
                <a:lnTo>
                  <a:pt x="0" y="6686879"/>
                </a:lnTo>
                <a:close/>
                <a:moveTo>
                  <a:pt x="0" y="6527854"/>
                </a:moveTo>
                <a:lnTo>
                  <a:pt x="2977" y="6530761"/>
                </a:lnTo>
                <a:cubicBezTo>
                  <a:pt x="64732" y="6587479"/>
                  <a:pt x="128433" y="6642523"/>
                  <a:pt x="194126" y="6695952"/>
                </a:cubicBezTo>
                <a:cubicBezTo>
                  <a:pt x="261117" y="6750841"/>
                  <a:pt x="331564" y="6805297"/>
                  <a:pt x="404173" y="6858024"/>
                </a:cubicBezTo>
                <a:lnTo>
                  <a:pt x="386452" y="6858024"/>
                </a:lnTo>
                <a:cubicBezTo>
                  <a:pt x="315573" y="6807459"/>
                  <a:pt x="246854" y="6755595"/>
                  <a:pt x="180728" y="6702435"/>
                </a:cubicBezTo>
                <a:lnTo>
                  <a:pt x="0" y="6545608"/>
                </a:lnTo>
                <a:close/>
                <a:moveTo>
                  <a:pt x="0" y="6370764"/>
                </a:moveTo>
                <a:lnTo>
                  <a:pt x="116037" y="6485384"/>
                </a:lnTo>
                <a:cubicBezTo>
                  <a:pt x="177042" y="6542099"/>
                  <a:pt x="239940" y="6597143"/>
                  <a:pt x="304768" y="6650572"/>
                </a:cubicBezTo>
                <a:cubicBezTo>
                  <a:pt x="392072" y="6721019"/>
                  <a:pt x="483697" y="6790170"/>
                  <a:pt x="578345" y="6858024"/>
                </a:cubicBezTo>
                <a:lnTo>
                  <a:pt x="559329" y="6858024"/>
                </a:lnTo>
                <a:cubicBezTo>
                  <a:pt x="466839" y="6793196"/>
                  <a:pt x="377808" y="6726206"/>
                  <a:pt x="294395" y="6657055"/>
                </a:cubicBezTo>
                <a:cubicBezTo>
                  <a:pt x="229134" y="6603409"/>
                  <a:pt x="165865" y="6548177"/>
                  <a:pt x="104541" y="6491293"/>
                </a:cubicBezTo>
                <a:lnTo>
                  <a:pt x="0" y="6388228"/>
                </a:lnTo>
                <a:close/>
                <a:moveTo>
                  <a:pt x="0" y="6202503"/>
                </a:moveTo>
                <a:lnTo>
                  <a:pt x="55211" y="6264794"/>
                </a:lnTo>
                <a:cubicBezTo>
                  <a:pt x="168600" y="6385017"/>
                  <a:pt x="289533" y="6498333"/>
                  <a:pt x="418434" y="6605192"/>
                </a:cubicBezTo>
                <a:cubicBezTo>
                  <a:pt x="522593" y="6691631"/>
                  <a:pt x="635828" y="6776340"/>
                  <a:pt x="754680" y="6857592"/>
                </a:cubicBezTo>
                <a:lnTo>
                  <a:pt x="735663" y="6857592"/>
                </a:lnTo>
                <a:cubicBezTo>
                  <a:pt x="620270" y="6778069"/>
                  <a:pt x="510060" y="6695520"/>
                  <a:pt x="408494" y="6611243"/>
                </a:cubicBezTo>
                <a:cubicBezTo>
                  <a:pt x="278836" y="6503843"/>
                  <a:pt x="157336" y="6390123"/>
                  <a:pt x="43521" y="6269568"/>
                </a:cubicBezTo>
                <a:lnTo>
                  <a:pt x="0" y="6220508"/>
                </a:lnTo>
                <a:close/>
                <a:moveTo>
                  <a:pt x="0" y="6024018"/>
                </a:moveTo>
                <a:lnTo>
                  <a:pt x="8034" y="6034410"/>
                </a:lnTo>
                <a:cubicBezTo>
                  <a:pt x="165001" y="6225012"/>
                  <a:pt x="338317" y="6399523"/>
                  <a:pt x="529076" y="6559812"/>
                </a:cubicBezTo>
                <a:cubicBezTo>
                  <a:pt x="652683" y="6662242"/>
                  <a:pt x="789255" y="6762942"/>
                  <a:pt x="932743" y="6858024"/>
                </a:cubicBezTo>
                <a:lnTo>
                  <a:pt x="913294" y="6858024"/>
                </a:lnTo>
                <a:cubicBezTo>
                  <a:pt x="773696" y="6765103"/>
                  <a:pt x="640149" y="6666563"/>
                  <a:pt x="519135" y="6564134"/>
                </a:cubicBezTo>
                <a:cubicBezTo>
                  <a:pt x="391098" y="6457275"/>
                  <a:pt x="271003" y="6343959"/>
                  <a:pt x="158491" y="6223702"/>
                </a:cubicBezTo>
                <a:lnTo>
                  <a:pt x="0" y="6043322"/>
                </a:lnTo>
                <a:close/>
                <a:moveTo>
                  <a:pt x="0" y="5825690"/>
                </a:moveTo>
                <a:lnTo>
                  <a:pt x="125453" y="5989143"/>
                </a:lnTo>
                <a:cubicBezTo>
                  <a:pt x="281200" y="6179631"/>
                  <a:pt x="453280" y="6354142"/>
                  <a:pt x="642743" y="6514432"/>
                </a:cubicBezTo>
                <a:cubicBezTo>
                  <a:pt x="770240" y="6619886"/>
                  <a:pt x="907245" y="6722749"/>
                  <a:pt x="1051163" y="6819992"/>
                </a:cubicBezTo>
                <a:cubicBezTo>
                  <a:pt x="1070613" y="6832525"/>
                  <a:pt x="1090493" y="6845058"/>
                  <a:pt x="1109942" y="6858456"/>
                </a:cubicBezTo>
                <a:lnTo>
                  <a:pt x="1090062" y="6858456"/>
                </a:lnTo>
                <a:cubicBezTo>
                  <a:pt x="1073637" y="6848084"/>
                  <a:pt x="1057215" y="6837712"/>
                  <a:pt x="1040791" y="6826907"/>
                </a:cubicBezTo>
                <a:cubicBezTo>
                  <a:pt x="896871" y="6729664"/>
                  <a:pt x="755977" y="6626369"/>
                  <a:pt x="632370" y="6519185"/>
                </a:cubicBezTo>
                <a:cubicBezTo>
                  <a:pt x="441611" y="6358896"/>
                  <a:pt x="268781" y="6184081"/>
                  <a:pt x="112604" y="5993214"/>
                </a:cubicBezTo>
                <a:lnTo>
                  <a:pt x="0" y="5846530"/>
                </a:lnTo>
                <a:close/>
                <a:moveTo>
                  <a:pt x="0" y="5604549"/>
                </a:moveTo>
                <a:lnTo>
                  <a:pt x="95478" y="5747885"/>
                </a:lnTo>
                <a:cubicBezTo>
                  <a:pt x="286291" y="6016330"/>
                  <a:pt x="505520" y="6255332"/>
                  <a:pt x="756408" y="6469052"/>
                </a:cubicBezTo>
                <a:cubicBezTo>
                  <a:pt x="880449" y="6574506"/>
                  <a:pt x="1017453" y="6677369"/>
                  <a:pt x="1161372" y="6774611"/>
                </a:cubicBezTo>
                <a:cubicBezTo>
                  <a:pt x="1202863" y="6803136"/>
                  <a:pt x="1246083" y="6830364"/>
                  <a:pt x="1289734" y="6857592"/>
                </a:cubicBezTo>
                <a:lnTo>
                  <a:pt x="1271150" y="6857592"/>
                </a:lnTo>
                <a:cubicBezTo>
                  <a:pt x="1230523" y="6832093"/>
                  <a:pt x="1190329" y="6806593"/>
                  <a:pt x="1151432" y="6780662"/>
                </a:cubicBezTo>
                <a:cubicBezTo>
                  <a:pt x="1004054" y="6683419"/>
                  <a:pt x="870076" y="6580125"/>
                  <a:pt x="743010" y="6472941"/>
                </a:cubicBezTo>
                <a:cubicBezTo>
                  <a:pt x="491907" y="6260303"/>
                  <a:pt x="272678" y="6021301"/>
                  <a:pt x="81919" y="5752315"/>
                </a:cubicBezTo>
                <a:lnTo>
                  <a:pt x="0" y="5628996"/>
                </a:lnTo>
                <a:close/>
                <a:moveTo>
                  <a:pt x="0" y="5359076"/>
                </a:moveTo>
                <a:lnTo>
                  <a:pt x="78670" y="5496155"/>
                </a:lnTo>
                <a:cubicBezTo>
                  <a:pt x="296387" y="5850882"/>
                  <a:pt x="557492" y="6157873"/>
                  <a:pt x="867049" y="6423672"/>
                </a:cubicBezTo>
                <a:cubicBezTo>
                  <a:pt x="991088" y="6529127"/>
                  <a:pt x="1128093" y="6631988"/>
                  <a:pt x="1272015" y="6729231"/>
                </a:cubicBezTo>
                <a:cubicBezTo>
                  <a:pt x="1335979" y="6773315"/>
                  <a:pt x="1402536" y="6816102"/>
                  <a:pt x="1469526" y="6857592"/>
                </a:cubicBezTo>
                <a:lnTo>
                  <a:pt x="1450509" y="6857592"/>
                </a:lnTo>
                <a:cubicBezTo>
                  <a:pt x="1385681" y="6818263"/>
                  <a:pt x="1321284" y="6777637"/>
                  <a:pt x="1258184" y="6735282"/>
                </a:cubicBezTo>
                <a:cubicBezTo>
                  <a:pt x="1114264" y="6638039"/>
                  <a:pt x="980285" y="6534745"/>
                  <a:pt x="856678" y="6427561"/>
                </a:cubicBezTo>
                <a:cubicBezTo>
                  <a:pt x="547120" y="6161763"/>
                  <a:pt x="284664" y="5854772"/>
                  <a:pt x="65196" y="5499518"/>
                </a:cubicBezTo>
                <a:lnTo>
                  <a:pt x="0" y="5386698"/>
                </a:lnTo>
                <a:close/>
                <a:moveTo>
                  <a:pt x="0" y="5079907"/>
                </a:moveTo>
                <a:lnTo>
                  <a:pt x="75746" y="5232455"/>
                </a:lnTo>
                <a:cubicBezTo>
                  <a:pt x="314438" y="5681597"/>
                  <a:pt x="611840" y="6058901"/>
                  <a:pt x="980716" y="6377859"/>
                </a:cubicBezTo>
                <a:cubicBezTo>
                  <a:pt x="1100866" y="6483315"/>
                  <a:pt x="1238303" y="6586176"/>
                  <a:pt x="1378765" y="6683419"/>
                </a:cubicBezTo>
                <a:cubicBezTo>
                  <a:pt x="1466068" y="6743925"/>
                  <a:pt x="1558557" y="6801840"/>
                  <a:pt x="1652775" y="6858024"/>
                </a:cubicBezTo>
                <a:lnTo>
                  <a:pt x="1631165" y="6858024"/>
                </a:lnTo>
                <a:cubicBezTo>
                  <a:pt x="1540405" y="6804432"/>
                  <a:pt x="1452670" y="6748680"/>
                  <a:pt x="1368824" y="6690334"/>
                </a:cubicBezTo>
                <a:cubicBezTo>
                  <a:pt x="1224905" y="6593091"/>
                  <a:pt x="1090925" y="6489797"/>
                  <a:pt x="967318" y="6382614"/>
                </a:cubicBezTo>
                <a:cubicBezTo>
                  <a:pt x="600712" y="6063656"/>
                  <a:pt x="301932" y="5685380"/>
                  <a:pt x="62592" y="5235569"/>
                </a:cubicBezTo>
                <a:lnTo>
                  <a:pt x="0" y="5109615"/>
                </a:lnTo>
                <a:close/>
                <a:moveTo>
                  <a:pt x="0" y="4754262"/>
                </a:moveTo>
                <a:lnTo>
                  <a:pt x="86287" y="4958028"/>
                </a:lnTo>
                <a:cubicBezTo>
                  <a:pt x="336960" y="5509160"/>
                  <a:pt x="666675" y="5960362"/>
                  <a:pt x="1091358" y="6332479"/>
                </a:cubicBezTo>
                <a:cubicBezTo>
                  <a:pt x="1214964" y="6437934"/>
                  <a:pt x="1348944" y="6540795"/>
                  <a:pt x="1489406" y="6638039"/>
                </a:cubicBezTo>
                <a:cubicBezTo>
                  <a:pt x="1600048" y="6714537"/>
                  <a:pt x="1716308" y="6787577"/>
                  <a:pt x="1836889" y="6857592"/>
                </a:cubicBezTo>
                <a:lnTo>
                  <a:pt x="1816575" y="6857592"/>
                </a:lnTo>
                <a:cubicBezTo>
                  <a:pt x="1699884" y="6789306"/>
                  <a:pt x="1586651" y="6718427"/>
                  <a:pt x="1479466" y="6644089"/>
                </a:cubicBezTo>
                <a:cubicBezTo>
                  <a:pt x="1335546" y="6546846"/>
                  <a:pt x="1201999" y="6443552"/>
                  <a:pt x="1081417" y="6336369"/>
                </a:cubicBezTo>
                <a:cubicBezTo>
                  <a:pt x="656734" y="5964251"/>
                  <a:pt x="324372" y="5511395"/>
                  <a:pt x="73038" y="4959848"/>
                </a:cubicBezTo>
                <a:lnTo>
                  <a:pt x="0" y="4787554"/>
                </a:lnTo>
                <a:close/>
                <a:moveTo>
                  <a:pt x="0" y="4357497"/>
                </a:moveTo>
                <a:lnTo>
                  <a:pt x="3590" y="4371077"/>
                </a:lnTo>
                <a:cubicBezTo>
                  <a:pt x="33405" y="4468408"/>
                  <a:pt x="67926" y="4568055"/>
                  <a:pt x="107256" y="4670269"/>
                </a:cubicBezTo>
                <a:cubicBezTo>
                  <a:pt x="364842" y="5332819"/>
                  <a:pt x="723130" y="5861822"/>
                  <a:pt x="1205024" y="6287099"/>
                </a:cubicBezTo>
                <a:cubicBezTo>
                  <a:pt x="1325606" y="6392554"/>
                  <a:pt x="1456128" y="6495415"/>
                  <a:pt x="1600048" y="6592659"/>
                </a:cubicBezTo>
                <a:cubicBezTo>
                  <a:pt x="1733164" y="6685148"/>
                  <a:pt x="1874923" y="6773747"/>
                  <a:pt x="2023165" y="6858024"/>
                </a:cubicBezTo>
                <a:lnTo>
                  <a:pt x="2001554" y="6858024"/>
                </a:lnTo>
                <a:cubicBezTo>
                  <a:pt x="1858500" y="6775908"/>
                  <a:pt x="1719334" y="6689469"/>
                  <a:pt x="1587082" y="6599142"/>
                </a:cubicBezTo>
                <a:cubicBezTo>
                  <a:pt x="1446188" y="6501898"/>
                  <a:pt x="1315665" y="6398605"/>
                  <a:pt x="1192058" y="6291421"/>
                </a:cubicBezTo>
                <a:cubicBezTo>
                  <a:pt x="713190" y="5866144"/>
                  <a:pt x="351877" y="5337573"/>
                  <a:pt x="94290" y="4672429"/>
                </a:cubicBezTo>
                <a:lnTo>
                  <a:pt x="0" y="4400852"/>
                </a:lnTo>
                <a:close/>
                <a:moveTo>
                  <a:pt x="0" y="3631903"/>
                </a:moveTo>
                <a:lnTo>
                  <a:pt x="10844" y="3768898"/>
                </a:lnTo>
                <a:cubicBezTo>
                  <a:pt x="44858" y="4035486"/>
                  <a:pt x="118926" y="4317816"/>
                  <a:pt x="234320" y="4624456"/>
                </a:cubicBezTo>
                <a:cubicBezTo>
                  <a:pt x="488449" y="5287439"/>
                  <a:pt x="839822" y="5816009"/>
                  <a:pt x="1315233" y="6239558"/>
                </a:cubicBezTo>
                <a:cubicBezTo>
                  <a:pt x="1435814" y="6347174"/>
                  <a:pt x="1566337" y="6450035"/>
                  <a:pt x="1706800" y="6547278"/>
                </a:cubicBezTo>
                <a:cubicBezTo>
                  <a:pt x="1864118" y="6656623"/>
                  <a:pt x="2028350" y="6758620"/>
                  <a:pt x="2205549" y="6857592"/>
                </a:cubicBezTo>
                <a:lnTo>
                  <a:pt x="2183507" y="6857592"/>
                </a:lnTo>
                <a:cubicBezTo>
                  <a:pt x="2010198" y="6760782"/>
                  <a:pt x="1848127" y="6660513"/>
                  <a:pt x="1696860" y="6553329"/>
                </a:cubicBezTo>
                <a:cubicBezTo>
                  <a:pt x="1556397" y="6456086"/>
                  <a:pt x="1425874" y="6352792"/>
                  <a:pt x="1305292" y="6245609"/>
                </a:cubicBezTo>
                <a:cubicBezTo>
                  <a:pt x="829883" y="5820332"/>
                  <a:pt x="475051" y="5291760"/>
                  <a:pt x="220923" y="4626617"/>
                </a:cubicBezTo>
                <a:cubicBezTo>
                  <a:pt x="142263" y="4421110"/>
                  <a:pt x="82837" y="4226947"/>
                  <a:pt x="42265" y="4041321"/>
                </a:cubicBezTo>
                <a:lnTo>
                  <a:pt x="0" y="3795139"/>
                </a:lnTo>
                <a:close/>
                <a:moveTo>
                  <a:pt x="5434888" y="1729"/>
                </a:moveTo>
                <a:lnTo>
                  <a:pt x="5448286" y="1729"/>
                </a:lnTo>
                <a:cubicBezTo>
                  <a:pt x="5418033" y="302967"/>
                  <a:pt x="5344560" y="600316"/>
                  <a:pt x="5227436" y="893774"/>
                </a:cubicBezTo>
                <a:cubicBezTo>
                  <a:pt x="5173844" y="1019974"/>
                  <a:pt x="5117227" y="1145742"/>
                  <a:pt x="5060177" y="1269781"/>
                </a:cubicBezTo>
                <a:cubicBezTo>
                  <a:pt x="4952995" y="1494521"/>
                  <a:pt x="4842785" y="1727905"/>
                  <a:pt x="4785736" y="1963449"/>
                </a:cubicBezTo>
                <a:cubicBezTo>
                  <a:pt x="4695407" y="2329084"/>
                  <a:pt x="4728687" y="2696879"/>
                  <a:pt x="4768880" y="3010651"/>
                </a:cubicBezTo>
                <a:cubicBezTo>
                  <a:pt x="4832844" y="3470935"/>
                  <a:pt x="4956451" y="4067793"/>
                  <a:pt x="5361416" y="4600686"/>
                </a:cubicBezTo>
                <a:cubicBezTo>
                  <a:pt x="5441371" y="4710462"/>
                  <a:pt x="5538614" y="4817646"/>
                  <a:pt x="5642341" y="4920939"/>
                </a:cubicBezTo>
                <a:cubicBezTo>
                  <a:pt x="5986797" y="5257618"/>
                  <a:pt x="6438438" y="5559287"/>
                  <a:pt x="6990779" y="5817306"/>
                </a:cubicBezTo>
                <a:cubicBezTo>
                  <a:pt x="7131674" y="5883431"/>
                  <a:pt x="7275593" y="5945235"/>
                  <a:pt x="7425997" y="6003148"/>
                </a:cubicBezTo>
                <a:cubicBezTo>
                  <a:pt x="7821020" y="6156144"/>
                  <a:pt x="8255805" y="6287963"/>
                  <a:pt x="8717818" y="6393418"/>
                </a:cubicBezTo>
                <a:cubicBezTo>
                  <a:pt x="9019489" y="6462137"/>
                  <a:pt x="9337150" y="6520050"/>
                  <a:pt x="9666913" y="6567592"/>
                </a:cubicBezTo>
                <a:lnTo>
                  <a:pt x="9666913" y="6576236"/>
                </a:lnTo>
                <a:cubicBezTo>
                  <a:pt x="9335853" y="6528262"/>
                  <a:pt x="9016896" y="6470348"/>
                  <a:pt x="8714362" y="6401198"/>
                </a:cubicBezTo>
                <a:cubicBezTo>
                  <a:pt x="8249322" y="6295742"/>
                  <a:pt x="7814105" y="6163492"/>
                  <a:pt x="7416056" y="6008767"/>
                </a:cubicBezTo>
                <a:cubicBezTo>
                  <a:pt x="7268679" y="5950854"/>
                  <a:pt x="7124759" y="5889050"/>
                  <a:pt x="6984296" y="5822924"/>
                </a:cubicBezTo>
                <a:cubicBezTo>
                  <a:pt x="6428930" y="5564474"/>
                  <a:pt x="5973832" y="5263236"/>
                  <a:pt x="5632400" y="4924397"/>
                </a:cubicBezTo>
                <a:cubicBezTo>
                  <a:pt x="5525216" y="4821103"/>
                  <a:pt x="5431863" y="4713487"/>
                  <a:pt x="5348018" y="4604143"/>
                </a:cubicBezTo>
                <a:cubicBezTo>
                  <a:pt x="4943053" y="4069089"/>
                  <a:pt x="4819014" y="3472232"/>
                  <a:pt x="4755482" y="3009786"/>
                </a:cubicBezTo>
                <a:cubicBezTo>
                  <a:pt x="4712262" y="2697743"/>
                  <a:pt x="4682010" y="2328220"/>
                  <a:pt x="4772337" y="1962585"/>
                </a:cubicBezTo>
                <a:cubicBezTo>
                  <a:pt x="4828955" y="1725312"/>
                  <a:pt x="4939596" y="1491927"/>
                  <a:pt x="5043322" y="1266755"/>
                </a:cubicBezTo>
                <a:cubicBezTo>
                  <a:pt x="5103397" y="1142716"/>
                  <a:pt x="5160446" y="1016517"/>
                  <a:pt x="5210581" y="890749"/>
                </a:cubicBezTo>
                <a:cubicBezTo>
                  <a:pt x="5327704" y="597723"/>
                  <a:pt x="5404635" y="300374"/>
                  <a:pt x="5434888" y="1729"/>
                </a:cubicBezTo>
                <a:close/>
                <a:moveTo>
                  <a:pt x="5575783" y="1297"/>
                </a:moveTo>
                <a:lnTo>
                  <a:pt x="5589181" y="1297"/>
                </a:lnTo>
                <a:cubicBezTo>
                  <a:pt x="5555902" y="288272"/>
                  <a:pt x="5481997" y="573087"/>
                  <a:pt x="5368330" y="854012"/>
                </a:cubicBezTo>
                <a:cubicBezTo>
                  <a:pt x="5314738" y="979780"/>
                  <a:pt x="5254664" y="1107709"/>
                  <a:pt x="5197614" y="1231748"/>
                </a:cubicBezTo>
                <a:cubicBezTo>
                  <a:pt x="5090430" y="1454760"/>
                  <a:pt x="4979790" y="1685982"/>
                  <a:pt x="4919715" y="1921527"/>
                </a:cubicBezTo>
                <a:cubicBezTo>
                  <a:pt x="4825929" y="2282839"/>
                  <a:pt x="4856183" y="2652364"/>
                  <a:pt x="4896376" y="2964406"/>
                </a:cubicBezTo>
                <a:cubicBezTo>
                  <a:pt x="4956883" y="3424691"/>
                  <a:pt x="5077033" y="4021548"/>
                  <a:pt x="5472057" y="4554441"/>
                </a:cubicBezTo>
                <a:cubicBezTo>
                  <a:pt x="5555470" y="4664218"/>
                  <a:pt x="5649256" y="4771402"/>
                  <a:pt x="5752981" y="4874695"/>
                </a:cubicBezTo>
                <a:cubicBezTo>
                  <a:pt x="6094413" y="5213533"/>
                  <a:pt x="6546053" y="5515204"/>
                  <a:pt x="7094937" y="5773223"/>
                </a:cubicBezTo>
                <a:cubicBezTo>
                  <a:pt x="7232375" y="5837187"/>
                  <a:pt x="7376294" y="5898990"/>
                  <a:pt x="7526698" y="5956904"/>
                </a:cubicBezTo>
                <a:cubicBezTo>
                  <a:pt x="7921721" y="6109900"/>
                  <a:pt x="8353481" y="6239990"/>
                  <a:pt x="8818519" y="6343283"/>
                </a:cubicBezTo>
                <a:cubicBezTo>
                  <a:pt x="9090369" y="6405087"/>
                  <a:pt x="9373886" y="6457382"/>
                  <a:pt x="9666913" y="6500602"/>
                </a:cubicBezTo>
                <a:lnTo>
                  <a:pt x="9666913" y="6509246"/>
                </a:lnTo>
                <a:cubicBezTo>
                  <a:pt x="9372158" y="6465594"/>
                  <a:pt x="9086479" y="6413299"/>
                  <a:pt x="8811605" y="6351496"/>
                </a:cubicBezTo>
                <a:cubicBezTo>
                  <a:pt x="8349591" y="6248201"/>
                  <a:pt x="7914374" y="6118112"/>
                  <a:pt x="7516324" y="5965116"/>
                </a:cubicBezTo>
                <a:cubicBezTo>
                  <a:pt x="7368947" y="5907202"/>
                  <a:pt x="7225028" y="5845399"/>
                  <a:pt x="7084564" y="5779273"/>
                </a:cubicBezTo>
                <a:cubicBezTo>
                  <a:pt x="6535681" y="5521255"/>
                  <a:pt x="6080582" y="5217856"/>
                  <a:pt x="5739151" y="4879017"/>
                </a:cubicBezTo>
                <a:cubicBezTo>
                  <a:pt x="5635425" y="4775724"/>
                  <a:pt x="5542072" y="4668108"/>
                  <a:pt x="5458226" y="4558762"/>
                </a:cubicBezTo>
                <a:cubicBezTo>
                  <a:pt x="5059745" y="4023709"/>
                  <a:pt x="4942621" y="3427284"/>
                  <a:pt x="4882546" y="2966567"/>
                </a:cubicBezTo>
                <a:cubicBezTo>
                  <a:pt x="4842352" y="2652364"/>
                  <a:pt x="4812099" y="2282839"/>
                  <a:pt x="4905886" y="1919366"/>
                </a:cubicBezTo>
                <a:cubicBezTo>
                  <a:pt x="4965960" y="1683821"/>
                  <a:pt x="5076601" y="1452598"/>
                  <a:pt x="5180327" y="1229587"/>
                </a:cubicBezTo>
                <a:cubicBezTo>
                  <a:pt x="5240834" y="1105980"/>
                  <a:pt x="5300909" y="977619"/>
                  <a:pt x="5354501" y="851851"/>
                </a:cubicBezTo>
                <a:cubicBezTo>
                  <a:pt x="5468599" y="573087"/>
                  <a:pt x="5542072" y="287840"/>
                  <a:pt x="5575783" y="1297"/>
                </a:cubicBezTo>
                <a:close/>
                <a:moveTo>
                  <a:pt x="5293994" y="1297"/>
                </a:moveTo>
                <a:lnTo>
                  <a:pt x="5307392" y="1297"/>
                </a:lnTo>
                <a:cubicBezTo>
                  <a:pt x="5277139" y="315069"/>
                  <a:pt x="5203665" y="624950"/>
                  <a:pt x="5083083" y="930511"/>
                </a:cubicBezTo>
                <a:cubicBezTo>
                  <a:pt x="5036406" y="1056710"/>
                  <a:pt x="4976332" y="1182478"/>
                  <a:pt x="4919283" y="1306517"/>
                </a:cubicBezTo>
                <a:cubicBezTo>
                  <a:pt x="4815557" y="1533851"/>
                  <a:pt x="4708806" y="1768963"/>
                  <a:pt x="4651756" y="2006668"/>
                </a:cubicBezTo>
                <a:cubicBezTo>
                  <a:pt x="4564885" y="2374031"/>
                  <a:pt x="4598597" y="2741827"/>
                  <a:pt x="4645273" y="3055599"/>
                </a:cubicBezTo>
                <a:cubicBezTo>
                  <a:pt x="4712262" y="3515884"/>
                  <a:pt x="4839328" y="4112741"/>
                  <a:pt x="5247749" y="4645633"/>
                </a:cubicBezTo>
                <a:cubicBezTo>
                  <a:pt x="5331595" y="4755410"/>
                  <a:pt x="5428405" y="4862594"/>
                  <a:pt x="5535589" y="4965888"/>
                </a:cubicBezTo>
                <a:cubicBezTo>
                  <a:pt x="5877020" y="5300404"/>
                  <a:pt x="6335575" y="5602075"/>
                  <a:pt x="6890942" y="5862254"/>
                </a:cubicBezTo>
                <a:cubicBezTo>
                  <a:pt x="7031838" y="5926218"/>
                  <a:pt x="7175758" y="5988023"/>
                  <a:pt x="7326160" y="6045935"/>
                </a:cubicBezTo>
                <a:cubicBezTo>
                  <a:pt x="7721184" y="6201092"/>
                  <a:pt x="8159427" y="6335072"/>
                  <a:pt x="8617983" y="6440527"/>
                </a:cubicBezTo>
                <a:cubicBezTo>
                  <a:pt x="8950770" y="6516161"/>
                  <a:pt x="9301711" y="6580989"/>
                  <a:pt x="9667345" y="6632852"/>
                </a:cubicBezTo>
                <a:lnTo>
                  <a:pt x="9667345" y="6642793"/>
                </a:lnTo>
                <a:cubicBezTo>
                  <a:pt x="9298685" y="6590498"/>
                  <a:pt x="8946016" y="6526101"/>
                  <a:pt x="8614525" y="6448739"/>
                </a:cubicBezTo>
                <a:cubicBezTo>
                  <a:pt x="8152944" y="6341123"/>
                  <a:pt x="7714269" y="6208872"/>
                  <a:pt x="7316220" y="6054147"/>
                </a:cubicBezTo>
                <a:cubicBezTo>
                  <a:pt x="7168842" y="5996234"/>
                  <a:pt x="7021464" y="5934431"/>
                  <a:pt x="6884460" y="5868305"/>
                </a:cubicBezTo>
                <a:cubicBezTo>
                  <a:pt x="6325635" y="5607693"/>
                  <a:pt x="5867512" y="5306455"/>
                  <a:pt x="5522623" y="4969778"/>
                </a:cubicBezTo>
                <a:cubicBezTo>
                  <a:pt x="5415440" y="4866483"/>
                  <a:pt x="5318629" y="4758867"/>
                  <a:pt x="5234783" y="4649523"/>
                </a:cubicBezTo>
                <a:cubicBezTo>
                  <a:pt x="4826361" y="4114469"/>
                  <a:pt x="4695840" y="3515884"/>
                  <a:pt x="4628850" y="3055167"/>
                </a:cubicBezTo>
                <a:cubicBezTo>
                  <a:pt x="4585198" y="2741395"/>
                  <a:pt x="4551920" y="2371870"/>
                  <a:pt x="4638790" y="2004076"/>
                </a:cubicBezTo>
                <a:cubicBezTo>
                  <a:pt x="4695407" y="1766370"/>
                  <a:pt x="4802591" y="1531258"/>
                  <a:pt x="4906318" y="1303924"/>
                </a:cubicBezTo>
                <a:cubicBezTo>
                  <a:pt x="4962934" y="1179885"/>
                  <a:pt x="5019984" y="1053685"/>
                  <a:pt x="5070118" y="927917"/>
                </a:cubicBezTo>
                <a:cubicBezTo>
                  <a:pt x="5190699" y="624518"/>
                  <a:pt x="5264173" y="312908"/>
                  <a:pt x="5293994" y="1297"/>
                </a:cubicBezTo>
                <a:close/>
                <a:moveTo>
                  <a:pt x="5150073" y="1297"/>
                </a:moveTo>
                <a:lnTo>
                  <a:pt x="5163472" y="1297"/>
                </a:lnTo>
                <a:cubicBezTo>
                  <a:pt x="5140133" y="327603"/>
                  <a:pt x="5066228" y="651747"/>
                  <a:pt x="4942621" y="969840"/>
                </a:cubicBezTo>
                <a:cubicBezTo>
                  <a:pt x="4895512" y="1096040"/>
                  <a:pt x="4838895" y="1221807"/>
                  <a:pt x="4781845" y="1343686"/>
                </a:cubicBezTo>
                <a:cubicBezTo>
                  <a:pt x="4681145" y="1572748"/>
                  <a:pt x="4574394" y="1810454"/>
                  <a:pt x="4517344" y="2049888"/>
                </a:cubicBezTo>
                <a:cubicBezTo>
                  <a:pt x="4433499" y="2417251"/>
                  <a:pt x="4470667" y="2786775"/>
                  <a:pt x="4517344" y="3098818"/>
                </a:cubicBezTo>
                <a:cubicBezTo>
                  <a:pt x="4587359" y="3559535"/>
                  <a:pt x="4721339" y="4155959"/>
                  <a:pt x="5136243" y="4691014"/>
                </a:cubicBezTo>
                <a:cubicBezTo>
                  <a:pt x="5220088" y="4800790"/>
                  <a:pt x="5316900" y="4907974"/>
                  <a:pt x="5424084" y="5011268"/>
                </a:cubicBezTo>
                <a:cubicBezTo>
                  <a:pt x="5768540" y="5343623"/>
                  <a:pt x="6230554" y="5645293"/>
                  <a:pt x="6789377" y="5905473"/>
                </a:cubicBezTo>
                <a:cubicBezTo>
                  <a:pt x="6930272" y="5971598"/>
                  <a:pt x="7074193" y="6033402"/>
                  <a:pt x="7224595" y="6091316"/>
                </a:cubicBezTo>
                <a:cubicBezTo>
                  <a:pt x="7623076" y="6248201"/>
                  <a:pt x="8057862" y="6380452"/>
                  <a:pt x="8519875" y="6487636"/>
                </a:cubicBezTo>
                <a:cubicBezTo>
                  <a:pt x="8879026" y="6571913"/>
                  <a:pt x="9262813" y="6643225"/>
                  <a:pt x="9666480" y="6699411"/>
                </a:cubicBezTo>
                <a:lnTo>
                  <a:pt x="9666480" y="6708918"/>
                </a:lnTo>
                <a:cubicBezTo>
                  <a:pt x="9261516" y="6651869"/>
                  <a:pt x="8875568" y="6580557"/>
                  <a:pt x="8513393" y="6495848"/>
                </a:cubicBezTo>
                <a:cubicBezTo>
                  <a:pt x="8051379" y="6388664"/>
                  <a:pt x="7616161" y="6254252"/>
                  <a:pt x="7218112" y="6099527"/>
                </a:cubicBezTo>
                <a:cubicBezTo>
                  <a:pt x="7067710" y="6039452"/>
                  <a:pt x="6920332" y="5977649"/>
                  <a:pt x="6779869" y="5911524"/>
                </a:cubicBezTo>
                <a:cubicBezTo>
                  <a:pt x="6221045" y="5651345"/>
                  <a:pt x="5759032" y="5349674"/>
                  <a:pt x="5411118" y="5015158"/>
                </a:cubicBezTo>
                <a:cubicBezTo>
                  <a:pt x="5303934" y="4911864"/>
                  <a:pt x="5207123" y="4804248"/>
                  <a:pt x="5123278" y="4694903"/>
                </a:cubicBezTo>
                <a:cubicBezTo>
                  <a:pt x="4708373" y="4157688"/>
                  <a:pt x="4574826" y="3561263"/>
                  <a:pt x="4504379" y="3100547"/>
                </a:cubicBezTo>
                <a:cubicBezTo>
                  <a:pt x="4457701" y="2786775"/>
                  <a:pt x="4420534" y="2416819"/>
                  <a:pt x="4504379" y="2047294"/>
                </a:cubicBezTo>
                <a:cubicBezTo>
                  <a:pt x="4561428" y="1807860"/>
                  <a:pt x="4668612" y="1570154"/>
                  <a:pt x="4768880" y="1341093"/>
                </a:cubicBezTo>
                <a:cubicBezTo>
                  <a:pt x="4825929" y="1219214"/>
                  <a:pt x="4882979" y="1093015"/>
                  <a:pt x="4929656" y="967246"/>
                </a:cubicBezTo>
                <a:cubicBezTo>
                  <a:pt x="5053263" y="649153"/>
                  <a:pt x="5127167" y="327170"/>
                  <a:pt x="5150073" y="1297"/>
                </a:cubicBezTo>
                <a:close/>
                <a:moveTo>
                  <a:pt x="5008747" y="1297"/>
                </a:moveTo>
                <a:lnTo>
                  <a:pt x="5022145" y="1297"/>
                </a:lnTo>
                <a:cubicBezTo>
                  <a:pt x="4998807" y="340136"/>
                  <a:pt x="4924902" y="676814"/>
                  <a:pt x="4801294" y="1009169"/>
                </a:cubicBezTo>
                <a:cubicBezTo>
                  <a:pt x="4754618" y="1132776"/>
                  <a:pt x="4697569" y="1258976"/>
                  <a:pt x="4643977" y="1378694"/>
                </a:cubicBezTo>
                <a:cubicBezTo>
                  <a:pt x="4543708" y="1612077"/>
                  <a:pt x="4439982" y="1851512"/>
                  <a:pt x="4386390" y="2093107"/>
                </a:cubicBezTo>
                <a:cubicBezTo>
                  <a:pt x="4302977" y="2462631"/>
                  <a:pt x="4343171" y="2832155"/>
                  <a:pt x="4389848" y="3144198"/>
                </a:cubicBezTo>
                <a:cubicBezTo>
                  <a:pt x="4463320" y="3604915"/>
                  <a:pt x="4600325" y="4201340"/>
                  <a:pt x="5022145" y="4736393"/>
                </a:cubicBezTo>
                <a:cubicBezTo>
                  <a:pt x="5109448" y="4846171"/>
                  <a:pt x="5206258" y="4953355"/>
                  <a:pt x="5313442" y="5056648"/>
                </a:cubicBezTo>
                <a:cubicBezTo>
                  <a:pt x="5661356" y="5386843"/>
                  <a:pt x="6122938" y="5686351"/>
                  <a:pt x="6688676" y="5948692"/>
                </a:cubicBezTo>
                <a:cubicBezTo>
                  <a:pt x="6829571" y="6014818"/>
                  <a:pt x="6973492" y="6076622"/>
                  <a:pt x="7123895" y="6136696"/>
                </a:cubicBezTo>
                <a:cubicBezTo>
                  <a:pt x="7522376" y="6293582"/>
                  <a:pt x="7960618" y="6427993"/>
                  <a:pt x="8419174" y="6537339"/>
                </a:cubicBezTo>
                <a:cubicBezTo>
                  <a:pt x="8805986" y="6628962"/>
                  <a:pt x="9224349" y="6706325"/>
                  <a:pt x="9666049" y="6767264"/>
                </a:cubicBezTo>
                <a:lnTo>
                  <a:pt x="9666049" y="6775908"/>
                </a:lnTo>
                <a:cubicBezTo>
                  <a:pt x="9222187" y="6714537"/>
                  <a:pt x="8802529" y="6637175"/>
                  <a:pt x="8412691" y="6545550"/>
                </a:cubicBezTo>
                <a:cubicBezTo>
                  <a:pt x="7954135" y="6436206"/>
                  <a:pt x="7515460" y="6299633"/>
                  <a:pt x="7117412" y="6142747"/>
                </a:cubicBezTo>
                <a:cubicBezTo>
                  <a:pt x="6967009" y="6084833"/>
                  <a:pt x="6819631" y="6023030"/>
                  <a:pt x="6679169" y="5956904"/>
                </a:cubicBezTo>
                <a:cubicBezTo>
                  <a:pt x="6113862" y="5692402"/>
                  <a:pt x="5651848" y="5392893"/>
                  <a:pt x="5303934" y="5060537"/>
                </a:cubicBezTo>
                <a:cubicBezTo>
                  <a:pt x="5193725" y="4957244"/>
                  <a:pt x="5096482" y="4849628"/>
                  <a:pt x="5009611" y="4740283"/>
                </a:cubicBezTo>
                <a:cubicBezTo>
                  <a:pt x="4588224" y="4203068"/>
                  <a:pt x="4450787" y="3606643"/>
                  <a:pt x="4377314" y="3145926"/>
                </a:cubicBezTo>
                <a:cubicBezTo>
                  <a:pt x="4327180" y="2831723"/>
                  <a:pt x="4290444" y="2462199"/>
                  <a:pt x="4370831" y="2090514"/>
                </a:cubicBezTo>
                <a:cubicBezTo>
                  <a:pt x="4424423" y="1848919"/>
                  <a:pt x="4531607" y="1609484"/>
                  <a:pt x="4631875" y="1376100"/>
                </a:cubicBezTo>
                <a:cubicBezTo>
                  <a:pt x="4685467" y="1256383"/>
                  <a:pt x="4742516" y="1130616"/>
                  <a:pt x="4789193" y="1006575"/>
                </a:cubicBezTo>
                <a:cubicBezTo>
                  <a:pt x="4912800" y="675949"/>
                  <a:pt x="4986705" y="339703"/>
                  <a:pt x="5008747" y="1297"/>
                </a:cubicBezTo>
                <a:close/>
                <a:moveTo>
                  <a:pt x="4865691" y="1297"/>
                </a:moveTo>
                <a:lnTo>
                  <a:pt x="4879089" y="1297"/>
                </a:lnTo>
                <a:cubicBezTo>
                  <a:pt x="4862666" y="352670"/>
                  <a:pt x="4788761" y="703609"/>
                  <a:pt x="4661697" y="1048499"/>
                </a:cubicBezTo>
                <a:cubicBezTo>
                  <a:pt x="4615020" y="1172538"/>
                  <a:pt x="4561428" y="1296577"/>
                  <a:pt x="4507836" y="1416295"/>
                </a:cubicBezTo>
                <a:cubicBezTo>
                  <a:pt x="4407567" y="1649678"/>
                  <a:pt x="4303842" y="1891273"/>
                  <a:pt x="4253707" y="2135030"/>
                </a:cubicBezTo>
                <a:cubicBezTo>
                  <a:pt x="4173320" y="2511036"/>
                  <a:pt x="4216971" y="2895255"/>
                  <a:pt x="4267105" y="3190442"/>
                </a:cubicBezTo>
                <a:cubicBezTo>
                  <a:pt x="4344036" y="3651159"/>
                  <a:pt x="4484930" y="4247584"/>
                  <a:pt x="4909775" y="4782638"/>
                </a:cubicBezTo>
                <a:cubicBezTo>
                  <a:pt x="4996645" y="4892416"/>
                  <a:pt x="5096914" y="4999599"/>
                  <a:pt x="5207555" y="5102893"/>
                </a:cubicBezTo>
                <a:cubicBezTo>
                  <a:pt x="5555470" y="5431358"/>
                  <a:pt x="6020509" y="5730435"/>
                  <a:pt x="6586247" y="5994937"/>
                </a:cubicBezTo>
                <a:cubicBezTo>
                  <a:pt x="6730168" y="6061062"/>
                  <a:pt x="6874087" y="6122866"/>
                  <a:pt x="7024491" y="6180779"/>
                </a:cubicBezTo>
                <a:cubicBezTo>
                  <a:pt x="7426430" y="6339826"/>
                  <a:pt x="7861214" y="6476399"/>
                  <a:pt x="8319770" y="6585744"/>
                </a:cubicBezTo>
                <a:cubicBezTo>
                  <a:pt x="8733378" y="6684284"/>
                  <a:pt x="9185883" y="6769425"/>
                  <a:pt x="9666913" y="6835982"/>
                </a:cubicBezTo>
                <a:lnTo>
                  <a:pt x="9666913" y="6844626"/>
                </a:lnTo>
                <a:cubicBezTo>
                  <a:pt x="9184585" y="6778069"/>
                  <a:pt x="8730784" y="6692928"/>
                  <a:pt x="8316312" y="6593955"/>
                </a:cubicBezTo>
                <a:cubicBezTo>
                  <a:pt x="7854731" y="6484179"/>
                  <a:pt x="7419514" y="6348038"/>
                  <a:pt x="7018008" y="6188992"/>
                </a:cubicBezTo>
                <a:cubicBezTo>
                  <a:pt x="6867604" y="6131078"/>
                  <a:pt x="6720226" y="6067113"/>
                  <a:pt x="6579764" y="6000988"/>
                </a:cubicBezTo>
                <a:cubicBezTo>
                  <a:pt x="6010567" y="5736486"/>
                  <a:pt x="5545529" y="5437409"/>
                  <a:pt x="5194157" y="5106782"/>
                </a:cubicBezTo>
                <a:cubicBezTo>
                  <a:pt x="5083948" y="5003488"/>
                  <a:pt x="4986705" y="4895872"/>
                  <a:pt x="4899835" y="4786528"/>
                </a:cubicBezTo>
                <a:cubicBezTo>
                  <a:pt x="4471532" y="4249313"/>
                  <a:pt x="4327612" y="3650727"/>
                  <a:pt x="4254139" y="3190010"/>
                </a:cubicBezTo>
                <a:cubicBezTo>
                  <a:pt x="4204005" y="2896552"/>
                  <a:pt x="4156895" y="2510604"/>
                  <a:pt x="4240741" y="2134598"/>
                </a:cubicBezTo>
                <a:cubicBezTo>
                  <a:pt x="4290876" y="1890841"/>
                  <a:pt x="4394601" y="1647084"/>
                  <a:pt x="4494870" y="1413701"/>
                </a:cubicBezTo>
                <a:cubicBezTo>
                  <a:pt x="4548030" y="1293552"/>
                  <a:pt x="4601622" y="1169945"/>
                  <a:pt x="4645273" y="1045906"/>
                </a:cubicBezTo>
                <a:cubicBezTo>
                  <a:pt x="4775796" y="701016"/>
                  <a:pt x="4849268" y="351805"/>
                  <a:pt x="4865691" y="1297"/>
                </a:cubicBezTo>
                <a:close/>
                <a:moveTo>
                  <a:pt x="4438253" y="1297"/>
                </a:moveTo>
                <a:lnTo>
                  <a:pt x="4451652" y="1297"/>
                </a:lnTo>
                <a:cubicBezTo>
                  <a:pt x="4441278" y="391567"/>
                  <a:pt x="4371263" y="779675"/>
                  <a:pt x="4237284" y="1163894"/>
                </a:cubicBezTo>
                <a:cubicBezTo>
                  <a:pt x="4194064" y="1285772"/>
                  <a:pt x="4143498" y="1407650"/>
                  <a:pt x="4096821" y="1525207"/>
                </a:cubicBezTo>
                <a:cubicBezTo>
                  <a:pt x="4000010" y="1765073"/>
                  <a:pt x="3899309" y="2014880"/>
                  <a:pt x="3852633" y="2264687"/>
                </a:cubicBezTo>
                <a:cubicBezTo>
                  <a:pt x="3782187" y="2644584"/>
                  <a:pt x="3832320" y="3030532"/>
                  <a:pt x="3889369" y="3323990"/>
                </a:cubicBezTo>
                <a:cubicBezTo>
                  <a:pt x="3972783" y="3784706"/>
                  <a:pt x="4130100" y="4381564"/>
                  <a:pt x="4575258" y="4918347"/>
                </a:cubicBezTo>
                <a:cubicBezTo>
                  <a:pt x="4665586" y="5027691"/>
                  <a:pt x="4766286" y="5135307"/>
                  <a:pt x="4879953" y="5236440"/>
                </a:cubicBezTo>
                <a:cubicBezTo>
                  <a:pt x="5231326" y="5560584"/>
                  <a:pt x="5706304" y="5860093"/>
                  <a:pt x="6285442" y="6126323"/>
                </a:cubicBezTo>
                <a:cubicBezTo>
                  <a:pt x="6425904" y="6192449"/>
                  <a:pt x="6573281" y="6256413"/>
                  <a:pt x="6723685" y="6314327"/>
                </a:cubicBezTo>
                <a:cubicBezTo>
                  <a:pt x="7128648" y="6475103"/>
                  <a:pt x="7566892" y="6615565"/>
                  <a:pt x="8021989" y="6729231"/>
                </a:cubicBezTo>
                <a:cubicBezTo>
                  <a:pt x="8202645" y="6774179"/>
                  <a:pt x="8391946" y="6816966"/>
                  <a:pt x="8590321" y="6858456"/>
                </a:cubicBezTo>
                <a:lnTo>
                  <a:pt x="8546671" y="6858456"/>
                </a:lnTo>
                <a:cubicBezTo>
                  <a:pt x="8362557" y="6819992"/>
                  <a:pt x="8186222" y="6779798"/>
                  <a:pt x="8018964" y="6737876"/>
                </a:cubicBezTo>
                <a:cubicBezTo>
                  <a:pt x="7560409" y="6624641"/>
                  <a:pt x="7122165" y="6484179"/>
                  <a:pt x="6717202" y="6322971"/>
                </a:cubicBezTo>
                <a:cubicBezTo>
                  <a:pt x="6566798" y="6262896"/>
                  <a:pt x="6419421" y="6198932"/>
                  <a:pt x="6275502" y="6134968"/>
                </a:cubicBezTo>
                <a:cubicBezTo>
                  <a:pt x="5696365" y="5866576"/>
                  <a:pt x="5221385" y="5564906"/>
                  <a:pt x="4866555" y="5242923"/>
                </a:cubicBezTo>
                <a:cubicBezTo>
                  <a:pt x="4752457" y="5139629"/>
                  <a:pt x="4652188" y="5032013"/>
                  <a:pt x="4561860" y="4922669"/>
                </a:cubicBezTo>
                <a:cubicBezTo>
                  <a:pt x="4117134" y="4383293"/>
                  <a:pt x="3959817" y="3784706"/>
                  <a:pt x="3875971" y="3326151"/>
                </a:cubicBezTo>
                <a:cubicBezTo>
                  <a:pt x="3819355" y="3030964"/>
                  <a:pt x="3765762" y="2644584"/>
                  <a:pt x="3839235" y="2262526"/>
                </a:cubicBezTo>
                <a:cubicBezTo>
                  <a:pt x="3885911" y="2012287"/>
                  <a:pt x="3986180" y="1764641"/>
                  <a:pt x="4083423" y="1523045"/>
                </a:cubicBezTo>
                <a:cubicBezTo>
                  <a:pt x="4130100" y="1405489"/>
                  <a:pt x="4180235" y="1283611"/>
                  <a:pt x="4223886" y="1161733"/>
                </a:cubicBezTo>
                <a:cubicBezTo>
                  <a:pt x="4357866" y="779675"/>
                  <a:pt x="4428313" y="391567"/>
                  <a:pt x="4438253" y="1297"/>
                </a:cubicBezTo>
                <a:close/>
                <a:moveTo>
                  <a:pt x="3715197" y="1297"/>
                </a:moveTo>
                <a:lnTo>
                  <a:pt x="3728595" y="1297"/>
                </a:lnTo>
                <a:cubicBezTo>
                  <a:pt x="3738534" y="453370"/>
                  <a:pt x="3671545" y="907604"/>
                  <a:pt x="3531083" y="1357948"/>
                </a:cubicBezTo>
                <a:cubicBezTo>
                  <a:pt x="3494347" y="1473776"/>
                  <a:pt x="3450694" y="1591332"/>
                  <a:pt x="3410501" y="1704998"/>
                </a:cubicBezTo>
                <a:cubicBezTo>
                  <a:pt x="3320173" y="1956967"/>
                  <a:pt x="3226388" y="2217146"/>
                  <a:pt x="3186194" y="2479486"/>
                </a:cubicBezTo>
                <a:cubicBezTo>
                  <a:pt x="3142542" y="2782886"/>
                  <a:pt x="3162423" y="3121725"/>
                  <a:pt x="3259665" y="3549162"/>
                </a:cubicBezTo>
                <a:cubicBezTo>
                  <a:pt x="3410070" y="4230297"/>
                  <a:pt x="3641292" y="4723861"/>
                  <a:pt x="4012544" y="5147409"/>
                </a:cubicBezTo>
                <a:cubicBezTo>
                  <a:pt x="4106330" y="5254592"/>
                  <a:pt x="4213513" y="5362207"/>
                  <a:pt x="4330638" y="5463341"/>
                </a:cubicBezTo>
                <a:cubicBezTo>
                  <a:pt x="4691950" y="5774951"/>
                  <a:pt x="5177302" y="6072299"/>
                  <a:pt x="5776320" y="6347174"/>
                </a:cubicBezTo>
                <a:cubicBezTo>
                  <a:pt x="5923697" y="6415028"/>
                  <a:pt x="6071074" y="6478992"/>
                  <a:pt x="6221478" y="6539067"/>
                </a:cubicBezTo>
                <a:cubicBezTo>
                  <a:pt x="6514504" y="6655326"/>
                  <a:pt x="6818767" y="6762510"/>
                  <a:pt x="7132106" y="6858889"/>
                </a:cubicBezTo>
                <a:lnTo>
                  <a:pt x="7102285" y="6858889"/>
                </a:lnTo>
                <a:cubicBezTo>
                  <a:pt x="6797589" y="6765103"/>
                  <a:pt x="6500242" y="6660513"/>
                  <a:pt x="6214995" y="6546414"/>
                </a:cubicBezTo>
                <a:cubicBezTo>
                  <a:pt x="6064159" y="6486339"/>
                  <a:pt x="5913757" y="6422375"/>
                  <a:pt x="5769837" y="6356249"/>
                </a:cubicBezTo>
                <a:cubicBezTo>
                  <a:pt x="5167361" y="6079214"/>
                  <a:pt x="4682010" y="5781866"/>
                  <a:pt x="4320697" y="5468095"/>
                </a:cubicBezTo>
                <a:cubicBezTo>
                  <a:pt x="4203573" y="5366962"/>
                  <a:pt x="4096821" y="5259346"/>
                  <a:pt x="3999578" y="5152162"/>
                </a:cubicBezTo>
                <a:cubicBezTo>
                  <a:pt x="3627894" y="4726885"/>
                  <a:pt x="3397102" y="4233322"/>
                  <a:pt x="3243243" y="3549594"/>
                </a:cubicBezTo>
                <a:cubicBezTo>
                  <a:pt x="3186194" y="3281203"/>
                  <a:pt x="3112721" y="2878400"/>
                  <a:pt x="3172796" y="2477758"/>
                </a:cubicBezTo>
                <a:cubicBezTo>
                  <a:pt x="3212988" y="2215417"/>
                  <a:pt x="3306775" y="1955237"/>
                  <a:pt x="3397102" y="1703270"/>
                </a:cubicBezTo>
                <a:cubicBezTo>
                  <a:pt x="3437296" y="1589603"/>
                  <a:pt x="3477491" y="1472047"/>
                  <a:pt x="3514226" y="1356220"/>
                </a:cubicBezTo>
                <a:cubicBezTo>
                  <a:pt x="3658147" y="908036"/>
                  <a:pt x="3725137" y="453370"/>
                  <a:pt x="3715197" y="1297"/>
                </a:cubicBezTo>
                <a:close/>
                <a:moveTo>
                  <a:pt x="3566955" y="1297"/>
                </a:moveTo>
                <a:lnTo>
                  <a:pt x="3583809" y="1297"/>
                </a:lnTo>
                <a:cubicBezTo>
                  <a:pt x="3593751" y="465903"/>
                  <a:pt x="3530218" y="932671"/>
                  <a:pt x="3386299" y="1395117"/>
                </a:cubicBezTo>
                <a:cubicBezTo>
                  <a:pt x="3353019" y="1510944"/>
                  <a:pt x="3312826" y="1628500"/>
                  <a:pt x="3272631" y="1740006"/>
                </a:cubicBezTo>
                <a:cubicBezTo>
                  <a:pt x="3182303" y="1994135"/>
                  <a:pt x="3091976" y="2258205"/>
                  <a:pt x="3055239" y="2520545"/>
                </a:cubicBezTo>
                <a:cubicBezTo>
                  <a:pt x="3011588" y="2826105"/>
                  <a:pt x="3034926" y="3167104"/>
                  <a:pt x="3132169" y="3592381"/>
                </a:cubicBezTo>
                <a:cubicBezTo>
                  <a:pt x="3228980" y="4015497"/>
                  <a:pt x="3413094" y="4643472"/>
                  <a:pt x="3898445" y="5192789"/>
                </a:cubicBezTo>
                <a:cubicBezTo>
                  <a:pt x="3995256" y="5299972"/>
                  <a:pt x="4102439" y="5407588"/>
                  <a:pt x="4223022" y="5508721"/>
                </a:cubicBezTo>
                <a:cubicBezTo>
                  <a:pt x="4587792" y="5822492"/>
                  <a:pt x="5063203" y="6111629"/>
                  <a:pt x="5675619" y="6392554"/>
                </a:cubicBezTo>
                <a:cubicBezTo>
                  <a:pt x="5822996" y="6458678"/>
                  <a:pt x="5973400" y="6522644"/>
                  <a:pt x="6120777" y="6584447"/>
                </a:cubicBezTo>
                <a:cubicBezTo>
                  <a:pt x="6369287" y="6682122"/>
                  <a:pt x="6624280" y="6773747"/>
                  <a:pt x="6884460" y="6858024"/>
                </a:cubicBezTo>
                <a:lnTo>
                  <a:pt x="6853343" y="6858024"/>
                </a:lnTo>
                <a:cubicBezTo>
                  <a:pt x="6600943" y="6775908"/>
                  <a:pt x="6353296" y="6686444"/>
                  <a:pt x="6113862" y="6590931"/>
                </a:cubicBezTo>
                <a:cubicBezTo>
                  <a:pt x="5963026" y="6531288"/>
                  <a:pt x="5812624" y="6467323"/>
                  <a:pt x="5665247" y="6399037"/>
                </a:cubicBezTo>
                <a:cubicBezTo>
                  <a:pt x="5052831" y="6118112"/>
                  <a:pt x="4577851" y="5828975"/>
                  <a:pt x="4209623" y="5513043"/>
                </a:cubicBezTo>
                <a:cubicBezTo>
                  <a:pt x="4092499" y="5411910"/>
                  <a:pt x="3982290" y="5304294"/>
                  <a:pt x="3888505" y="5197111"/>
                </a:cubicBezTo>
                <a:cubicBezTo>
                  <a:pt x="3399696" y="4645633"/>
                  <a:pt x="3216015" y="4018091"/>
                  <a:pt x="3118771" y="3594543"/>
                </a:cubicBezTo>
                <a:cubicBezTo>
                  <a:pt x="3021528" y="3168832"/>
                  <a:pt x="2994731" y="2826105"/>
                  <a:pt x="3038384" y="2520545"/>
                </a:cubicBezTo>
                <a:cubicBezTo>
                  <a:pt x="3078578" y="2256043"/>
                  <a:pt x="3168906" y="1994135"/>
                  <a:pt x="3259234" y="1737845"/>
                </a:cubicBezTo>
                <a:cubicBezTo>
                  <a:pt x="3295971" y="1626340"/>
                  <a:pt x="3339622" y="1510944"/>
                  <a:pt x="3372899" y="1395117"/>
                </a:cubicBezTo>
                <a:cubicBezTo>
                  <a:pt x="3516821" y="932671"/>
                  <a:pt x="3580353" y="465903"/>
                  <a:pt x="3566955" y="1297"/>
                </a:cubicBezTo>
                <a:close/>
                <a:moveTo>
                  <a:pt x="3423467" y="1297"/>
                </a:moveTo>
                <a:lnTo>
                  <a:pt x="3436865" y="1297"/>
                </a:lnTo>
                <a:cubicBezTo>
                  <a:pt x="3453720" y="478437"/>
                  <a:pt x="3390188" y="959467"/>
                  <a:pt x="3246268" y="1434446"/>
                </a:cubicBezTo>
                <a:cubicBezTo>
                  <a:pt x="3212557" y="1549842"/>
                  <a:pt x="3172364" y="1663508"/>
                  <a:pt x="3135627" y="1775013"/>
                </a:cubicBezTo>
                <a:cubicBezTo>
                  <a:pt x="3048324" y="2033033"/>
                  <a:pt x="2957995" y="2297534"/>
                  <a:pt x="2921258" y="2563764"/>
                </a:cubicBezTo>
                <a:cubicBezTo>
                  <a:pt x="2878041" y="2871485"/>
                  <a:pt x="2907861" y="3212484"/>
                  <a:pt x="3005104" y="3637761"/>
                </a:cubicBezTo>
                <a:cubicBezTo>
                  <a:pt x="3165880" y="4311116"/>
                  <a:pt x="3413525" y="4818942"/>
                  <a:pt x="3788238" y="5238168"/>
                </a:cubicBezTo>
                <a:cubicBezTo>
                  <a:pt x="3885047" y="5345352"/>
                  <a:pt x="3992231" y="5452968"/>
                  <a:pt x="4112813" y="5554101"/>
                </a:cubicBezTo>
                <a:cubicBezTo>
                  <a:pt x="4481040" y="5865712"/>
                  <a:pt x="4956451" y="6154848"/>
                  <a:pt x="5575351" y="6435773"/>
                </a:cubicBezTo>
                <a:cubicBezTo>
                  <a:pt x="5722728" y="6503627"/>
                  <a:pt x="5873131" y="6567592"/>
                  <a:pt x="6020509" y="6627666"/>
                </a:cubicBezTo>
                <a:cubicBezTo>
                  <a:pt x="6223206" y="6709783"/>
                  <a:pt x="6432387" y="6786281"/>
                  <a:pt x="6644161" y="6857592"/>
                </a:cubicBezTo>
                <a:lnTo>
                  <a:pt x="6615637" y="6857592"/>
                </a:lnTo>
                <a:cubicBezTo>
                  <a:pt x="6411209" y="6788009"/>
                  <a:pt x="6210240" y="6714537"/>
                  <a:pt x="6014025" y="6635877"/>
                </a:cubicBezTo>
                <a:cubicBezTo>
                  <a:pt x="5863191" y="6574074"/>
                  <a:pt x="5712788" y="6510110"/>
                  <a:pt x="5565410" y="6443985"/>
                </a:cubicBezTo>
                <a:cubicBezTo>
                  <a:pt x="4949536" y="6160899"/>
                  <a:pt x="4467642" y="5871762"/>
                  <a:pt x="4102871" y="5557991"/>
                </a:cubicBezTo>
                <a:cubicBezTo>
                  <a:pt x="3982290" y="5456858"/>
                  <a:pt x="3872082" y="5349242"/>
                  <a:pt x="3774838" y="5242058"/>
                </a:cubicBezTo>
                <a:cubicBezTo>
                  <a:pt x="3400127" y="4822832"/>
                  <a:pt x="3149025" y="4312846"/>
                  <a:pt x="2991707" y="3639491"/>
                </a:cubicBezTo>
                <a:cubicBezTo>
                  <a:pt x="2891006" y="3214213"/>
                  <a:pt x="2864210" y="2871485"/>
                  <a:pt x="2907861" y="2563764"/>
                </a:cubicBezTo>
                <a:cubicBezTo>
                  <a:pt x="2941572" y="2297534"/>
                  <a:pt x="3031900" y="2031303"/>
                  <a:pt x="3122227" y="1775013"/>
                </a:cubicBezTo>
                <a:cubicBezTo>
                  <a:pt x="3159398" y="1663508"/>
                  <a:pt x="3199590" y="1548113"/>
                  <a:pt x="3232870" y="1432286"/>
                </a:cubicBezTo>
                <a:cubicBezTo>
                  <a:pt x="3376790" y="957306"/>
                  <a:pt x="3440323" y="476276"/>
                  <a:pt x="3423467" y="1297"/>
                </a:cubicBezTo>
                <a:close/>
                <a:moveTo>
                  <a:pt x="3276521" y="1297"/>
                </a:moveTo>
                <a:lnTo>
                  <a:pt x="3293377" y="1297"/>
                </a:lnTo>
                <a:cubicBezTo>
                  <a:pt x="3313258" y="490971"/>
                  <a:pt x="3249726" y="984535"/>
                  <a:pt x="3105805" y="1473776"/>
                </a:cubicBezTo>
                <a:cubicBezTo>
                  <a:pt x="3072095" y="1587442"/>
                  <a:pt x="3035357" y="1701108"/>
                  <a:pt x="2998622" y="1812614"/>
                </a:cubicBezTo>
                <a:cubicBezTo>
                  <a:pt x="2911319" y="2071065"/>
                  <a:pt x="2820991" y="2339456"/>
                  <a:pt x="2787713" y="2607848"/>
                </a:cubicBezTo>
                <a:cubicBezTo>
                  <a:pt x="2747519" y="2917297"/>
                  <a:pt x="2777772" y="3258297"/>
                  <a:pt x="2881497" y="3683573"/>
                </a:cubicBezTo>
                <a:cubicBezTo>
                  <a:pt x="3042273" y="4356929"/>
                  <a:pt x="3296402" y="4864755"/>
                  <a:pt x="3674571" y="5283981"/>
                </a:cubicBezTo>
                <a:cubicBezTo>
                  <a:pt x="3771814" y="5391164"/>
                  <a:pt x="3882022" y="5498780"/>
                  <a:pt x="4002604" y="5599913"/>
                </a:cubicBezTo>
                <a:cubicBezTo>
                  <a:pt x="4370831" y="5909363"/>
                  <a:pt x="4852726" y="6196771"/>
                  <a:pt x="5471625" y="6481585"/>
                </a:cubicBezTo>
                <a:cubicBezTo>
                  <a:pt x="5619002" y="6547711"/>
                  <a:pt x="5769837" y="6611675"/>
                  <a:pt x="5920240" y="6673478"/>
                </a:cubicBezTo>
                <a:cubicBezTo>
                  <a:pt x="6081880" y="6737876"/>
                  <a:pt x="6244384" y="6799679"/>
                  <a:pt x="6409913" y="6858024"/>
                </a:cubicBezTo>
                <a:lnTo>
                  <a:pt x="6380956" y="6858024"/>
                </a:lnTo>
                <a:cubicBezTo>
                  <a:pt x="6222774" y="6801840"/>
                  <a:pt x="6066753" y="6742629"/>
                  <a:pt x="5913757" y="6679961"/>
                </a:cubicBezTo>
                <a:cubicBezTo>
                  <a:pt x="5762922" y="6620318"/>
                  <a:pt x="5612519" y="6556355"/>
                  <a:pt x="5465142" y="6488068"/>
                </a:cubicBezTo>
                <a:cubicBezTo>
                  <a:pt x="4842785" y="6203253"/>
                  <a:pt x="4360891" y="5916278"/>
                  <a:pt x="3992663" y="5604236"/>
                </a:cubicBezTo>
                <a:cubicBezTo>
                  <a:pt x="3872082" y="5503103"/>
                  <a:pt x="3761872" y="5395487"/>
                  <a:pt x="3664629" y="5288303"/>
                </a:cubicBezTo>
                <a:cubicBezTo>
                  <a:pt x="3283004" y="4869077"/>
                  <a:pt x="3028443" y="4359091"/>
                  <a:pt x="2864642" y="3685734"/>
                </a:cubicBezTo>
                <a:cubicBezTo>
                  <a:pt x="2764374" y="3260457"/>
                  <a:pt x="2734121" y="2917730"/>
                  <a:pt x="2774314" y="2605687"/>
                </a:cubicBezTo>
                <a:cubicBezTo>
                  <a:pt x="2807594" y="2336863"/>
                  <a:pt x="2897921" y="2068472"/>
                  <a:pt x="2981766" y="1810454"/>
                </a:cubicBezTo>
                <a:cubicBezTo>
                  <a:pt x="3018935" y="1698947"/>
                  <a:pt x="3059128" y="1585281"/>
                  <a:pt x="3092408" y="1471615"/>
                </a:cubicBezTo>
                <a:cubicBezTo>
                  <a:pt x="3236328" y="982373"/>
                  <a:pt x="3296402" y="488809"/>
                  <a:pt x="3276521" y="1297"/>
                </a:cubicBezTo>
                <a:close/>
                <a:moveTo>
                  <a:pt x="3132169" y="1297"/>
                </a:moveTo>
                <a:lnTo>
                  <a:pt x="3145566" y="1297"/>
                </a:lnTo>
                <a:cubicBezTo>
                  <a:pt x="3168906" y="501343"/>
                  <a:pt x="3108830" y="1009169"/>
                  <a:pt x="2964911" y="1513105"/>
                </a:cubicBezTo>
                <a:cubicBezTo>
                  <a:pt x="2931201" y="1624611"/>
                  <a:pt x="2894463" y="1738277"/>
                  <a:pt x="2857726" y="1845461"/>
                </a:cubicBezTo>
                <a:cubicBezTo>
                  <a:pt x="2774314" y="2107801"/>
                  <a:pt x="2687012" y="2378353"/>
                  <a:pt x="2653732" y="2651066"/>
                </a:cubicBezTo>
                <a:cubicBezTo>
                  <a:pt x="2616996" y="2960516"/>
                  <a:pt x="2650275" y="3303677"/>
                  <a:pt x="2754001" y="3728954"/>
                </a:cubicBezTo>
                <a:cubicBezTo>
                  <a:pt x="2921258" y="4400148"/>
                  <a:pt x="3179278" y="4910135"/>
                  <a:pt x="3563930" y="5329361"/>
                </a:cubicBezTo>
                <a:cubicBezTo>
                  <a:pt x="3661173" y="5436545"/>
                  <a:pt x="3774838" y="5544161"/>
                  <a:pt x="3895420" y="5643133"/>
                </a:cubicBezTo>
                <a:cubicBezTo>
                  <a:pt x="4263647" y="5950854"/>
                  <a:pt x="4745542" y="6239990"/>
                  <a:pt x="5371356" y="6524804"/>
                </a:cubicBezTo>
                <a:cubicBezTo>
                  <a:pt x="5518733" y="6593091"/>
                  <a:pt x="5672594" y="6657055"/>
                  <a:pt x="5819971" y="6718859"/>
                </a:cubicBezTo>
                <a:cubicBezTo>
                  <a:pt x="5940552" y="6766400"/>
                  <a:pt x="6061566" y="6813076"/>
                  <a:pt x="6183877" y="6858024"/>
                </a:cubicBezTo>
                <a:lnTo>
                  <a:pt x="6156648" y="6858024"/>
                </a:lnTo>
                <a:cubicBezTo>
                  <a:pt x="6040821" y="6815238"/>
                  <a:pt x="5925858" y="6771154"/>
                  <a:pt x="5813056" y="6725342"/>
                </a:cubicBezTo>
                <a:cubicBezTo>
                  <a:pt x="5662221" y="6665699"/>
                  <a:pt x="5511818" y="6599574"/>
                  <a:pt x="5364441" y="6531288"/>
                </a:cubicBezTo>
                <a:cubicBezTo>
                  <a:pt x="4735169" y="6246473"/>
                  <a:pt x="4253275" y="5957337"/>
                  <a:pt x="3882022" y="5649616"/>
                </a:cubicBezTo>
                <a:cubicBezTo>
                  <a:pt x="3761440" y="5548483"/>
                  <a:pt x="3650800" y="5443028"/>
                  <a:pt x="3550532" y="5333683"/>
                </a:cubicBezTo>
                <a:cubicBezTo>
                  <a:pt x="3165448" y="4912296"/>
                  <a:pt x="2907861" y="4404038"/>
                  <a:pt x="2740603" y="3728954"/>
                </a:cubicBezTo>
                <a:cubicBezTo>
                  <a:pt x="2633852" y="3303677"/>
                  <a:pt x="2603598" y="2960948"/>
                  <a:pt x="2640334" y="2648906"/>
                </a:cubicBezTo>
                <a:cubicBezTo>
                  <a:pt x="2673614" y="2378353"/>
                  <a:pt x="2760485" y="2105641"/>
                  <a:pt x="2844328" y="1845461"/>
                </a:cubicBezTo>
                <a:cubicBezTo>
                  <a:pt x="2881065" y="1736116"/>
                  <a:pt x="2917801" y="1622449"/>
                  <a:pt x="2948056" y="1510944"/>
                </a:cubicBezTo>
                <a:cubicBezTo>
                  <a:pt x="3095432" y="1007009"/>
                  <a:pt x="3155507" y="500911"/>
                  <a:pt x="3132169" y="1297"/>
                </a:cubicBezTo>
                <a:close/>
                <a:moveTo>
                  <a:pt x="1666605" y="1297"/>
                </a:moveTo>
                <a:lnTo>
                  <a:pt x="1680003" y="1297"/>
                </a:lnTo>
                <a:cubicBezTo>
                  <a:pt x="1680003" y="7348"/>
                  <a:pt x="1680003" y="13831"/>
                  <a:pt x="1680003" y="19882"/>
                </a:cubicBezTo>
                <a:cubicBezTo>
                  <a:pt x="1737053" y="624950"/>
                  <a:pt x="1693402" y="1256815"/>
                  <a:pt x="1549482" y="1899053"/>
                </a:cubicBezTo>
                <a:cubicBezTo>
                  <a:pt x="1529168" y="1995864"/>
                  <a:pt x="1505831" y="2093107"/>
                  <a:pt x="1482491" y="2186028"/>
                </a:cubicBezTo>
                <a:cubicBezTo>
                  <a:pt x="1408587" y="2477326"/>
                  <a:pt x="1335114" y="2778564"/>
                  <a:pt x="1321715" y="3078073"/>
                </a:cubicBezTo>
                <a:cubicBezTo>
                  <a:pt x="1308318" y="3402217"/>
                  <a:pt x="1365367" y="3761800"/>
                  <a:pt x="1495889" y="4176705"/>
                </a:cubicBezTo>
                <a:cubicBezTo>
                  <a:pt x="1706800" y="4847899"/>
                  <a:pt x="2008038" y="5360047"/>
                  <a:pt x="2439797" y="5785324"/>
                </a:cubicBezTo>
                <a:cubicBezTo>
                  <a:pt x="2550006" y="5892940"/>
                  <a:pt x="2670587" y="5996234"/>
                  <a:pt x="2801111" y="6095205"/>
                </a:cubicBezTo>
                <a:cubicBezTo>
                  <a:pt x="3137787" y="6352360"/>
                  <a:pt x="3550964" y="6591363"/>
                  <a:pt x="4120160" y="6858024"/>
                </a:cubicBezTo>
                <a:lnTo>
                  <a:pt x="4095092" y="6858024"/>
                </a:lnTo>
                <a:cubicBezTo>
                  <a:pt x="3533675" y="6593955"/>
                  <a:pt x="3123958" y="6356681"/>
                  <a:pt x="2790738" y="6101688"/>
                </a:cubicBezTo>
                <a:cubicBezTo>
                  <a:pt x="2660216" y="6002284"/>
                  <a:pt x="2536609" y="5896829"/>
                  <a:pt x="2425967" y="5789646"/>
                </a:cubicBezTo>
                <a:cubicBezTo>
                  <a:pt x="1994207" y="5364369"/>
                  <a:pt x="1693402" y="4852221"/>
                  <a:pt x="1479034" y="4178866"/>
                </a:cubicBezTo>
                <a:cubicBezTo>
                  <a:pt x="1348512" y="3763530"/>
                  <a:pt x="1294921" y="3404378"/>
                  <a:pt x="1308318" y="3078073"/>
                </a:cubicBezTo>
                <a:cubicBezTo>
                  <a:pt x="1321715" y="2776403"/>
                  <a:pt x="1395622" y="2475165"/>
                  <a:pt x="1469093" y="2183867"/>
                </a:cubicBezTo>
                <a:cubicBezTo>
                  <a:pt x="1489406" y="2090946"/>
                  <a:pt x="1512745" y="1994135"/>
                  <a:pt x="1536083" y="1899053"/>
                </a:cubicBezTo>
                <a:cubicBezTo>
                  <a:pt x="1680003" y="1256815"/>
                  <a:pt x="1723655" y="624950"/>
                  <a:pt x="1666605" y="19882"/>
                </a:cubicBezTo>
                <a:cubicBezTo>
                  <a:pt x="1666605" y="13831"/>
                  <a:pt x="1666605" y="7348"/>
                  <a:pt x="1666605" y="1297"/>
                </a:cubicBezTo>
                <a:close/>
                <a:moveTo>
                  <a:pt x="5716245" y="865"/>
                </a:moveTo>
                <a:lnTo>
                  <a:pt x="5729643" y="865"/>
                </a:lnTo>
                <a:cubicBezTo>
                  <a:pt x="5692906" y="275739"/>
                  <a:pt x="5619434" y="548452"/>
                  <a:pt x="5508793" y="814683"/>
                </a:cubicBezTo>
                <a:cubicBezTo>
                  <a:pt x="5455201" y="942611"/>
                  <a:pt x="5394694" y="1070541"/>
                  <a:pt x="5334619" y="1194580"/>
                </a:cubicBezTo>
                <a:cubicBezTo>
                  <a:pt x="5223979" y="1415429"/>
                  <a:pt x="5113769" y="1644491"/>
                  <a:pt x="5053695" y="1878739"/>
                </a:cubicBezTo>
                <a:cubicBezTo>
                  <a:pt x="4956451" y="2237891"/>
                  <a:pt x="4983248" y="2607416"/>
                  <a:pt x="5023441" y="2919458"/>
                </a:cubicBezTo>
                <a:cubicBezTo>
                  <a:pt x="5077033" y="3379743"/>
                  <a:pt x="5194157" y="3976600"/>
                  <a:pt x="5585723" y="4509493"/>
                </a:cubicBezTo>
                <a:cubicBezTo>
                  <a:pt x="5990687" y="5060537"/>
                  <a:pt x="6716769" y="5560584"/>
                  <a:pt x="7626966" y="5911524"/>
                </a:cubicBezTo>
                <a:cubicBezTo>
                  <a:pt x="8232035" y="6146204"/>
                  <a:pt x="8915763" y="6321675"/>
                  <a:pt x="9666913" y="6434908"/>
                </a:cubicBezTo>
                <a:lnTo>
                  <a:pt x="9666913" y="6443985"/>
                </a:lnTo>
                <a:cubicBezTo>
                  <a:pt x="8913170" y="6330750"/>
                  <a:pt x="8225552" y="6154848"/>
                  <a:pt x="7617025" y="5919736"/>
                </a:cubicBezTo>
                <a:cubicBezTo>
                  <a:pt x="7171868" y="5746426"/>
                  <a:pt x="6770362" y="5539838"/>
                  <a:pt x="6425472" y="5306455"/>
                </a:cubicBezTo>
                <a:cubicBezTo>
                  <a:pt x="6067617" y="5062699"/>
                  <a:pt x="5779778" y="4796468"/>
                  <a:pt x="5572325" y="4513383"/>
                </a:cubicBezTo>
                <a:cubicBezTo>
                  <a:pt x="5180759" y="3980490"/>
                  <a:pt x="5063635" y="3381904"/>
                  <a:pt x="5006586" y="2921188"/>
                </a:cubicBezTo>
                <a:cubicBezTo>
                  <a:pt x="4969849" y="2607416"/>
                  <a:pt x="4943053" y="2237459"/>
                  <a:pt x="5036839" y="1876146"/>
                </a:cubicBezTo>
                <a:cubicBezTo>
                  <a:pt x="5100372" y="1642763"/>
                  <a:pt x="5210581" y="1413269"/>
                  <a:pt x="5321221" y="1192419"/>
                </a:cubicBezTo>
                <a:cubicBezTo>
                  <a:pt x="5381728" y="1068812"/>
                  <a:pt x="5441803" y="940451"/>
                  <a:pt x="5495395" y="812521"/>
                </a:cubicBezTo>
                <a:cubicBezTo>
                  <a:pt x="5605604" y="545859"/>
                  <a:pt x="5679509" y="273579"/>
                  <a:pt x="5716245" y="865"/>
                </a:cubicBezTo>
                <a:close/>
                <a:moveTo>
                  <a:pt x="4726525" y="865"/>
                </a:moveTo>
                <a:lnTo>
                  <a:pt x="4739923" y="865"/>
                </a:lnTo>
                <a:cubicBezTo>
                  <a:pt x="4723068" y="366500"/>
                  <a:pt x="4649595" y="727812"/>
                  <a:pt x="4519073" y="1085235"/>
                </a:cubicBezTo>
                <a:cubicBezTo>
                  <a:pt x="4475422" y="1209274"/>
                  <a:pt x="4421830" y="1333313"/>
                  <a:pt x="4371695" y="1453030"/>
                </a:cubicBezTo>
                <a:cubicBezTo>
                  <a:pt x="4274453" y="1688575"/>
                  <a:pt x="4170726" y="1931899"/>
                  <a:pt x="4120592" y="2177816"/>
                </a:cubicBezTo>
                <a:cubicBezTo>
                  <a:pt x="4043230" y="2555552"/>
                  <a:pt x="4090338" y="2939771"/>
                  <a:pt x="4140473" y="3234958"/>
                </a:cubicBezTo>
                <a:cubicBezTo>
                  <a:pt x="4220429" y="3693514"/>
                  <a:pt x="4367806" y="4290372"/>
                  <a:pt x="4799566" y="4827154"/>
                </a:cubicBezTo>
                <a:cubicBezTo>
                  <a:pt x="4886436" y="4936498"/>
                  <a:pt x="4986705" y="5044114"/>
                  <a:pt x="5097346" y="5145247"/>
                </a:cubicBezTo>
                <a:cubicBezTo>
                  <a:pt x="5448718" y="5473714"/>
                  <a:pt x="5913757" y="5772791"/>
                  <a:pt x="6485979" y="6037292"/>
                </a:cubicBezTo>
                <a:cubicBezTo>
                  <a:pt x="6626441" y="6103417"/>
                  <a:pt x="6773819" y="6167382"/>
                  <a:pt x="6924221" y="6225295"/>
                </a:cubicBezTo>
                <a:cubicBezTo>
                  <a:pt x="7325729" y="6384342"/>
                  <a:pt x="7763970" y="6520482"/>
                  <a:pt x="8222527" y="6631988"/>
                </a:cubicBezTo>
                <a:cubicBezTo>
                  <a:pt x="8573466" y="6718427"/>
                  <a:pt x="8955524" y="6793628"/>
                  <a:pt x="9362217" y="6858024"/>
                </a:cubicBezTo>
                <a:lnTo>
                  <a:pt x="9306465" y="6858024"/>
                </a:lnTo>
                <a:cubicBezTo>
                  <a:pt x="8917924" y="6795789"/>
                  <a:pt x="8552290" y="6723181"/>
                  <a:pt x="8216044" y="6640632"/>
                </a:cubicBezTo>
                <a:cubicBezTo>
                  <a:pt x="7757921" y="6529127"/>
                  <a:pt x="7319246" y="6392986"/>
                  <a:pt x="6917738" y="6233939"/>
                </a:cubicBezTo>
                <a:cubicBezTo>
                  <a:pt x="6767336" y="6173865"/>
                  <a:pt x="6619958" y="6112061"/>
                  <a:pt x="6479496" y="6045935"/>
                </a:cubicBezTo>
                <a:cubicBezTo>
                  <a:pt x="5903817" y="5779706"/>
                  <a:pt x="5435320" y="5478035"/>
                  <a:pt x="5083948" y="5151730"/>
                </a:cubicBezTo>
                <a:cubicBezTo>
                  <a:pt x="4973739" y="5048437"/>
                  <a:pt x="4873038" y="4940821"/>
                  <a:pt x="4786168" y="4831476"/>
                </a:cubicBezTo>
                <a:cubicBezTo>
                  <a:pt x="4354840" y="4294261"/>
                  <a:pt x="4207463" y="3695676"/>
                  <a:pt x="4127075" y="3234958"/>
                </a:cubicBezTo>
                <a:cubicBezTo>
                  <a:pt x="4076940" y="2939771"/>
                  <a:pt x="4026807" y="2553824"/>
                  <a:pt x="4107194" y="2177816"/>
                </a:cubicBezTo>
                <a:cubicBezTo>
                  <a:pt x="4157329" y="1930170"/>
                  <a:pt x="4261054" y="1686415"/>
                  <a:pt x="4358298" y="1450869"/>
                </a:cubicBezTo>
                <a:cubicBezTo>
                  <a:pt x="4408432" y="1330721"/>
                  <a:pt x="4462023" y="1207113"/>
                  <a:pt x="4505676" y="1083075"/>
                </a:cubicBezTo>
                <a:cubicBezTo>
                  <a:pt x="4636198" y="727812"/>
                  <a:pt x="4709670" y="364338"/>
                  <a:pt x="4726525" y="865"/>
                </a:cubicBezTo>
                <a:close/>
                <a:moveTo>
                  <a:pt x="4581741" y="865"/>
                </a:moveTo>
                <a:lnTo>
                  <a:pt x="4595139" y="865"/>
                </a:lnTo>
                <a:cubicBezTo>
                  <a:pt x="4581741" y="378601"/>
                  <a:pt x="4511725" y="754608"/>
                  <a:pt x="4377746" y="1124132"/>
                </a:cubicBezTo>
                <a:cubicBezTo>
                  <a:pt x="4334094" y="1246011"/>
                  <a:pt x="4283961" y="1370050"/>
                  <a:pt x="4233826" y="1489767"/>
                </a:cubicBezTo>
                <a:cubicBezTo>
                  <a:pt x="4136583" y="1727473"/>
                  <a:pt x="4036314" y="1973390"/>
                  <a:pt x="3986180" y="2221036"/>
                </a:cubicBezTo>
                <a:cubicBezTo>
                  <a:pt x="3912708" y="2598772"/>
                  <a:pt x="3962841" y="2984720"/>
                  <a:pt x="4012976" y="3278178"/>
                </a:cubicBezTo>
                <a:cubicBezTo>
                  <a:pt x="4096389" y="3738894"/>
                  <a:pt x="4247224" y="4335752"/>
                  <a:pt x="4685467" y="4872534"/>
                </a:cubicBezTo>
                <a:cubicBezTo>
                  <a:pt x="4775796" y="4981879"/>
                  <a:pt x="4876064" y="5089495"/>
                  <a:pt x="4986705" y="5190628"/>
                </a:cubicBezTo>
                <a:cubicBezTo>
                  <a:pt x="5341534" y="5516933"/>
                  <a:pt x="5810031" y="5816441"/>
                  <a:pt x="6385711" y="6082672"/>
                </a:cubicBezTo>
                <a:cubicBezTo>
                  <a:pt x="6526173" y="6148797"/>
                  <a:pt x="6673550" y="6210601"/>
                  <a:pt x="6823953" y="6270675"/>
                </a:cubicBezTo>
                <a:cubicBezTo>
                  <a:pt x="7228916" y="6429723"/>
                  <a:pt x="7663702" y="6568024"/>
                  <a:pt x="8122259" y="6681690"/>
                </a:cubicBezTo>
                <a:cubicBezTo>
                  <a:pt x="8381573" y="6745655"/>
                  <a:pt x="8658608" y="6804432"/>
                  <a:pt x="8951634" y="6858456"/>
                </a:cubicBezTo>
                <a:lnTo>
                  <a:pt x="8900205" y="6858456"/>
                </a:lnTo>
                <a:cubicBezTo>
                  <a:pt x="8623169" y="6807459"/>
                  <a:pt x="8360829" y="6751273"/>
                  <a:pt x="8115776" y="6690766"/>
                </a:cubicBezTo>
                <a:cubicBezTo>
                  <a:pt x="7657652" y="6577100"/>
                  <a:pt x="7222433" y="6438798"/>
                  <a:pt x="6817470" y="6277591"/>
                </a:cubicBezTo>
                <a:cubicBezTo>
                  <a:pt x="6667067" y="6219676"/>
                  <a:pt x="6519690" y="6155712"/>
                  <a:pt x="6375770" y="6089588"/>
                </a:cubicBezTo>
                <a:cubicBezTo>
                  <a:pt x="5800090" y="5823356"/>
                  <a:pt x="5328136" y="5521687"/>
                  <a:pt x="4976765" y="5197543"/>
                </a:cubicBezTo>
                <a:cubicBezTo>
                  <a:pt x="4863098" y="5094249"/>
                  <a:pt x="4762397" y="4986633"/>
                  <a:pt x="4675527" y="4877289"/>
                </a:cubicBezTo>
                <a:cubicBezTo>
                  <a:pt x="4233826" y="4337913"/>
                  <a:pt x="4083423" y="3741488"/>
                  <a:pt x="3999578" y="3280771"/>
                </a:cubicBezTo>
                <a:cubicBezTo>
                  <a:pt x="3945986" y="2985584"/>
                  <a:pt x="3895852" y="2599204"/>
                  <a:pt x="3972783" y="2219307"/>
                </a:cubicBezTo>
                <a:cubicBezTo>
                  <a:pt x="4022916" y="1971229"/>
                  <a:pt x="4123185" y="1725312"/>
                  <a:pt x="4220429" y="1488038"/>
                </a:cubicBezTo>
                <a:cubicBezTo>
                  <a:pt x="4270562" y="1368320"/>
                  <a:pt x="4320697" y="1244281"/>
                  <a:pt x="4364348" y="1122404"/>
                </a:cubicBezTo>
                <a:cubicBezTo>
                  <a:pt x="4494870" y="752447"/>
                  <a:pt x="4568343" y="376872"/>
                  <a:pt x="4581741" y="865"/>
                </a:cubicBezTo>
                <a:close/>
                <a:moveTo>
                  <a:pt x="4293901" y="865"/>
                </a:moveTo>
                <a:lnTo>
                  <a:pt x="4307299" y="865"/>
                </a:lnTo>
                <a:cubicBezTo>
                  <a:pt x="4300384" y="403668"/>
                  <a:pt x="4230369" y="806471"/>
                  <a:pt x="4096389" y="1202791"/>
                </a:cubicBezTo>
                <a:cubicBezTo>
                  <a:pt x="4053170" y="1322508"/>
                  <a:pt x="4006061" y="1444386"/>
                  <a:pt x="3959384" y="1561942"/>
                </a:cubicBezTo>
                <a:cubicBezTo>
                  <a:pt x="3865599" y="1803538"/>
                  <a:pt x="3765330" y="2053345"/>
                  <a:pt x="3721679" y="2305314"/>
                </a:cubicBezTo>
                <a:cubicBezTo>
                  <a:pt x="3648207" y="2689532"/>
                  <a:pt x="3704824" y="3075480"/>
                  <a:pt x="3761872" y="3368937"/>
                </a:cubicBezTo>
                <a:cubicBezTo>
                  <a:pt x="3895420" y="4050505"/>
                  <a:pt x="4109787" y="4544068"/>
                  <a:pt x="4461159" y="4965455"/>
                </a:cubicBezTo>
                <a:cubicBezTo>
                  <a:pt x="4551488" y="5072639"/>
                  <a:pt x="4655214" y="5180255"/>
                  <a:pt x="4768880" y="5281388"/>
                </a:cubicBezTo>
                <a:cubicBezTo>
                  <a:pt x="5123710" y="5603372"/>
                  <a:pt x="5599121" y="5900719"/>
                  <a:pt x="6181283" y="6171271"/>
                </a:cubicBezTo>
                <a:cubicBezTo>
                  <a:pt x="6325203" y="6237397"/>
                  <a:pt x="6472580" y="6299201"/>
                  <a:pt x="6622984" y="6359275"/>
                </a:cubicBezTo>
                <a:cubicBezTo>
                  <a:pt x="7030974" y="6520050"/>
                  <a:pt x="7466191" y="6660513"/>
                  <a:pt x="7921289" y="6776340"/>
                </a:cubicBezTo>
                <a:cubicBezTo>
                  <a:pt x="8031066" y="6804865"/>
                  <a:pt x="8143003" y="6831661"/>
                  <a:pt x="8257533" y="6857592"/>
                </a:cubicBezTo>
                <a:lnTo>
                  <a:pt x="8219501" y="6857592"/>
                </a:lnTo>
                <a:cubicBezTo>
                  <a:pt x="8116640" y="6833822"/>
                  <a:pt x="8015939" y="6809619"/>
                  <a:pt x="7917399" y="6784552"/>
                </a:cubicBezTo>
                <a:cubicBezTo>
                  <a:pt x="7458844" y="6669157"/>
                  <a:pt x="7024058" y="6528695"/>
                  <a:pt x="6615637" y="6367487"/>
                </a:cubicBezTo>
                <a:cubicBezTo>
                  <a:pt x="6465233" y="6307412"/>
                  <a:pt x="6317856" y="6243448"/>
                  <a:pt x="6173937" y="6177322"/>
                </a:cubicBezTo>
                <a:cubicBezTo>
                  <a:pt x="5588317" y="5906770"/>
                  <a:pt x="5113337" y="5607693"/>
                  <a:pt x="4755050" y="5287439"/>
                </a:cubicBezTo>
                <a:cubicBezTo>
                  <a:pt x="4644841" y="5184144"/>
                  <a:pt x="4541115" y="5076528"/>
                  <a:pt x="4447329" y="4967184"/>
                </a:cubicBezTo>
                <a:cubicBezTo>
                  <a:pt x="4095957" y="4546229"/>
                  <a:pt x="3882022" y="4052666"/>
                  <a:pt x="3748043" y="3368937"/>
                </a:cubicBezTo>
                <a:cubicBezTo>
                  <a:pt x="3690994" y="3075480"/>
                  <a:pt x="3633944" y="2689532"/>
                  <a:pt x="3704392" y="2305314"/>
                </a:cubicBezTo>
                <a:cubicBezTo>
                  <a:pt x="3751501" y="2053345"/>
                  <a:pt x="3848311" y="1801378"/>
                  <a:pt x="3945554" y="1559782"/>
                </a:cubicBezTo>
                <a:cubicBezTo>
                  <a:pt x="3992663" y="1442226"/>
                  <a:pt x="4039340" y="1320347"/>
                  <a:pt x="4079533" y="1200631"/>
                </a:cubicBezTo>
                <a:cubicBezTo>
                  <a:pt x="4216971" y="804310"/>
                  <a:pt x="4287418" y="403668"/>
                  <a:pt x="4293901" y="865"/>
                </a:cubicBezTo>
                <a:close/>
                <a:moveTo>
                  <a:pt x="3858684" y="865"/>
                </a:moveTo>
                <a:lnTo>
                  <a:pt x="3872082" y="865"/>
                </a:lnTo>
                <a:cubicBezTo>
                  <a:pt x="3878564" y="440836"/>
                  <a:pt x="3811575" y="882969"/>
                  <a:pt x="3671113" y="1318619"/>
                </a:cubicBezTo>
                <a:cubicBezTo>
                  <a:pt x="3631351" y="1436175"/>
                  <a:pt x="3591157" y="1553731"/>
                  <a:pt x="3547506" y="1669558"/>
                </a:cubicBezTo>
                <a:cubicBezTo>
                  <a:pt x="3456745" y="1919366"/>
                  <a:pt x="3363393" y="2175656"/>
                  <a:pt x="3319740" y="2435835"/>
                </a:cubicBezTo>
                <a:cubicBezTo>
                  <a:pt x="3272631" y="2741395"/>
                  <a:pt x="3292945" y="3071590"/>
                  <a:pt x="3383272" y="3503350"/>
                </a:cubicBezTo>
                <a:cubicBezTo>
                  <a:pt x="3530650" y="4184484"/>
                  <a:pt x="3757983" y="4678048"/>
                  <a:pt x="4126211" y="5101596"/>
                </a:cubicBezTo>
                <a:cubicBezTo>
                  <a:pt x="4219996" y="5208780"/>
                  <a:pt x="4323722" y="5316396"/>
                  <a:pt x="4440846" y="5417529"/>
                </a:cubicBezTo>
                <a:cubicBezTo>
                  <a:pt x="4799134" y="5731300"/>
                  <a:pt x="5284053" y="6030809"/>
                  <a:pt x="5876588" y="6303522"/>
                </a:cubicBezTo>
                <a:cubicBezTo>
                  <a:pt x="6023965" y="6369648"/>
                  <a:pt x="6171343" y="6433612"/>
                  <a:pt x="6321746" y="6493687"/>
                </a:cubicBezTo>
                <a:cubicBezTo>
                  <a:pt x="6662314" y="6630260"/>
                  <a:pt x="7021033" y="6753003"/>
                  <a:pt x="7390557" y="6857592"/>
                </a:cubicBezTo>
                <a:lnTo>
                  <a:pt x="7359439" y="6857592"/>
                </a:lnTo>
                <a:cubicBezTo>
                  <a:pt x="6997262" y="6753867"/>
                  <a:pt x="6647187" y="6635445"/>
                  <a:pt x="6314831" y="6501898"/>
                </a:cubicBezTo>
                <a:cubicBezTo>
                  <a:pt x="6163995" y="6442256"/>
                  <a:pt x="6013593" y="6378291"/>
                  <a:pt x="5869673" y="6310005"/>
                </a:cubicBezTo>
                <a:cubicBezTo>
                  <a:pt x="5274112" y="6037292"/>
                  <a:pt x="4788761" y="5737783"/>
                  <a:pt x="4427449" y="5421850"/>
                </a:cubicBezTo>
                <a:cubicBezTo>
                  <a:pt x="4313782" y="5320717"/>
                  <a:pt x="4206598" y="5213101"/>
                  <a:pt x="4112813" y="5105917"/>
                </a:cubicBezTo>
                <a:cubicBezTo>
                  <a:pt x="3744585" y="4682803"/>
                  <a:pt x="3517253" y="4189238"/>
                  <a:pt x="3369875" y="3505511"/>
                </a:cubicBezTo>
                <a:cubicBezTo>
                  <a:pt x="3276089" y="3071590"/>
                  <a:pt x="3259665" y="2741395"/>
                  <a:pt x="3306342" y="2433674"/>
                </a:cubicBezTo>
                <a:cubicBezTo>
                  <a:pt x="3346536" y="2175224"/>
                  <a:pt x="3443780" y="1917204"/>
                  <a:pt x="3534108" y="1667398"/>
                </a:cubicBezTo>
                <a:cubicBezTo>
                  <a:pt x="3573869" y="1552002"/>
                  <a:pt x="3617522" y="1434014"/>
                  <a:pt x="3657715" y="1316458"/>
                </a:cubicBezTo>
                <a:cubicBezTo>
                  <a:pt x="3798609" y="880808"/>
                  <a:pt x="3865167" y="440836"/>
                  <a:pt x="3858684" y="865"/>
                </a:cubicBezTo>
                <a:close/>
                <a:moveTo>
                  <a:pt x="2985225" y="865"/>
                </a:moveTo>
                <a:lnTo>
                  <a:pt x="2998622" y="865"/>
                </a:lnTo>
                <a:cubicBezTo>
                  <a:pt x="3028875" y="513013"/>
                  <a:pt x="2968801" y="1033372"/>
                  <a:pt x="2821423" y="1551570"/>
                </a:cubicBezTo>
                <a:cubicBezTo>
                  <a:pt x="2791602" y="1661347"/>
                  <a:pt x="2757890" y="1772853"/>
                  <a:pt x="2721154" y="1880037"/>
                </a:cubicBezTo>
                <a:cubicBezTo>
                  <a:pt x="2637310" y="2144538"/>
                  <a:pt x="2553464" y="2418979"/>
                  <a:pt x="2520184" y="2691693"/>
                </a:cubicBezTo>
                <a:cubicBezTo>
                  <a:pt x="2486906" y="3005464"/>
                  <a:pt x="2520184" y="3348193"/>
                  <a:pt x="2627369" y="3771741"/>
                </a:cubicBezTo>
                <a:cubicBezTo>
                  <a:pt x="2801543" y="4445097"/>
                  <a:pt x="3062587" y="4955083"/>
                  <a:pt x="3450694" y="5374309"/>
                </a:cubicBezTo>
                <a:cubicBezTo>
                  <a:pt x="3550964" y="5481493"/>
                  <a:pt x="3664629" y="5589109"/>
                  <a:pt x="3785211" y="5688081"/>
                </a:cubicBezTo>
                <a:cubicBezTo>
                  <a:pt x="4153439" y="5994072"/>
                  <a:pt x="4641816" y="6283209"/>
                  <a:pt x="5271088" y="6568024"/>
                </a:cubicBezTo>
                <a:cubicBezTo>
                  <a:pt x="5418033" y="6636310"/>
                  <a:pt x="5572325" y="6702003"/>
                  <a:pt x="5722728" y="6762078"/>
                </a:cubicBezTo>
                <a:cubicBezTo>
                  <a:pt x="5802252" y="6794493"/>
                  <a:pt x="5882639" y="6826475"/>
                  <a:pt x="5963890" y="6858024"/>
                </a:cubicBezTo>
                <a:lnTo>
                  <a:pt x="5935798" y="6858024"/>
                </a:lnTo>
                <a:cubicBezTo>
                  <a:pt x="5861029" y="6829499"/>
                  <a:pt x="5787125" y="6800544"/>
                  <a:pt x="5712788" y="6770722"/>
                </a:cubicBezTo>
                <a:cubicBezTo>
                  <a:pt x="5562385" y="6708918"/>
                  <a:pt x="5411550" y="6644955"/>
                  <a:pt x="5261147" y="6576668"/>
                </a:cubicBezTo>
                <a:cubicBezTo>
                  <a:pt x="4631875" y="6289692"/>
                  <a:pt x="4143498" y="6000555"/>
                  <a:pt x="3775272" y="5694996"/>
                </a:cubicBezTo>
                <a:cubicBezTo>
                  <a:pt x="3651663" y="5593862"/>
                  <a:pt x="3537566" y="5488408"/>
                  <a:pt x="3437296" y="5379064"/>
                </a:cubicBezTo>
                <a:cubicBezTo>
                  <a:pt x="3049189" y="4957676"/>
                  <a:pt x="2788145" y="4447689"/>
                  <a:pt x="2613972" y="3774334"/>
                </a:cubicBezTo>
                <a:cubicBezTo>
                  <a:pt x="2506787" y="3348625"/>
                  <a:pt x="2473508" y="3005897"/>
                  <a:pt x="2506787" y="2692125"/>
                </a:cubicBezTo>
                <a:cubicBezTo>
                  <a:pt x="2537042" y="2417251"/>
                  <a:pt x="2623912" y="2144538"/>
                  <a:pt x="2707756" y="1878307"/>
                </a:cubicBezTo>
                <a:cubicBezTo>
                  <a:pt x="2741035" y="1770692"/>
                  <a:pt x="2777772" y="1659186"/>
                  <a:pt x="2808025" y="1549842"/>
                </a:cubicBezTo>
                <a:cubicBezTo>
                  <a:pt x="2954970" y="1031211"/>
                  <a:pt x="3012020" y="513013"/>
                  <a:pt x="2985225" y="865"/>
                </a:cubicBezTo>
                <a:close/>
                <a:moveTo>
                  <a:pt x="2838710" y="865"/>
                </a:moveTo>
                <a:lnTo>
                  <a:pt x="2855567" y="865"/>
                </a:lnTo>
                <a:cubicBezTo>
                  <a:pt x="2885387" y="525114"/>
                  <a:pt x="2828770" y="1058007"/>
                  <a:pt x="2681392" y="1588739"/>
                </a:cubicBezTo>
                <a:cubicBezTo>
                  <a:pt x="2651139" y="1698083"/>
                  <a:pt x="2617428" y="1807860"/>
                  <a:pt x="2584149" y="1915044"/>
                </a:cubicBezTo>
                <a:cubicBezTo>
                  <a:pt x="2503762" y="2181274"/>
                  <a:pt x="2416891" y="2458309"/>
                  <a:pt x="2390096" y="2734912"/>
                </a:cubicBezTo>
                <a:cubicBezTo>
                  <a:pt x="2356383" y="3050844"/>
                  <a:pt x="2393120" y="3393572"/>
                  <a:pt x="2503762" y="3817122"/>
                </a:cubicBezTo>
                <a:cubicBezTo>
                  <a:pt x="2677936" y="4490477"/>
                  <a:pt x="2945462" y="4998302"/>
                  <a:pt x="3340485" y="5419690"/>
                </a:cubicBezTo>
                <a:cubicBezTo>
                  <a:pt x="3440755" y="5526873"/>
                  <a:pt x="3554421" y="5634489"/>
                  <a:pt x="3675002" y="5733461"/>
                </a:cubicBezTo>
                <a:cubicBezTo>
                  <a:pt x="4046255" y="6037292"/>
                  <a:pt x="4535064" y="6324267"/>
                  <a:pt x="5170819" y="6613403"/>
                </a:cubicBezTo>
                <a:cubicBezTo>
                  <a:pt x="5317764" y="6681690"/>
                  <a:pt x="5472057" y="6745655"/>
                  <a:pt x="5622459" y="6807459"/>
                </a:cubicBezTo>
                <a:cubicBezTo>
                  <a:pt x="5663518" y="6824314"/>
                  <a:pt x="5705440" y="6841169"/>
                  <a:pt x="5747363" y="6858024"/>
                </a:cubicBezTo>
                <a:lnTo>
                  <a:pt x="5722728" y="6858024"/>
                </a:lnTo>
                <a:cubicBezTo>
                  <a:pt x="5685992" y="6843330"/>
                  <a:pt x="5649256" y="6828635"/>
                  <a:pt x="5612519" y="6813941"/>
                </a:cubicBezTo>
                <a:cubicBezTo>
                  <a:pt x="5462117" y="6754299"/>
                  <a:pt x="5311281" y="6688173"/>
                  <a:pt x="5160879" y="6619886"/>
                </a:cubicBezTo>
                <a:cubicBezTo>
                  <a:pt x="4525124" y="6330750"/>
                  <a:pt x="4036314" y="6043343"/>
                  <a:pt x="3665063" y="5739943"/>
                </a:cubicBezTo>
                <a:cubicBezTo>
                  <a:pt x="3541456" y="5638810"/>
                  <a:pt x="3427357" y="5533356"/>
                  <a:pt x="3327087" y="5424011"/>
                </a:cubicBezTo>
                <a:cubicBezTo>
                  <a:pt x="2932064" y="5002624"/>
                  <a:pt x="2664538" y="4492638"/>
                  <a:pt x="2490364" y="3819282"/>
                </a:cubicBezTo>
                <a:cubicBezTo>
                  <a:pt x="2376698" y="3393572"/>
                  <a:pt x="2342986" y="3050844"/>
                  <a:pt x="2373240" y="2734912"/>
                </a:cubicBezTo>
                <a:cubicBezTo>
                  <a:pt x="2403493" y="2457877"/>
                  <a:pt x="2490364" y="2181274"/>
                  <a:pt x="2570751" y="1912883"/>
                </a:cubicBezTo>
                <a:cubicBezTo>
                  <a:pt x="2604462" y="1807428"/>
                  <a:pt x="2637742" y="1695923"/>
                  <a:pt x="2667995" y="1588739"/>
                </a:cubicBezTo>
                <a:cubicBezTo>
                  <a:pt x="2815373" y="1056278"/>
                  <a:pt x="2871989" y="523385"/>
                  <a:pt x="2838710" y="865"/>
                </a:cubicBezTo>
                <a:close/>
                <a:moveTo>
                  <a:pt x="2693495" y="865"/>
                </a:moveTo>
                <a:lnTo>
                  <a:pt x="2706893" y="865"/>
                </a:lnTo>
                <a:cubicBezTo>
                  <a:pt x="2740603" y="535486"/>
                  <a:pt x="2687012" y="1083075"/>
                  <a:pt x="2539633" y="1628068"/>
                </a:cubicBezTo>
                <a:cubicBezTo>
                  <a:pt x="2509381" y="1735252"/>
                  <a:pt x="2476102" y="1844596"/>
                  <a:pt x="2445847" y="1950052"/>
                </a:cubicBezTo>
                <a:cubicBezTo>
                  <a:pt x="2365893" y="2218443"/>
                  <a:pt x="2282048" y="2499368"/>
                  <a:pt x="2255252" y="2778131"/>
                </a:cubicBezTo>
                <a:cubicBezTo>
                  <a:pt x="2225430" y="3094064"/>
                  <a:pt x="2262167" y="3438954"/>
                  <a:pt x="2375833" y="3862501"/>
                </a:cubicBezTo>
                <a:cubicBezTo>
                  <a:pt x="2556490" y="4533696"/>
                  <a:pt x="2827906" y="5043682"/>
                  <a:pt x="3225955" y="5465070"/>
                </a:cubicBezTo>
                <a:cubicBezTo>
                  <a:pt x="3326224" y="5572253"/>
                  <a:pt x="3443780" y="5679869"/>
                  <a:pt x="3567387" y="5778841"/>
                </a:cubicBezTo>
                <a:cubicBezTo>
                  <a:pt x="3935614" y="6080510"/>
                  <a:pt x="4427449" y="6367487"/>
                  <a:pt x="5066660" y="6656623"/>
                </a:cubicBezTo>
                <a:cubicBezTo>
                  <a:pt x="5217064" y="6724910"/>
                  <a:pt x="5371356" y="6791034"/>
                  <a:pt x="5521759" y="6852838"/>
                </a:cubicBezTo>
                <a:cubicBezTo>
                  <a:pt x="5526081" y="6854568"/>
                  <a:pt x="5529970" y="6856296"/>
                  <a:pt x="5533428" y="6857592"/>
                </a:cubicBezTo>
                <a:lnTo>
                  <a:pt x="5507928" y="6857592"/>
                </a:lnTo>
                <a:cubicBezTo>
                  <a:pt x="5358390" y="6795789"/>
                  <a:pt x="5209284" y="6732257"/>
                  <a:pt x="5059745" y="6664835"/>
                </a:cubicBezTo>
                <a:cubicBezTo>
                  <a:pt x="4417508" y="6373537"/>
                  <a:pt x="3925241" y="6086561"/>
                  <a:pt x="3553989" y="5784892"/>
                </a:cubicBezTo>
                <a:cubicBezTo>
                  <a:pt x="3429949" y="5683759"/>
                  <a:pt x="3316284" y="5578303"/>
                  <a:pt x="3212557" y="5468959"/>
                </a:cubicBezTo>
                <a:cubicBezTo>
                  <a:pt x="2814076" y="5048005"/>
                  <a:pt x="2543090" y="4537585"/>
                  <a:pt x="2362435" y="3862501"/>
                </a:cubicBezTo>
                <a:cubicBezTo>
                  <a:pt x="2248336" y="3438954"/>
                  <a:pt x="2208575" y="3094064"/>
                  <a:pt x="2241852" y="2778131"/>
                </a:cubicBezTo>
                <a:cubicBezTo>
                  <a:pt x="2268650" y="2497207"/>
                  <a:pt x="2352062" y="2218443"/>
                  <a:pt x="2432449" y="1947890"/>
                </a:cubicBezTo>
                <a:cubicBezTo>
                  <a:pt x="2462704" y="1842868"/>
                  <a:pt x="2495983" y="1733091"/>
                  <a:pt x="2526235" y="1625908"/>
                </a:cubicBezTo>
                <a:cubicBezTo>
                  <a:pt x="2670155" y="1080913"/>
                  <a:pt x="2726772" y="535919"/>
                  <a:pt x="2693495" y="865"/>
                </a:cubicBezTo>
                <a:close/>
                <a:moveTo>
                  <a:pt x="2546980" y="865"/>
                </a:moveTo>
                <a:lnTo>
                  <a:pt x="2560380" y="865"/>
                </a:lnTo>
                <a:cubicBezTo>
                  <a:pt x="2600573" y="548020"/>
                  <a:pt x="2543525" y="1107709"/>
                  <a:pt x="2399604" y="1667398"/>
                </a:cubicBezTo>
                <a:cubicBezTo>
                  <a:pt x="2369351" y="1772853"/>
                  <a:pt x="2339529" y="1880037"/>
                  <a:pt x="2309276" y="1983330"/>
                </a:cubicBezTo>
                <a:cubicBezTo>
                  <a:pt x="2228887" y="2256043"/>
                  <a:pt x="2148500" y="2538697"/>
                  <a:pt x="2121704" y="2821783"/>
                </a:cubicBezTo>
                <a:cubicBezTo>
                  <a:pt x="2094908" y="3139444"/>
                  <a:pt x="2135103" y="3484333"/>
                  <a:pt x="2248768" y="3907881"/>
                </a:cubicBezTo>
                <a:cubicBezTo>
                  <a:pt x="2436341" y="4579076"/>
                  <a:pt x="2710782" y="5089063"/>
                  <a:pt x="3112289" y="5510450"/>
                </a:cubicBezTo>
                <a:cubicBezTo>
                  <a:pt x="3216015" y="5617634"/>
                  <a:pt x="3333571" y="5723088"/>
                  <a:pt x="3457178" y="5824221"/>
                </a:cubicBezTo>
                <a:cubicBezTo>
                  <a:pt x="3828431" y="6121569"/>
                  <a:pt x="4320697" y="6408545"/>
                  <a:pt x="4966392" y="6702003"/>
                </a:cubicBezTo>
                <a:cubicBezTo>
                  <a:pt x="5086109" y="6756459"/>
                  <a:pt x="5207555" y="6807891"/>
                  <a:pt x="5328136" y="6857160"/>
                </a:cubicBezTo>
                <a:lnTo>
                  <a:pt x="5299612" y="6857160"/>
                </a:lnTo>
                <a:cubicBezTo>
                  <a:pt x="5186378" y="6809187"/>
                  <a:pt x="5073143" y="6759485"/>
                  <a:pt x="4959910" y="6708054"/>
                </a:cubicBezTo>
                <a:cubicBezTo>
                  <a:pt x="4313782" y="6416756"/>
                  <a:pt x="3818491" y="6127620"/>
                  <a:pt x="3447237" y="5830272"/>
                </a:cubicBezTo>
                <a:cubicBezTo>
                  <a:pt x="3319740" y="5729139"/>
                  <a:pt x="3206074" y="5623684"/>
                  <a:pt x="3102348" y="5514339"/>
                </a:cubicBezTo>
                <a:cubicBezTo>
                  <a:pt x="2697816" y="5093385"/>
                  <a:pt x="2423375" y="4581237"/>
                  <a:pt x="2235803" y="3907881"/>
                </a:cubicBezTo>
                <a:cubicBezTo>
                  <a:pt x="2118679" y="3484765"/>
                  <a:pt x="2078484" y="3139876"/>
                  <a:pt x="2108737" y="2819622"/>
                </a:cubicBezTo>
                <a:cubicBezTo>
                  <a:pt x="2132508" y="2536968"/>
                  <a:pt x="2215922" y="2256043"/>
                  <a:pt x="2296308" y="1983330"/>
                </a:cubicBezTo>
                <a:cubicBezTo>
                  <a:pt x="2326131" y="1877875"/>
                  <a:pt x="2356383" y="1770692"/>
                  <a:pt x="2383181" y="1665237"/>
                </a:cubicBezTo>
                <a:cubicBezTo>
                  <a:pt x="2530125" y="1105548"/>
                  <a:pt x="2583717" y="545859"/>
                  <a:pt x="2546980" y="865"/>
                </a:cubicBezTo>
                <a:close/>
                <a:moveTo>
                  <a:pt x="2400036" y="865"/>
                </a:moveTo>
                <a:lnTo>
                  <a:pt x="2413434" y="865"/>
                </a:lnTo>
                <a:cubicBezTo>
                  <a:pt x="2457084" y="558392"/>
                  <a:pt x="2403493" y="1130616"/>
                  <a:pt x="2256115" y="1706727"/>
                </a:cubicBezTo>
                <a:cubicBezTo>
                  <a:pt x="2229320" y="1810022"/>
                  <a:pt x="2199067" y="1915476"/>
                  <a:pt x="2172271" y="2018770"/>
                </a:cubicBezTo>
                <a:cubicBezTo>
                  <a:pt x="2091882" y="2293212"/>
                  <a:pt x="2011496" y="2578459"/>
                  <a:pt x="1988157" y="2863273"/>
                </a:cubicBezTo>
                <a:cubicBezTo>
                  <a:pt x="1961361" y="3183095"/>
                  <a:pt x="2004581" y="3530145"/>
                  <a:pt x="2125161" y="3951533"/>
                </a:cubicBezTo>
                <a:cubicBezTo>
                  <a:pt x="2316190" y="4624888"/>
                  <a:pt x="2593657" y="5134875"/>
                  <a:pt x="3002080" y="5556263"/>
                </a:cubicBezTo>
                <a:cubicBezTo>
                  <a:pt x="3105805" y="5663445"/>
                  <a:pt x="3223362" y="5768900"/>
                  <a:pt x="3346969" y="5870033"/>
                </a:cubicBezTo>
                <a:cubicBezTo>
                  <a:pt x="3725137" y="6169543"/>
                  <a:pt x="4207030" y="6448307"/>
                  <a:pt x="4866123" y="6745655"/>
                </a:cubicBezTo>
                <a:cubicBezTo>
                  <a:pt x="4950400" y="6783688"/>
                  <a:pt x="5035542" y="6821288"/>
                  <a:pt x="5120684" y="6857592"/>
                </a:cubicBezTo>
                <a:lnTo>
                  <a:pt x="5091296" y="6857592"/>
                </a:lnTo>
                <a:cubicBezTo>
                  <a:pt x="5012636" y="6823881"/>
                  <a:pt x="4933545" y="6789306"/>
                  <a:pt x="4855751" y="6753867"/>
                </a:cubicBezTo>
                <a:cubicBezTo>
                  <a:pt x="4196658" y="6454357"/>
                  <a:pt x="3714765" y="6175593"/>
                  <a:pt x="3336595" y="5876084"/>
                </a:cubicBezTo>
                <a:cubicBezTo>
                  <a:pt x="3209531" y="5774951"/>
                  <a:pt x="3092408" y="5669496"/>
                  <a:pt x="2988682" y="5562313"/>
                </a:cubicBezTo>
                <a:cubicBezTo>
                  <a:pt x="2580259" y="5139197"/>
                  <a:pt x="2302360" y="4627049"/>
                  <a:pt x="2111764" y="3953694"/>
                </a:cubicBezTo>
                <a:cubicBezTo>
                  <a:pt x="1991614" y="3530145"/>
                  <a:pt x="1947963" y="3185257"/>
                  <a:pt x="1974759" y="2863273"/>
                </a:cubicBezTo>
                <a:cubicBezTo>
                  <a:pt x="1998098" y="2578459"/>
                  <a:pt x="2078484" y="2293212"/>
                  <a:pt x="2158874" y="2016609"/>
                </a:cubicBezTo>
                <a:cubicBezTo>
                  <a:pt x="2185669" y="1915044"/>
                  <a:pt x="2215922" y="1810022"/>
                  <a:pt x="2242718" y="1704566"/>
                </a:cubicBezTo>
                <a:cubicBezTo>
                  <a:pt x="2390096" y="1130616"/>
                  <a:pt x="2443687" y="558392"/>
                  <a:pt x="2400036" y="865"/>
                </a:cubicBezTo>
                <a:close/>
                <a:moveTo>
                  <a:pt x="2252226" y="865"/>
                </a:moveTo>
                <a:lnTo>
                  <a:pt x="2265624" y="865"/>
                </a:lnTo>
                <a:cubicBezTo>
                  <a:pt x="2312734" y="568766"/>
                  <a:pt x="2262599" y="1155250"/>
                  <a:pt x="2115221" y="1743896"/>
                </a:cubicBezTo>
                <a:cubicBezTo>
                  <a:pt x="2088426" y="1847189"/>
                  <a:pt x="2061629" y="1952644"/>
                  <a:pt x="2034834" y="2051617"/>
                </a:cubicBezTo>
                <a:cubicBezTo>
                  <a:pt x="1957904" y="2330380"/>
                  <a:pt x="1877515" y="2619518"/>
                  <a:pt x="1854176" y="2906493"/>
                </a:cubicBezTo>
                <a:cubicBezTo>
                  <a:pt x="1830839" y="3228475"/>
                  <a:pt x="1877515" y="3575525"/>
                  <a:pt x="1998098" y="3996913"/>
                </a:cubicBezTo>
                <a:cubicBezTo>
                  <a:pt x="2192151" y="4670269"/>
                  <a:pt x="2476966" y="5180255"/>
                  <a:pt x="2888413" y="5601642"/>
                </a:cubicBezTo>
                <a:cubicBezTo>
                  <a:pt x="2995596" y="5710987"/>
                  <a:pt x="3112721" y="5814281"/>
                  <a:pt x="3239786" y="5915414"/>
                </a:cubicBezTo>
                <a:cubicBezTo>
                  <a:pt x="3614496" y="6212762"/>
                  <a:pt x="4099847" y="6489365"/>
                  <a:pt x="4765854" y="6791034"/>
                </a:cubicBezTo>
                <a:cubicBezTo>
                  <a:pt x="4815125" y="6813509"/>
                  <a:pt x="4865259" y="6835982"/>
                  <a:pt x="4915393" y="6858024"/>
                </a:cubicBezTo>
                <a:lnTo>
                  <a:pt x="4892055" y="6858024"/>
                </a:lnTo>
                <a:cubicBezTo>
                  <a:pt x="4846243" y="6838144"/>
                  <a:pt x="4800862" y="6817831"/>
                  <a:pt x="4755482" y="6797517"/>
                </a:cubicBezTo>
                <a:cubicBezTo>
                  <a:pt x="4089474" y="6498009"/>
                  <a:pt x="3604123" y="6219244"/>
                  <a:pt x="3225955" y="5919736"/>
                </a:cubicBezTo>
                <a:cubicBezTo>
                  <a:pt x="3098891" y="5820332"/>
                  <a:pt x="2981766" y="5714876"/>
                  <a:pt x="2878041" y="5607693"/>
                </a:cubicBezTo>
                <a:cubicBezTo>
                  <a:pt x="2463136" y="5182416"/>
                  <a:pt x="2178753" y="4672429"/>
                  <a:pt x="1984699" y="3999074"/>
                </a:cubicBezTo>
                <a:cubicBezTo>
                  <a:pt x="1864118" y="3575525"/>
                  <a:pt x="1817441" y="3228475"/>
                  <a:pt x="1840778" y="2906493"/>
                </a:cubicBezTo>
                <a:cubicBezTo>
                  <a:pt x="1864118" y="2617356"/>
                  <a:pt x="1941048" y="2330380"/>
                  <a:pt x="2017978" y="2051617"/>
                </a:cubicBezTo>
                <a:cubicBezTo>
                  <a:pt x="2048231" y="1950484"/>
                  <a:pt x="2075028" y="1847189"/>
                  <a:pt x="2101823" y="1743896"/>
                </a:cubicBezTo>
                <a:cubicBezTo>
                  <a:pt x="2248768" y="1155250"/>
                  <a:pt x="2298903" y="568766"/>
                  <a:pt x="2252226" y="865"/>
                </a:cubicBezTo>
                <a:close/>
                <a:moveTo>
                  <a:pt x="2105282" y="865"/>
                </a:moveTo>
                <a:lnTo>
                  <a:pt x="2122137" y="865"/>
                </a:lnTo>
                <a:cubicBezTo>
                  <a:pt x="2168812" y="581299"/>
                  <a:pt x="2122137" y="1180317"/>
                  <a:pt x="1974759" y="1783225"/>
                </a:cubicBezTo>
                <a:cubicBezTo>
                  <a:pt x="1947963" y="1884358"/>
                  <a:pt x="1921168" y="1987652"/>
                  <a:pt x="1894371" y="2086624"/>
                </a:cubicBezTo>
                <a:cubicBezTo>
                  <a:pt x="1820899" y="2367549"/>
                  <a:pt x="1743537" y="2658415"/>
                  <a:pt x="1723655" y="2949711"/>
                </a:cubicBezTo>
                <a:cubicBezTo>
                  <a:pt x="1699884" y="3273856"/>
                  <a:pt x="1746993" y="3620906"/>
                  <a:pt x="1874058" y="4042292"/>
                </a:cubicBezTo>
                <a:cubicBezTo>
                  <a:pt x="2071570" y="4713055"/>
                  <a:pt x="2359410" y="5223475"/>
                  <a:pt x="2777772" y="5648752"/>
                </a:cubicBezTo>
                <a:cubicBezTo>
                  <a:pt x="2881497" y="5756367"/>
                  <a:pt x="3002080" y="5859661"/>
                  <a:pt x="3129144" y="5960794"/>
                </a:cubicBezTo>
                <a:cubicBezTo>
                  <a:pt x="3507312" y="6253820"/>
                  <a:pt x="3992231" y="6532584"/>
                  <a:pt x="4661697" y="6834254"/>
                </a:cubicBezTo>
                <a:cubicBezTo>
                  <a:pt x="4678984" y="6842033"/>
                  <a:pt x="4695840" y="6849813"/>
                  <a:pt x="4712694" y="6858024"/>
                </a:cubicBezTo>
                <a:lnTo>
                  <a:pt x="4691518" y="6858024"/>
                </a:lnTo>
                <a:cubicBezTo>
                  <a:pt x="4678984" y="6852406"/>
                  <a:pt x="4666883" y="6846356"/>
                  <a:pt x="4654782" y="6840737"/>
                </a:cubicBezTo>
                <a:cubicBezTo>
                  <a:pt x="3982290" y="6539067"/>
                  <a:pt x="3493482" y="6260303"/>
                  <a:pt x="3118771" y="5965116"/>
                </a:cubicBezTo>
                <a:cubicBezTo>
                  <a:pt x="2988249" y="5865712"/>
                  <a:pt x="2871126" y="5760257"/>
                  <a:pt x="2763942" y="5653073"/>
                </a:cubicBezTo>
                <a:cubicBezTo>
                  <a:pt x="2345580" y="5227796"/>
                  <a:pt x="2058173" y="4717377"/>
                  <a:pt x="1857203" y="4042292"/>
                </a:cubicBezTo>
                <a:cubicBezTo>
                  <a:pt x="1733596" y="3620906"/>
                  <a:pt x="1686919" y="3273856"/>
                  <a:pt x="1706800" y="2949711"/>
                </a:cubicBezTo>
                <a:cubicBezTo>
                  <a:pt x="1727112" y="2658415"/>
                  <a:pt x="1807501" y="2365387"/>
                  <a:pt x="1880974" y="2084463"/>
                </a:cubicBezTo>
                <a:cubicBezTo>
                  <a:pt x="1907769" y="1985491"/>
                  <a:pt x="1934566" y="1882197"/>
                  <a:pt x="1961361" y="1781064"/>
                </a:cubicBezTo>
                <a:cubicBezTo>
                  <a:pt x="2105282" y="1178156"/>
                  <a:pt x="2155414" y="579138"/>
                  <a:pt x="2105282" y="865"/>
                </a:cubicBezTo>
                <a:close/>
                <a:moveTo>
                  <a:pt x="1957472" y="865"/>
                </a:moveTo>
                <a:lnTo>
                  <a:pt x="1974327" y="865"/>
                </a:lnTo>
                <a:cubicBezTo>
                  <a:pt x="2024460" y="591240"/>
                  <a:pt x="1977783" y="1202791"/>
                  <a:pt x="1833865" y="1822122"/>
                </a:cubicBezTo>
                <a:cubicBezTo>
                  <a:pt x="1810526" y="1921094"/>
                  <a:pt x="1783730" y="2022227"/>
                  <a:pt x="1756935" y="2119471"/>
                </a:cubicBezTo>
                <a:cubicBezTo>
                  <a:pt x="1683462" y="2404286"/>
                  <a:pt x="1606530" y="2697743"/>
                  <a:pt x="1589675" y="2992931"/>
                </a:cubicBezTo>
                <a:cubicBezTo>
                  <a:pt x="1569795" y="3313185"/>
                  <a:pt x="1619928" y="3670607"/>
                  <a:pt x="1746993" y="4085512"/>
                </a:cubicBezTo>
                <a:cubicBezTo>
                  <a:pt x="1951420" y="4758435"/>
                  <a:pt x="2242284" y="5268854"/>
                  <a:pt x="2664105" y="5694131"/>
                </a:cubicBezTo>
                <a:cubicBezTo>
                  <a:pt x="2771288" y="5801747"/>
                  <a:pt x="2891871" y="5905041"/>
                  <a:pt x="3018935" y="6006174"/>
                </a:cubicBezTo>
                <a:cubicBezTo>
                  <a:pt x="3388459" y="6290989"/>
                  <a:pt x="3863871" y="6561973"/>
                  <a:pt x="4516912" y="6858024"/>
                </a:cubicBezTo>
                <a:lnTo>
                  <a:pt x="4491845" y="6858024"/>
                </a:lnTo>
                <a:cubicBezTo>
                  <a:pt x="3844854" y="6564998"/>
                  <a:pt x="3375061" y="6294446"/>
                  <a:pt x="3008562" y="6010496"/>
                </a:cubicBezTo>
                <a:cubicBezTo>
                  <a:pt x="2878041" y="5911092"/>
                  <a:pt x="2760917" y="5805637"/>
                  <a:pt x="2653732" y="5698453"/>
                </a:cubicBezTo>
                <a:cubicBezTo>
                  <a:pt x="2228887" y="5273176"/>
                  <a:pt x="1937590" y="4761029"/>
                  <a:pt x="1733596" y="4087673"/>
                </a:cubicBezTo>
                <a:cubicBezTo>
                  <a:pt x="1606530" y="3672769"/>
                  <a:pt x="1556397" y="3313617"/>
                  <a:pt x="1576277" y="2993363"/>
                </a:cubicBezTo>
                <a:cubicBezTo>
                  <a:pt x="1593132" y="2698176"/>
                  <a:pt x="1670063" y="2402556"/>
                  <a:pt x="1743537" y="2117741"/>
                </a:cubicBezTo>
                <a:cubicBezTo>
                  <a:pt x="1770332" y="2020499"/>
                  <a:pt x="1793670" y="1919366"/>
                  <a:pt x="1817009" y="1820394"/>
                </a:cubicBezTo>
                <a:cubicBezTo>
                  <a:pt x="1963953" y="1202791"/>
                  <a:pt x="2011063" y="589510"/>
                  <a:pt x="1957472" y="865"/>
                </a:cubicBezTo>
                <a:close/>
                <a:moveTo>
                  <a:pt x="1813983" y="865"/>
                </a:moveTo>
                <a:lnTo>
                  <a:pt x="1827381" y="865"/>
                </a:lnTo>
                <a:cubicBezTo>
                  <a:pt x="1884431" y="601612"/>
                  <a:pt x="1837754" y="1227426"/>
                  <a:pt x="1690376" y="1861452"/>
                </a:cubicBezTo>
                <a:cubicBezTo>
                  <a:pt x="1670063" y="1958695"/>
                  <a:pt x="1643267" y="2057667"/>
                  <a:pt x="1619928" y="2152749"/>
                </a:cubicBezTo>
                <a:cubicBezTo>
                  <a:pt x="1546455" y="2439725"/>
                  <a:pt x="1472983" y="2739234"/>
                  <a:pt x="1456128" y="3034421"/>
                </a:cubicBezTo>
                <a:cubicBezTo>
                  <a:pt x="1439272" y="3358565"/>
                  <a:pt x="1492863" y="3715988"/>
                  <a:pt x="1619928" y="4130892"/>
                </a:cubicBezTo>
                <a:cubicBezTo>
                  <a:pt x="1827381" y="4803816"/>
                  <a:pt x="2125161" y="5314234"/>
                  <a:pt x="2553464" y="5739511"/>
                </a:cubicBezTo>
                <a:cubicBezTo>
                  <a:pt x="2660648" y="5847127"/>
                  <a:pt x="2781230" y="5950421"/>
                  <a:pt x="2911750" y="6051554"/>
                </a:cubicBezTo>
                <a:cubicBezTo>
                  <a:pt x="3259665" y="6319945"/>
                  <a:pt x="3708281" y="6577532"/>
                  <a:pt x="4316807" y="6857592"/>
                </a:cubicBezTo>
                <a:lnTo>
                  <a:pt x="4293901" y="6857592"/>
                </a:lnTo>
                <a:cubicBezTo>
                  <a:pt x="3694452" y="6580125"/>
                  <a:pt x="3246700" y="6324267"/>
                  <a:pt x="2898352" y="6055876"/>
                </a:cubicBezTo>
                <a:cubicBezTo>
                  <a:pt x="2770856" y="5956471"/>
                  <a:pt x="2647250" y="5851017"/>
                  <a:pt x="2540066" y="5743834"/>
                </a:cubicBezTo>
                <a:cubicBezTo>
                  <a:pt x="2111764" y="5318557"/>
                  <a:pt x="1813983" y="4806409"/>
                  <a:pt x="1606530" y="4133053"/>
                </a:cubicBezTo>
                <a:cubicBezTo>
                  <a:pt x="1479466" y="3718149"/>
                  <a:pt x="1425874" y="3358565"/>
                  <a:pt x="1442730" y="3034421"/>
                </a:cubicBezTo>
                <a:cubicBezTo>
                  <a:pt x="1459154" y="2737073"/>
                  <a:pt x="1533058" y="2439725"/>
                  <a:pt x="1606530" y="2150589"/>
                </a:cubicBezTo>
                <a:cubicBezTo>
                  <a:pt x="1630301" y="2055506"/>
                  <a:pt x="1653639" y="1956534"/>
                  <a:pt x="1676978" y="1859291"/>
                </a:cubicBezTo>
                <a:cubicBezTo>
                  <a:pt x="1823923" y="1225697"/>
                  <a:pt x="1867576" y="599883"/>
                  <a:pt x="1813983" y="865"/>
                </a:cubicBezTo>
                <a:close/>
                <a:moveTo>
                  <a:pt x="1519660" y="865"/>
                </a:moveTo>
                <a:lnTo>
                  <a:pt x="1533058" y="865"/>
                </a:lnTo>
                <a:cubicBezTo>
                  <a:pt x="1533058" y="17288"/>
                  <a:pt x="1536516" y="35873"/>
                  <a:pt x="1536516" y="52296"/>
                </a:cubicBezTo>
                <a:cubicBezTo>
                  <a:pt x="1593565" y="657364"/>
                  <a:pt x="1549913" y="1291390"/>
                  <a:pt x="1409451" y="1937950"/>
                </a:cubicBezTo>
                <a:cubicBezTo>
                  <a:pt x="1389138" y="2030871"/>
                  <a:pt x="1365799" y="2125954"/>
                  <a:pt x="1342461" y="2218875"/>
                </a:cubicBezTo>
                <a:cubicBezTo>
                  <a:pt x="1275471" y="2511901"/>
                  <a:pt x="1201999" y="2817893"/>
                  <a:pt x="1188601" y="3121292"/>
                </a:cubicBezTo>
                <a:cubicBezTo>
                  <a:pt x="1178660" y="3447597"/>
                  <a:pt x="1235277" y="3807181"/>
                  <a:pt x="1369256" y="4222085"/>
                </a:cubicBezTo>
                <a:cubicBezTo>
                  <a:pt x="1586651" y="4893280"/>
                  <a:pt x="1891345" y="5405427"/>
                  <a:pt x="2329588" y="5830704"/>
                </a:cubicBezTo>
                <a:cubicBezTo>
                  <a:pt x="2436773" y="5938320"/>
                  <a:pt x="2560380" y="6041613"/>
                  <a:pt x="2690902" y="6140585"/>
                </a:cubicBezTo>
                <a:cubicBezTo>
                  <a:pt x="3009859" y="6381316"/>
                  <a:pt x="3397102" y="6607353"/>
                  <a:pt x="3923512" y="6858024"/>
                </a:cubicBezTo>
                <a:lnTo>
                  <a:pt x="3900606" y="6858024"/>
                </a:lnTo>
                <a:cubicBezTo>
                  <a:pt x="3380248" y="6609946"/>
                  <a:pt x="2996461" y="6385639"/>
                  <a:pt x="2680528" y="6147068"/>
                </a:cubicBezTo>
                <a:cubicBezTo>
                  <a:pt x="2550006" y="6047664"/>
                  <a:pt x="2426399" y="5942210"/>
                  <a:pt x="2315758" y="5835026"/>
                </a:cubicBezTo>
                <a:cubicBezTo>
                  <a:pt x="1877515" y="5409749"/>
                  <a:pt x="1572820" y="4895440"/>
                  <a:pt x="1355426" y="4222085"/>
                </a:cubicBezTo>
                <a:cubicBezTo>
                  <a:pt x="1221447" y="3808910"/>
                  <a:pt x="1161372" y="3447597"/>
                  <a:pt x="1174770" y="3121292"/>
                </a:cubicBezTo>
                <a:cubicBezTo>
                  <a:pt x="1188168" y="2817893"/>
                  <a:pt x="1258617" y="2511901"/>
                  <a:pt x="1329063" y="2216714"/>
                </a:cubicBezTo>
                <a:cubicBezTo>
                  <a:pt x="1352401" y="2125954"/>
                  <a:pt x="1372715" y="2030871"/>
                  <a:pt x="1396053" y="1937950"/>
                </a:cubicBezTo>
                <a:cubicBezTo>
                  <a:pt x="1536516" y="1291390"/>
                  <a:pt x="1580167" y="657364"/>
                  <a:pt x="1523118" y="52296"/>
                </a:cubicBezTo>
                <a:cubicBezTo>
                  <a:pt x="1523118" y="35873"/>
                  <a:pt x="1519660" y="17288"/>
                  <a:pt x="1519660" y="865"/>
                </a:cubicBezTo>
                <a:close/>
                <a:moveTo>
                  <a:pt x="927556" y="865"/>
                </a:moveTo>
                <a:lnTo>
                  <a:pt x="940955" y="865"/>
                </a:lnTo>
                <a:cubicBezTo>
                  <a:pt x="950895" y="58347"/>
                  <a:pt x="957379" y="118421"/>
                  <a:pt x="960836" y="182386"/>
                </a:cubicBezTo>
                <a:cubicBezTo>
                  <a:pt x="1010970" y="785294"/>
                  <a:pt x="970777" y="1429692"/>
                  <a:pt x="843711" y="2092675"/>
                </a:cubicBezTo>
                <a:cubicBezTo>
                  <a:pt x="826856" y="2177384"/>
                  <a:pt x="810000" y="2264255"/>
                  <a:pt x="790119" y="2346804"/>
                </a:cubicBezTo>
                <a:cubicBezTo>
                  <a:pt x="726587" y="2656253"/>
                  <a:pt x="659598" y="2974346"/>
                  <a:pt x="656141" y="3292440"/>
                </a:cubicBezTo>
                <a:cubicBezTo>
                  <a:pt x="652683" y="3624796"/>
                  <a:pt x="723130" y="3988269"/>
                  <a:pt x="863592" y="4401445"/>
                </a:cubicBezTo>
                <a:cubicBezTo>
                  <a:pt x="1097840" y="5072639"/>
                  <a:pt x="1422417" y="5584786"/>
                  <a:pt x="1877515" y="6012225"/>
                </a:cubicBezTo>
                <a:cubicBezTo>
                  <a:pt x="1991181" y="6119841"/>
                  <a:pt x="2118679" y="6223134"/>
                  <a:pt x="2255684" y="6322107"/>
                </a:cubicBezTo>
                <a:cubicBezTo>
                  <a:pt x="2527965" y="6522644"/>
                  <a:pt x="2838710" y="6698979"/>
                  <a:pt x="3150753" y="6858024"/>
                </a:cubicBezTo>
                <a:lnTo>
                  <a:pt x="3127414" y="6858024"/>
                </a:lnTo>
                <a:cubicBezTo>
                  <a:pt x="2819694" y="6700707"/>
                  <a:pt x="2514135" y="6525237"/>
                  <a:pt x="2242284" y="6328590"/>
                </a:cubicBezTo>
                <a:cubicBezTo>
                  <a:pt x="2108737" y="6229185"/>
                  <a:pt x="1981241" y="6123730"/>
                  <a:pt x="1867576" y="6016547"/>
                </a:cubicBezTo>
                <a:cubicBezTo>
                  <a:pt x="1409019" y="5589109"/>
                  <a:pt x="1084443" y="5074800"/>
                  <a:pt x="850194" y="4401445"/>
                </a:cubicBezTo>
                <a:cubicBezTo>
                  <a:pt x="706275" y="3990430"/>
                  <a:pt x="639285" y="3626957"/>
                  <a:pt x="642743" y="3292440"/>
                </a:cubicBezTo>
                <a:cubicBezTo>
                  <a:pt x="646200" y="2974346"/>
                  <a:pt x="713190" y="2654525"/>
                  <a:pt x="776722" y="2344643"/>
                </a:cubicBezTo>
                <a:cubicBezTo>
                  <a:pt x="793577" y="2262094"/>
                  <a:pt x="813457" y="2177384"/>
                  <a:pt x="830313" y="2092675"/>
                </a:cubicBezTo>
                <a:cubicBezTo>
                  <a:pt x="957379" y="1429692"/>
                  <a:pt x="997572" y="785294"/>
                  <a:pt x="947438" y="182386"/>
                </a:cubicBezTo>
                <a:cubicBezTo>
                  <a:pt x="944413" y="118421"/>
                  <a:pt x="937497" y="58779"/>
                  <a:pt x="927556" y="865"/>
                </a:cubicBezTo>
                <a:close/>
                <a:moveTo>
                  <a:pt x="482400" y="865"/>
                </a:moveTo>
                <a:lnTo>
                  <a:pt x="495797" y="865"/>
                </a:lnTo>
                <a:cubicBezTo>
                  <a:pt x="515678" y="98108"/>
                  <a:pt x="522593" y="192758"/>
                  <a:pt x="529076" y="279629"/>
                </a:cubicBezTo>
                <a:cubicBezTo>
                  <a:pt x="575753" y="882536"/>
                  <a:pt x="539016" y="1531258"/>
                  <a:pt x="418434" y="2208502"/>
                </a:cubicBezTo>
                <a:cubicBezTo>
                  <a:pt x="405036" y="2286729"/>
                  <a:pt x="391639" y="2365387"/>
                  <a:pt x="374782" y="2439725"/>
                </a:cubicBezTo>
                <a:cubicBezTo>
                  <a:pt x="314708" y="2762141"/>
                  <a:pt x="254202" y="3092335"/>
                  <a:pt x="257659" y="3420801"/>
                </a:cubicBezTo>
                <a:cubicBezTo>
                  <a:pt x="261117" y="3759207"/>
                  <a:pt x="335022" y="4124842"/>
                  <a:pt x="485424" y="4535856"/>
                </a:cubicBezTo>
                <a:cubicBezTo>
                  <a:pt x="729612" y="5198839"/>
                  <a:pt x="1074502" y="5725249"/>
                  <a:pt x="1542998" y="6148797"/>
                </a:cubicBezTo>
                <a:cubicBezTo>
                  <a:pt x="1660122" y="6256413"/>
                  <a:pt x="1787188" y="6359708"/>
                  <a:pt x="1927651" y="6458678"/>
                </a:cubicBezTo>
                <a:cubicBezTo>
                  <a:pt x="2129916" y="6601302"/>
                  <a:pt x="2350767" y="6733553"/>
                  <a:pt x="2581556" y="6857592"/>
                </a:cubicBezTo>
                <a:lnTo>
                  <a:pt x="2559515" y="6857592"/>
                </a:lnTo>
                <a:cubicBezTo>
                  <a:pt x="2333477" y="6735282"/>
                  <a:pt x="2115653" y="6604760"/>
                  <a:pt x="1914251" y="6462569"/>
                </a:cubicBezTo>
                <a:cubicBezTo>
                  <a:pt x="1777246" y="6365325"/>
                  <a:pt x="1646724" y="6262032"/>
                  <a:pt x="1529600" y="6154848"/>
                </a:cubicBezTo>
                <a:cubicBezTo>
                  <a:pt x="1064561" y="5729571"/>
                  <a:pt x="716215" y="5201000"/>
                  <a:pt x="472026" y="4538018"/>
                </a:cubicBezTo>
                <a:cubicBezTo>
                  <a:pt x="321191" y="4124842"/>
                  <a:pt x="247718" y="3761368"/>
                  <a:pt x="244261" y="3420801"/>
                </a:cubicBezTo>
                <a:cubicBezTo>
                  <a:pt x="240804" y="3092335"/>
                  <a:pt x="301310" y="2759980"/>
                  <a:pt x="361385" y="2439725"/>
                </a:cubicBezTo>
                <a:cubicBezTo>
                  <a:pt x="374782" y="2363227"/>
                  <a:pt x="391639" y="2285000"/>
                  <a:pt x="405036" y="2208502"/>
                </a:cubicBezTo>
                <a:cubicBezTo>
                  <a:pt x="525618" y="1531258"/>
                  <a:pt x="562354" y="882536"/>
                  <a:pt x="515678" y="279629"/>
                </a:cubicBezTo>
                <a:cubicBezTo>
                  <a:pt x="509195" y="192758"/>
                  <a:pt x="499254" y="98108"/>
                  <a:pt x="482400" y="865"/>
                </a:cubicBezTo>
                <a:close/>
                <a:moveTo>
                  <a:pt x="331564" y="865"/>
                </a:moveTo>
                <a:lnTo>
                  <a:pt x="344962" y="865"/>
                </a:lnTo>
                <a:cubicBezTo>
                  <a:pt x="368301" y="108481"/>
                  <a:pt x="378674" y="215664"/>
                  <a:pt x="385156" y="312908"/>
                </a:cubicBezTo>
                <a:cubicBezTo>
                  <a:pt x="431833" y="913655"/>
                  <a:pt x="395096" y="1564104"/>
                  <a:pt x="277973" y="2247832"/>
                </a:cubicBezTo>
                <a:cubicBezTo>
                  <a:pt x="264575" y="2322169"/>
                  <a:pt x="251175" y="2398667"/>
                  <a:pt x="237778" y="2470843"/>
                </a:cubicBezTo>
                <a:cubicBezTo>
                  <a:pt x="177703" y="2794987"/>
                  <a:pt x="117628" y="3131665"/>
                  <a:pt x="124111" y="3464020"/>
                </a:cubicBezTo>
                <a:cubicBezTo>
                  <a:pt x="131026" y="3804588"/>
                  <a:pt x="207957" y="4170222"/>
                  <a:pt x="361817" y="4579076"/>
                </a:cubicBezTo>
                <a:cubicBezTo>
                  <a:pt x="609463" y="5244219"/>
                  <a:pt x="957379" y="5770629"/>
                  <a:pt x="1429331" y="6194177"/>
                </a:cubicBezTo>
                <a:cubicBezTo>
                  <a:pt x="1546455" y="6301793"/>
                  <a:pt x="1676978" y="6405087"/>
                  <a:pt x="1817441" y="6504059"/>
                </a:cubicBezTo>
                <a:cubicBezTo>
                  <a:pt x="1996801" y="6628962"/>
                  <a:pt x="2191720" y="6746520"/>
                  <a:pt x="2394850" y="6857592"/>
                </a:cubicBezTo>
                <a:lnTo>
                  <a:pt x="2373240" y="6857592"/>
                </a:lnTo>
                <a:cubicBezTo>
                  <a:pt x="2173136" y="6748248"/>
                  <a:pt x="1983402" y="6632420"/>
                  <a:pt x="1807501" y="6507949"/>
                </a:cubicBezTo>
                <a:cubicBezTo>
                  <a:pt x="1667037" y="6410705"/>
                  <a:pt x="1536516" y="6307412"/>
                  <a:pt x="1415933" y="6200228"/>
                </a:cubicBezTo>
                <a:cubicBezTo>
                  <a:pt x="947438" y="5774951"/>
                  <a:pt x="596065" y="5246380"/>
                  <a:pt x="348419" y="4581237"/>
                </a:cubicBezTo>
                <a:cubicBezTo>
                  <a:pt x="194559" y="4170222"/>
                  <a:pt x="117197" y="3804588"/>
                  <a:pt x="110713" y="3464020"/>
                </a:cubicBezTo>
                <a:cubicBezTo>
                  <a:pt x="103798" y="3131665"/>
                  <a:pt x="164305" y="2794987"/>
                  <a:pt x="224380" y="2470843"/>
                </a:cubicBezTo>
                <a:cubicBezTo>
                  <a:pt x="237778" y="2396505"/>
                  <a:pt x="251175" y="2322169"/>
                  <a:pt x="264575" y="2247832"/>
                </a:cubicBezTo>
                <a:cubicBezTo>
                  <a:pt x="378240" y="1564536"/>
                  <a:pt x="415409" y="913655"/>
                  <a:pt x="371757" y="312908"/>
                </a:cubicBezTo>
                <a:cubicBezTo>
                  <a:pt x="364842" y="215664"/>
                  <a:pt x="354903" y="108048"/>
                  <a:pt x="331564" y="865"/>
                </a:cubicBezTo>
                <a:close/>
                <a:moveTo>
                  <a:pt x="177272" y="865"/>
                </a:moveTo>
                <a:lnTo>
                  <a:pt x="194126" y="865"/>
                </a:lnTo>
                <a:cubicBezTo>
                  <a:pt x="224380" y="118421"/>
                  <a:pt x="234320" y="238571"/>
                  <a:pt x="241235" y="343594"/>
                </a:cubicBezTo>
                <a:cubicBezTo>
                  <a:pt x="284887" y="944340"/>
                  <a:pt x="251175" y="1599111"/>
                  <a:pt x="137509" y="2286729"/>
                </a:cubicBezTo>
                <a:cubicBezTo>
                  <a:pt x="124111" y="2358905"/>
                  <a:pt x="110713" y="2431513"/>
                  <a:pt x="100773" y="2501528"/>
                </a:cubicBezTo>
                <a:cubicBezTo>
                  <a:pt x="72248" y="2665761"/>
                  <a:pt x="42967" y="2833020"/>
                  <a:pt x="21628" y="3001305"/>
                </a:cubicBezTo>
                <a:lnTo>
                  <a:pt x="0" y="3220433"/>
                </a:lnTo>
                <a:lnTo>
                  <a:pt x="0" y="3069197"/>
                </a:lnTo>
                <a:lnTo>
                  <a:pt x="6448" y="3000440"/>
                </a:lnTo>
                <a:cubicBezTo>
                  <a:pt x="26869" y="2832156"/>
                  <a:pt x="55177" y="2664897"/>
                  <a:pt x="83485" y="2499800"/>
                </a:cubicBezTo>
                <a:cubicBezTo>
                  <a:pt x="96883" y="2429353"/>
                  <a:pt x="110281" y="2357177"/>
                  <a:pt x="120222" y="2285000"/>
                </a:cubicBezTo>
                <a:cubicBezTo>
                  <a:pt x="233888" y="1599111"/>
                  <a:pt x="271057" y="944340"/>
                  <a:pt x="227406" y="343594"/>
                </a:cubicBezTo>
                <a:cubicBezTo>
                  <a:pt x="220923" y="238571"/>
                  <a:pt x="210550" y="118421"/>
                  <a:pt x="177272" y="865"/>
                </a:cubicBezTo>
                <a:close/>
                <a:moveTo>
                  <a:pt x="26870" y="865"/>
                </a:moveTo>
                <a:lnTo>
                  <a:pt x="39834" y="865"/>
                </a:lnTo>
                <a:cubicBezTo>
                  <a:pt x="77002" y="129226"/>
                  <a:pt x="90401" y="261045"/>
                  <a:pt x="96883" y="376872"/>
                </a:cubicBezTo>
                <a:cubicBezTo>
                  <a:pt x="129621" y="826136"/>
                  <a:pt x="117142" y="1307976"/>
                  <a:pt x="62180" y="1813458"/>
                </a:cubicBezTo>
                <a:lnTo>
                  <a:pt x="0" y="2275627"/>
                </a:lnTo>
                <a:lnTo>
                  <a:pt x="0" y="2177011"/>
                </a:lnTo>
                <a:lnTo>
                  <a:pt x="49031" y="1812364"/>
                </a:lnTo>
                <a:cubicBezTo>
                  <a:pt x="103933" y="1307733"/>
                  <a:pt x="116656" y="826136"/>
                  <a:pt x="83918" y="376872"/>
                </a:cubicBezTo>
                <a:cubicBezTo>
                  <a:pt x="77002" y="261045"/>
                  <a:pt x="63604" y="128794"/>
                  <a:pt x="26870" y="865"/>
                </a:cubicBezTo>
                <a:close/>
                <a:moveTo>
                  <a:pt x="4005629" y="433"/>
                </a:moveTo>
                <a:lnTo>
                  <a:pt x="4019027" y="433"/>
                </a:lnTo>
                <a:cubicBezTo>
                  <a:pt x="4019027" y="427871"/>
                  <a:pt x="3952037" y="857469"/>
                  <a:pt x="3811575" y="1278857"/>
                </a:cubicBezTo>
                <a:cubicBezTo>
                  <a:pt x="3771381" y="1398574"/>
                  <a:pt x="3728163" y="1518292"/>
                  <a:pt x="3684510" y="1634119"/>
                </a:cubicBezTo>
                <a:cubicBezTo>
                  <a:pt x="3590725" y="1880037"/>
                  <a:pt x="3497371" y="2135894"/>
                  <a:pt x="3453720" y="2392184"/>
                </a:cubicBezTo>
                <a:cubicBezTo>
                  <a:pt x="3403587" y="2696014"/>
                  <a:pt x="3420441" y="3026210"/>
                  <a:pt x="3510769" y="3457970"/>
                </a:cubicBezTo>
                <a:cubicBezTo>
                  <a:pt x="3651231" y="4141265"/>
                  <a:pt x="3875539" y="4632667"/>
                  <a:pt x="4236852" y="5056216"/>
                </a:cubicBezTo>
                <a:cubicBezTo>
                  <a:pt x="4330638" y="5163400"/>
                  <a:pt x="4434363" y="5271016"/>
                  <a:pt x="4551488" y="5372149"/>
                </a:cubicBezTo>
                <a:cubicBezTo>
                  <a:pt x="4905886" y="5688081"/>
                  <a:pt x="5387779" y="5987589"/>
                  <a:pt x="5980314" y="6258142"/>
                </a:cubicBezTo>
                <a:cubicBezTo>
                  <a:pt x="6124234" y="6326428"/>
                  <a:pt x="6271611" y="6390393"/>
                  <a:pt x="6422015" y="6447010"/>
                </a:cubicBezTo>
                <a:cubicBezTo>
                  <a:pt x="6815309" y="6605192"/>
                  <a:pt x="7230213" y="6742197"/>
                  <a:pt x="7663269" y="6856728"/>
                </a:cubicBezTo>
                <a:lnTo>
                  <a:pt x="7626102" y="6856728"/>
                </a:lnTo>
                <a:cubicBezTo>
                  <a:pt x="7206443" y="6743925"/>
                  <a:pt x="6799319" y="6607785"/>
                  <a:pt x="6415531" y="6455654"/>
                </a:cubicBezTo>
                <a:cubicBezTo>
                  <a:pt x="6264696" y="6395579"/>
                  <a:pt x="6114294" y="6331615"/>
                  <a:pt x="5970373" y="6265489"/>
                </a:cubicBezTo>
                <a:cubicBezTo>
                  <a:pt x="5378271" y="5993208"/>
                  <a:pt x="4896376" y="5693699"/>
                  <a:pt x="4538090" y="5375605"/>
                </a:cubicBezTo>
                <a:cubicBezTo>
                  <a:pt x="4424423" y="5274473"/>
                  <a:pt x="4317239" y="5166857"/>
                  <a:pt x="4223454" y="5059673"/>
                </a:cubicBezTo>
                <a:cubicBezTo>
                  <a:pt x="3862141" y="4636558"/>
                  <a:pt x="3637833" y="4142994"/>
                  <a:pt x="3497371" y="3459266"/>
                </a:cubicBezTo>
                <a:cubicBezTo>
                  <a:pt x="3407043" y="3025778"/>
                  <a:pt x="3390188" y="2695150"/>
                  <a:pt x="3440323" y="2391752"/>
                </a:cubicBezTo>
                <a:cubicBezTo>
                  <a:pt x="3483541" y="2133734"/>
                  <a:pt x="3577327" y="1877875"/>
                  <a:pt x="3671113" y="1631957"/>
                </a:cubicBezTo>
                <a:cubicBezTo>
                  <a:pt x="3714332" y="1516131"/>
                  <a:pt x="3757983" y="1396413"/>
                  <a:pt x="3798177" y="1276696"/>
                </a:cubicBezTo>
                <a:cubicBezTo>
                  <a:pt x="3935182" y="855309"/>
                  <a:pt x="4005629" y="427871"/>
                  <a:pt x="4005629" y="433"/>
                </a:cubicBezTo>
                <a:close/>
                <a:moveTo>
                  <a:pt x="1372282" y="433"/>
                </a:moveTo>
                <a:lnTo>
                  <a:pt x="1385681" y="433"/>
                </a:lnTo>
                <a:cubicBezTo>
                  <a:pt x="1388705" y="29390"/>
                  <a:pt x="1392163" y="56185"/>
                  <a:pt x="1392163" y="85142"/>
                </a:cubicBezTo>
                <a:cubicBezTo>
                  <a:pt x="1449213" y="690212"/>
                  <a:pt x="1405561" y="1326398"/>
                  <a:pt x="1268556" y="1976847"/>
                </a:cubicBezTo>
                <a:cubicBezTo>
                  <a:pt x="1248676" y="2068040"/>
                  <a:pt x="1224905" y="2160961"/>
                  <a:pt x="1205024" y="2251722"/>
                </a:cubicBezTo>
                <a:cubicBezTo>
                  <a:pt x="1138035" y="2549069"/>
                  <a:pt x="1067586" y="2856790"/>
                  <a:pt x="1057646" y="3164511"/>
                </a:cubicBezTo>
                <a:cubicBezTo>
                  <a:pt x="1047707" y="3492977"/>
                  <a:pt x="1107781" y="3852129"/>
                  <a:pt x="1241760" y="4265304"/>
                </a:cubicBezTo>
                <a:cubicBezTo>
                  <a:pt x="1462611" y="4938660"/>
                  <a:pt x="1773790" y="5450807"/>
                  <a:pt x="2215489" y="5876084"/>
                </a:cubicBezTo>
                <a:cubicBezTo>
                  <a:pt x="2326131" y="5983700"/>
                  <a:pt x="2449738" y="6086993"/>
                  <a:pt x="2583717" y="6185966"/>
                </a:cubicBezTo>
                <a:cubicBezTo>
                  <a:pt x="2932929" y="6448307"/>
                  <a:pt x="3348266" y="6672614"/>
                  <a:pt x="3730323" y="6858024"/>
                </a:cubicBezTo>
                <a:lnTo>
                  <a:pt x="3705687" y="6858024"/>
                </a:lnTo>
                <a:cubicBezTo>
                  <a:pt x="3326224" y="6674774"/>
                  <a:pt x="2918666" y="6452629"/>
                  <a:pt x="2570320" y="6192449"/>
                </a:cubicBezTo>
                <a:cubicBezTo>
                  <a:pt x="2439797" y="6093044"/>
                  <a:pt x="2315758" y="5987589"/>
                  <a:pt x="2202091" y="5880407"/>
                </a:cubicBezTo>
                <a:cubicBezTo>
                  <a:pt x="1760392" y="5452968"/>
                  <a:pt x="1449213" y="4940821"/>
                  <a:pt x="1228362" y="4267466"/>
                </a:cubicBezTo>
                <a:cubicBezTo>
                  <a:pt x="1094384" y="3854289"/>
                  <a:pt x="1030850" y="3492977"/>
                  <a:pt x="1040791" y="3164511"/>
                </a:cubicBezTo>
                <a:cubicBezTo>
                  <a:pt x="1051163" y="2856790"/>
                  <a:pt x="1124636" y="2547341"/>
                  <a:pt x="1191627" y="2249561"/>
                </a:cubicBezTo>
                <a:cubicBezTo>
                  <a:pt x="1211507" y="2160529"/>
                  <a:pt x="1234846" y="2067608"/>
                  <a:pt x="1251701" y="1974686"/>
                </a:cubicBezTo>
                <a:cubicBezTo>
                  <a:pt x="1392163" y="1326398"/>
                  <a:pt x="1432357" y="690212"/>
                  <a:pt x="1378765" y="85142"/>
                </a:cubicBezTo>
                <a:cubicBezTo>
                  <a:pt x="1375740" y="56185"/>
                  <a:pt x="1375740" y="29390"/>
                  <a:pt x="1372282" y="433"/>
                </a:cubicBezTo>
                <a:close/>
                <a:moveTo>
                  <a:pt x="1225337" y="433"/>
                </a:moveTo>
                <a:lnTo>
                  <a:pt x="1238734" y="433"/>
                </a:lnTo>
                <a:cubicBezTo>
                  <a:pt x="1242193" y="39762"/>
                  <a:pt x="1245218" y="79091"/>
                  <a:pt x="1248676" y="116260"/>
                </a:cubicBezTo>
                <a:cubicBezTo>
                  <a:pt x="1302267" y="721330"/>
                  <a:pt x="1262074" y="1361405"/>
                  <a:pt x="1125069" y="2016176"/>
                </a:cubicBezTo>
                <a:cubicBezTo>
                  <a:pt x="1108213" y="2104776"/>
                  <a:pt x="1087900" y="2195536"/>
                  <a:pt x="1068020" y="2282407"/>
                </a:cubicBezTo>
                <a:cubicBezTo>
                  <a:pt x="1001030" y="2584077"/>
                  <a:pt x="930581" y="2895687"/>
                  <a:pt x="924099" y="3207730"/>
                </a:cubicBezTo>
                <a:cubicBezTo>
                  <a:pt x="914159" y="3536196"/>
                  <a:pt x="977691" y="3897509"/>
                  <a:pt x="1118153" y="4310684"/>
                </a:cubicBezTo>
                <a:cubicBezTo>
                  <a:pt x="1342029" y="4984040"/>
                  <a:pt x="1656665" y="5494027"/>
                  <a:pt x="2101823" y="5921465"/>
                </a:cubicBezTo>
                <a:cubicBezTo>
                  <a:pt x="2215489" y="6029081"/>
                  <a:pt x="2339096" y="6132374"/>
                  <a:pt x="2473076" y="6231346"/>
                </a:cubicBezTo>
                <a:cubicBezTo>
                  <a:pt x="2797651" y="6471212"/>
                  <a:pt x="3177981" y="6680826"/>
                  <a:pt x="3536701" y="6857592"/>
                </a:cubicBezTo>
                <a:lnTo>
                  <a:pt x="3511634" y="6857592"/>
                </a:lnTo>
                <a:cubicBezTo>
                  <a:pt x="3155507" y="6682554"/>
                  <a:pt x="2781230" y="6475103"/>
                  <a:pt x="2463136" y="6237397"/>
                </a:cubicBezTo>
                <a:cubicBezTo>
                  <a:pt x="2329588" y="6137993"/>
                  <a:pt x="2202524" y="6032537"/>
                  <a:pt x="2091882" y="5925354"/>
                </a:cubicBezTo>
                <a:cubicBezTo>
                  <a:pt x="1643267" y="5497916"/>
                  <a:pt x="1329063" y="4985769"/>
                  <a:pt x="1101298" y="4312414"/>
                </a:cubicBezTo>
                <a:cubicBezTo>
                  <a:pt x="964293" y="3899238"/>
                  <a:pt x="900761" y="3536196"/>
                  <a:pt x="910701" y="3205569"/>
                </a:cubicBezTo>
                <a:cubicBezTo>
                  <a:pt x="917616" y="2895687"/>
                  <a:pt x="987631" y="2584077"/>
                  <a:pt x="1054621" y="2282407"/>
                </a:cubicBezTo>
                <a:cubicBezTo>
                  <a:pt x="1074934" y="2193807"/>
                  <a:pt x="1094815" y="2102616"/>
                  <a:pt x="1111671" y="2014016"/>
                </a:cubicBezTo>
                <a:cubicBezTo>
                  <a:pt x="1245218" y="1359677"/>
                  <a:pt x="1288869" y="721330"/>
                  <a:pt x="1235277" y="116260"/>
                </a:cubicBezTo>
                <a:cubicBezTo>
                  <a:pt x="1231819" y="79091"/>
                  <a:pt x="1228794" y="39762"/>
                  <a:pt x="1225337" y="433"/>
                </a:cubicBezTo>
                <a:close/>
                <a:moveTo>
                  <a:pt x="1074069" y="433"/>
                </a:moveTo>
                <a:lnTo>
                  <a:pt x="1090925" y="433"/>
                </a:lnTo>
                <a:cubicBezTo>
                  <a:pt x="1097840" y="47974"/>
                  <a:pt x="1100866" y="97676"/>
                  <a:pt x="1104323" y="149107"/>
                </a:cubicBezTo>
                <a:cubicBezTo>
                  <a:pt x="1157916" y="754176"/>
                  <a:pt x="1117721" y="1394685"/>
                  <a:pt x="983741" y="2053345"/>
                </a:cubicBezTo>
                <a:cubicBezTo>
                  <a:pt x="966887" y="2142376"/>
                  <a:pt x="947006" y="2228815"/>
                  <a:pt x="930150" y="2315686"/>
                </a:cubicBezTo>
                <a:cubicBezTo>
                  <a:pt x="863160" y="2619518"/>
                  <a:pt x="796170" y="2935449"/>
                  <a:pt x="789687" y="3249221"/>
                </a:cubicBezTo>
                <a:cubicBezTo>
                  <a:pt x="783204" y="3581576"/>
                  <a:pt x="850194" y="3942889"/>
                  <a:pt x="990657" y="4356065"/>
                </a:cubicBezTo>
                <a:cubicBezTo>
                  <a:pt x="1221880" y="5027259"/>
                  <a:pt x="1539540" y="5539406"/>
                  <a:pt x="1991614" y="5966845"/>
                </a:cubicBezTo>
                <a:cubicBezTo>
                  <a:pt x="2105282" y="6074461"/>
                  <a:pt x="2228887" y="6177754"/>
                  <a:pt x="2362867" y="6276726"/>
                </a:cubicBezTo>
                <a:cubicBezTo>
                  <a:pt x="2662808" y="6496280"/>
                  <a:pt x="3004672" y="6688605"/>
                  <a:pt x="3342214" y="6858024"/>
                </a:cubicBezTo>
                <a:lnTo>
                  <a:pt x="3320605" y="6858024"/>
                </a:lnTo>
                <a:cubicBezTo>
                  <a:pt x="2985657" y="6690766"/>
                  <a:pt x="2649843" y="6500602"/>
                  <a:pt x="2352927" y="6283209"/>
                </a:cubicBezTo>
                <a:cubicBezTo>
                  <a:pt x="2219381" y="6183805"/>
                  <a:pt x="2091882" y="6078350"/>
                  <a:pt x="1978216" y="5971166"/>
                </a:cubicBezTo>
                <a:cubicBezTo>
                  <a:pt x="1526575" y="5543729"/>
                  <a:pt x="1208483" y="5031581"/>
                  <a:pt x="977691" y="4358225"/>
                </a:cubicBezTo>
                <a:cubicBezTo>
                  <a:pt x="836797" y="3945050"/>
                  <a:pt x="770240" y="3581576"/>
                  <a:pt x="776722" y="3249221"/>
                </a:cubicBezTo>
                <a:cubicBezTo>
                  <a:pt x="783204" y="2935449"/>
                  <a:pt x="850194" y="2619518"/>
                  <a:pt x="913294" y="2313525"/>
                </a:cubicBezTo>
                <a:cubicBezTo>
                  <a:pt x="933608" y="2228815"/>
                  <a:pt x="953489" y="2140216"/>
                  <a:pt x="970344" y="2053345"/>
                </a:cubicBezTo>
                <a:cubicBezTo>
                  <a:pt x="1100866" y="1394253"/>
                  <a:pt x="1141060" y="754176"/>
                  <a:pt x="1090925" y="149107"/>
                </a:cubicBezTo>
                <a:cubicBezTo>
                  <a:pt x="1087468" y="97676"/>
                  <a:pt x="1080552" y="47974"/>
                  <a:pt x="1074069" y="433"/>
                </a:cubicBezTo>
                <a:close/>
                <a:moveTo>
                  <a:pt x="780179" y="433"/>
                </a:moveTo>
                <a:lnTo>
                  <a:pt x="793577" y="433"/>
                </a:lnTo>
                <a:cubicBezTo>
                  <a:pt x="806974" y="74770"/>
                  <a:pt x="813457" y="146946"/>
                  <a:pt x="816915" y="213072"/>
                </a:cubicBezTo>
                <a:cubicBezTo>
                  <a:pt x="867049" y="818140"/>
                  <a:pt x="826856" y="1462539"/>
                  <a:pt x="703249" y="2131572"/>
                </a:cubicBezTo>
                <a:cubicBezTo>
                  <a:pt x="686393" y="2214553"/>
                  <a:pt x="669970" y="2297102"/>
                  <a:pt x="653115" y="2377489"/>
                </a:cubicBezTo>
                <a:cubicBezTo>
                  <a:pt x="589583" y="2691261"/>
                  <a:pt x="526050" y="3013676"/>
                  <a:pt x="522593" y="3335659"/>
                </a:cubicBezTo>
                <a:cubicBezTo>
                  <a:pt x="522593" y="3670175"/>
                  <a:pt x="592609" y="4033650"/>
                  <a:pt x="739985" y="4444664"/>
                </a:cubicBezTo>
                <a:cubicBezTo>
                  <a:pt x="977691" y="5118019"/>
                  <a:pt x="1305292" y="5630167"/>
                  <a:pt x="1767306" y="6057605"/>
                </a:cubicBezTo>
                <a:cubicBezTo>
                  <a:pt x="1880974" y="6165220"/>
                  <a:pt x="2008470" y="6268515"/>
                  <a:pt x="2145475" y="6367487"/>
                </a:cubicBezTo>
                <a:cubicBezTo>
                  <a:pt x="2395282" y="6546846"/>
                  <a:pt x="2675774" y="6709783"/>
                  <a:pt x="2960590" y="6857160"/>
                </a:cubicBezTo>
                <a:lnTo>
                  <a:pt x="2936818" y="6857160"/>
                </a:lnTo>
                <a:cubicBezTo>
                  <a:pt x="2655894" y="6711079"/>
                  <a:pt x="2379290" y="6550304"/>
                  <a:pt x="2135535" y="6373105"/>
                </a:cubicBezTo>
                <a:cubicBezTo>
                  <a:pt x="1998098" y="6273700"/>
                  <a:pt x="1871033" y="6168678"/>
                  <a:pt x="1753909" y="6063223"/>
                </a:cubicBezTo>
                <a:cubicBezTo>
                  <a:pt x="1292327" y="5634057"/>
                  <a:pt x="964293" y="5119748"/>
                  <a:pt x="726587" y="4446393"/>
                </a:cubicBezTo>
                <a:cubicBezTo>
                  <a:pt x="579642" y="4033218"/>
                  <a:pt x="509195" y="3669743"/>
                  <a:pt x="509195" y="3335227"/>
                </a:cubicBezTo>
                <a:cubicBezTo>
                  <a:pt x="512652" y="3013243"/>
                  <a:pt x="576185" y="2689099"/>
                  <a:pt x="639717" y="2377057"/>
                </a:cubicBezTo>
                <a:cubicBezTo>
                  <a:pt x="656141" y="2296670"/>
                  <a:pt x="672995" y="2211960"/>
                  <a:pt x="686393" y="2129411"/>
                </a:cubicBezTo>
                <a:cubicBezTo>
                  <a:pt x="813457" y="1462539"/>
                  <a:pt x="853652" y="818140"/>
                  <a:pt x="803517" y="215232"/>
                </a:cubicBezTo>
                <a:cubicBezTo>
                  <a:pt x="797035" y="146946"/>
                  <a:pt x="790119" y="74770"/>
                  <a:pt x="780179" y="433"/>
                </a:cubicBezTo>
                <a:close/>
                <a:moveTo>
                  <a:pt x="628912" y="433"/>
                </a:moveTo>
                <a:lnTo>
                  <a:pt x="645768" y="433"/>
                </a:lnTo>
                <a:cubicBezTo>
                  <a:pt x="659165" y="85142"/>
                  <a:pt x="669106" y="169852"/>
                  <a:pt x="672563" y="246350"/>
                </a:cubicBezTo>
                <a:cubicBezTo>
                  <a:pt x="719672" y="849258"/>
                  <a:pt x="682504" y="1497546"/>
                  <a:pt x="558897" y="2170901"/>
                </a:cubicBezTo>
                <a:cubicBezTo>
                  <a:pt x="545499" y="2249128"/>
                  <a:pt x="528644" y="2329516"/>
                  <a:pt x="515245" y="2408175"/>
                </a:cubicBezTo>
                <a:cubicBezTo>
                  <a:pt x="451713" y="2726268"/>
                  <a:pt x="388180" y="3052574"/>
                  <a:pt x="391639" y="3378879"/>
                </a:cubicBezTo>
                <a:cubicBezTo>
                  <a:pt x="391639" y="3715556"/>
                  <a:pt x="465112" y="4079029"/>
                  <a:pt x="612488" y="4490044"/>
                </a:cubicBezTo>
                <a:cubicBezTo>
                  <a:pt x="856678" y="5163400"/>
                  <a:pt x="1188168" y="5675547"/>
                  <a:pt x="1653207" y="6102985"/>
                </a:cubicBezTo>
                <a:cubicBezTo>
                  <a:pt x="1770332" y="6210601"/>
                  <a:pt x="1897829" y="6313895"/>
                  <a:pt x="2034834" y="6412867"/>
                </a:cubicBezTo>
                <a:cubicBezTo>
                  <a:pt x="2262167" y="6574938"/>
                  <a:pt x="2510676" y="6721884"/>
                  <a:pt x="2768696" y="6857592"/>
                </a:cubicBezTo>
                <a:lnTo>
                  <a:pt x="2748382" y="6857592"/>
                </a:lnTo>
                <a:cubicBezTo>
                  <a:pt x="2493821" y="6724045"/>
                  <a:pt x="2248768" y="6578828"/>
                  <a:pt x="2024893" y="6419349"/>
                </a:cubicBezTo>
                <a:cubicBezTo>
                  <a:pt x="1887456" y="6319945"/>
                  <a:pt x="1756935" y="6214923"/>
                  <a:pt x="1643267" y="6109468"/>
                </a:cubicBezTo>
                <a:cubicBezTo>
                  <a:pt x="1174770" y="5679869"/>
                  <a:pt x="843711" y="5165560"/>
                  <a:pt x="599091" y="4492205"/>
                </a:cubicBezTo>
                <a:cubicBezTo>
                  <a:pt x="451713" y="4079461"/>
                  <a:pt x="378240" y="3715988"/>
                  <a:pt x="374782" y="3379311"/>
                </a:cubicBezTo>
                <a:cubicBezTo>
                  <a:pt x="374782" y="3053006"/>
                  <a:pt x="438315" y="2724540"/>
                  <a:pt x="501847" y="2408607"/>
                </a:cubicBezTo>
                <a:cubicBezTo>
                  <a:pt x="515245" y="2330380"/>
                  <a:pt x="532101" y="2249561"/>
                  <a:pt x="545499" y="2169173"/>
                </a:cubicBezTo>
                <a:cubicBezTo>
                  <a:pt x="669106" y="1497978"/>
                  <a:pt x="705841" y="849258"/>
                  <a:pt x="659165" y="246350"/>
                </a:cubicBezTo>
                <a:cubicBezTo>
                  <a:pt x="652251" y="169852"/>
                  <a:pt x="645768" y="85142"/>
                  <a:pt x="628912" y="433"/>
                </a:cubicBezTo>
                <a:close/>
                <a:moveTo>
                  <a:pt x="4150413" y="0"/>
                </a:moveTo>
                <a:lnTo>
                  <a:pt x="4163811" y="0"/>
                </a:lnTo>
                <a:cubicBezTo>
                  <a:pt x="4160354" y="414905"/>
                  <a:pt x="4089906" y="830242"/>
                  <a:pt x="3952901" y="1239096"/>
                </a:cubicBezTo>
                <a:cubicBezTo>
                  <a:pt x="3912708" y="1359244"/>
                  <a:pt x="3866031" y="1480691"/>
                  <a:pt x="3822380" y="1596518"/>
                </a:cubicBezTo>
                <a:cubicBezTo>
                  <a:pt x="3728595" y="1842004"/>
                  <a:pt x="3631783" y="2093971"/>
                  <a:pt x="3588131" y="2348100"/>
                </a:cubicBezTo>
                <a:cubicBezTo>
                  <a:pt x="3534540" y="2651932"/>
                  <a:pt x="3551395" y="2980397"/>
                  <a:pt x="3638265" y="3413886"/>
                </a:cubicBezTo>
                <a:cubicBezTo>
                  <a:pt x="3771814" y="4095452"/>
                  <a:pt x="3992663" y="4589016"/>
                  <a:pt x="4350951" y="5010403"/>
                </a:cubicBezTo>
                <a:cubicBezTo>
                  <a:pt x="4441278" y="5117587"/>
                  <a:pt x="4545005" y="5225203"/>
                  <a:pt x="4658670" y="5326336"/>
                </a:cubicBezTo>
                <a:cubicBezTo>
                  <a:pt x="5016958" y="5644429"/>
                  <a:pt x="5495395" y="5943938"/>
                  <a:pt x="6081015" y="6214491"/>
                </a:cubicBezTo>
                <a:cubicBezTo>
                  <a:pt x="6224935" y="6280616"/>
                  <a:pt x="6372312" y="6344581"/>
                  <a:pt x="6522715" y="6404654"/>
                </a:cubicBezTo>
                <a:cubicBezTo>
                  <a:pt x="6931137" y="6568024"/>
                  <a:pt x="7369379" y="6708486"/>
                  <a:pt x="7824477" y="6826042"/>
                </a:cubicBezTo>
                <a:cubicBezTo>
                  <a:pt x="7865969" y="6836847"/>
                  <a:pt x="7908323" y="6847220"/>
                  <a:pt x="7951543" y="6857160"/>
                </a:cubicBezTo>
                <a:lnTo>
                  <a:pt x="7910051" y="6857160"/>
                </a:lnTo>
                <a:cubicBezTo>
                  <a:pt x="7878934" y="6849381"/>
                  <a:pt x="7848248" y="6841601"/>
                  <a:pt x="7817994" y="6833822"/>
                </a:cubicBezTo>
                <a:cubicBezTo>
                  <a:pt x="7362897" y="6715833"/>
                  <a:pt x="6924654" y="6573210"/>
                  <a:pt x="6516232" y="6410273"/>
                </a:cubicBezTo>
                <a:cubicBezTo>
                  <a:pt x="6365397" y="6350198"/>
                  <a:pt x="6218452" y="6288395"/>
                  <a:pt x="6071074" y="6220110"/>
                </a:cubicBezTo>
                <a:cubicBezTo>
                  <a:pt x="5485455" y="5949557"/>
                  <a:pt x="5007019" y="5650480"/>
                  <a:pt x="4648731" y="5330225"/>
                </a:cubicBezTo>
                <a:cubicBezTo>
                  <a:pt x="4535064" y="5229092"/>
                  <a:pt x="4427881" y="5121477"/>
                  <a:pt x="4337553" y="5014293"/>
                </a:cubicBezTo>
                <a:cubicBezTo>
                  <a:pt x="3979698" y="4591177"/>
                  <a:pt x="3758416" y="4097614"/>
                  <a:pt x="3621411" y="3413886"/>
                </a:cubicBezTo>
                <a:cubicBezTo>
                  <a:pt x="3534540" y="2979965"/>
                  <a:pt x="3521142" y="2651500"/>
                  <a:pt x="3574733" y="2348100"/>
                </a:cubicBezTo>
                <a:cubicBezTo>
                  <a:pt x="3618386" y="2092242"/>
                  <a:pt x="3715197" y="1840274"/>
                  <a:pt x="3808982" y="1594358"/>
                </a:cubicBezTo>
                <a:cubicBezTo>
                  <a:pt x="3852633" y="1478530"/>
                  <a:pt x="3899309" y="1356652"/>
                  <a:pt x="3939503" y="1239096"/>
                </a:cubicBezTo>
                <a:cubicBezTo>
                  <a:pt x="4076940" y="830242"/>
                  <a:pt x="4146956" y="414905"/>
                  <a:pt x="4150413" y="0"/>
                </a:cubicBezTo>
                <a:close/>
              </a:path>
            </a:pathLst>
          </a:custGeom>
          <a:gradFill>
            <a:gsLst>
              <a:gs pos="100000">
                <a:srgbClr val="28246F">
                  <a:alpha val="0"/>
                </a:srgbClr>
              </a:gs>
              <a:gs pos="44000">
                <a:srgbClr val="52BE6F">
                  <a:alpha val="25000"/>
                </a:srgbClr>
              </a:gs>
              <a:gs pos="0">
                <a:srgbClr val="3BCCFF">
                  <a:alpha val="0"/>
                </a:srgbClr>
              </a:gs>
              <a:gs pos="73000">
                <a:srgbClr val="F69F0C"/>
              </a:gs>
            </a:gsLst>
            <a:lin ang="3000000" scaled="0"/>
          </a:gra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B2E4CC6-7EEA-437A-A31E-412B3CF78E06}"/>
              </a:ext>
            </a:extLst>
          </p:cNvPr>
          <p:cNvSpPr/>
          <p:nvPr userDrawn="1"/>
        </p:nvSpPr>
        <p:spPr>
          <a:xfrm>
            <a:off x="0" y="-445"/>
            <a:ext cx="10694504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7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5F8D570-CED1-4E56-B5C1-8BA17EBFFC5B}"/>
              </a:ext>
            </a:extLst>
          </p:cNvPr>
          <p:cNvSpPr/>
          <p:nvPr userDrawn="1"/>
        </p:nvSpPr>
        <p:spPr>
          <a:xfrm>
            <a:off x="0" y="0"/>
            <a:ext cx="10694504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7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B35BDF-1297-984E-B173-15E722BAFBA5}"/>
              </a:ext>
            </a:extLst>
          </p:cNvPr>
          <p:cNvCxnSpPr>
            <a:cxnSpLocks/>
          </p:cNvCxnSpPr>
          <p:nvPr userDrawn="1"/>
        </p:nvCxnSpPr>
        <p:spPr>
          <a:xfrm>
            <a:off x="468557" y="5064093"/>
            <a:ext cx="5453272" cy="0"/>
          </a:xfrm>
          <a:prstGeom prst="line">
            <a:avLst/>
          </a:prstGeom>
          <a:ln>
            <a:gradFill flip="none" rotWithShape="1">
              <a:gsLst>
                <a:gs pos="1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468557" y="2872222"/>
            <a:ext cx="5453272" cy="197248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557" y="5283483"/>
            <a:ext cx="54532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cap="all" spc="300" baseline="0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6068C5C2-54DA-45E5-97D4-A185791B0F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549" y="880346"/>
            <a:ext cx="2541915" cy="107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3837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2556E5FD-2031-5547-9AD0-2A8CE8DDE98D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3" name="Parallelogram 2">
              <a:extLst>
                <a:ext uri="{FF2B5EF4-FFF2-40B4-BE49-F238E27FC236}">
                  <a16:creationId xmlns:a16="http://schemas.microsoft.com/office/drawing/2014/main" id="{FC98A62F-E811-FA4B-B7EE-C8C936F7FA2C}"/>
                </a:ext>
              </a:extLst>
            </p:cNvPr>
            <p:cNvSpPr/>
            <p:nvPr userDrawn="1"/>
          </p:nvSpPr>
          <p:spPr>
            <a:xfrm>
              <a:off x="1848640" y="-889"/>
              <a:ext cx="8589074" cy="6858889"/>
            </a:xfrm>
            <a:prstGeom prst="parallelogram">
              <a:avLst>
                <a:gd name="adj" fmla="val 61454"/>
              </a:avLst>
            </a:prstGeom>
            <a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67F3D1C2-DEED-DF4D-B295-613FB7986F12}"/>
                </a:ext>
              </a:extLst>
            </p:cNvPr>
            <p:cNvSpPr/>
            <p:nvPr userDrawn="1"/>
          </p:nvSpPr>
          <p:spPr>
            <a:xfrm>
              <a:off x="0" y="-889"/>
              <a:ext cx="5886389" cy="6858889"/>
            </a:xfrm>
            <a:custGeom>
              <a:avLst/>
              <a:gdLst>
                <a:gd name="connsiteX0" fmla="*/ 0 w 5886389"/>
                <a:gd name="connsiteY0" fmla="*/ 0 h 6858889"/>
                <a:gd name="connsiteX1" fmla="*/ 1512377 w 5886389"/>
                <a:gd name="connsiteY1" fmla="*/ 0 h 6858889"/>
                <a:gd name="connsiteX2" fmla="*/ 3534491 w 5886389"/>
                <a:gd name="connsiteY2" fmla="*/ 0 h 6858889"/>
                <a:gd name="connsiteX3" fmla="*/ 5886389 w 5886389"/>
                <a:gd name="connsiteY3" fmla="*/ 0 h 6858889"/>
                <a:gd name="connsiteX4" fmla="*/ 1671327 w 5886389"/>
                <a:gd name="connsiteY4" fmla="*/ 6858889 h 6858889"/>
                <a:gd name="connsiteX5" fmla="*/ 0 w 5886389"/>
                <a:gd name="connsiteY5" fmla="*/ 6858889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86389" h="6858889">
                  <a:moveTo>
                    <a:pt x="0" y="0"/>
                  </a:moveTo>
                  <a:lnTo>
                    <a:pt x="1512377" y="0"/>
                  </a:lnTo>
                  <a:lnTo>
                    <a:pt x="3534491" y="0"/>
                  </a:lnTo>
                  <a:lnTo>
                    <a:pt x="5886389" y="0"/>
                  </a:lnTo>
                  <a:lnTo>
                    <a:pt x="1671327" y="6858889"/>
                  </a:lnTo>
                  <a:lnTo>
                    <a:pt x="0" y="6858889"/>
                  </a:lnTo>
                  <a:close/>
                </a:path>
              </a:pathLst>
            </a:custGeom>
            <a:blipFill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CCC9D10-4876-ED47-9152-6C5FBFE52C3A}"/>
                </a:ext>
              </a:extLst>
            </p:cNvPr>
            <p:cNvSpPr/>
            <p:nvPr userDrawn="1"/>
          </p:nvSpPr>
          <p:spPr>
            <a:xfrm>
              <a:off x="6399967" y="-889"/>
              <a:ext cx="5792033" cy="6858889"/>
            </a:xfrm>
            <a:custGeom>
              <a:avLst/>
              <a:gdLst>
                <a:gd name="connsiteX0" fmla="*/ 4215062 w 5792033"/>
                <a:gd name="connsiteY0" fmla="*/ 0 h 6858889"/>
                <a:gd name="connsiteX1" fmla="*/ 5792033 w 5792033"/>
                <a:gd name="connsiteY1" fmla="*/ 0 h 6858889"/>
                <a:gd name="connsiteX2" fmla="*/ 5792033 w 5792033"/>
                <a:gd name="connsiteY2" fmla="*/ 6858889 h 6858889"/>
                <a:gd name="connsiteX3" fmla="*/ 4374012 w 5792033"/>
                <a:gd name="connsiteY3" fmla="*/ 6858889 h 6858889"/>
                <a:gd name="connsiteX4" fmla="*/ 3267376 w 5792033"/>
                <a:gd name="connsiteY4" fmla="*/ 6858889 h 6858889"/>
                <a:gd name="connsiteX5" fmla="*/ 0 w 5792033"/>
                <a:gd name="connsiteY5" fmla="*/ 6858889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2033" h="6858889">
                  <a:moveTo>
                    <a:pt x="4215062" y="0"/>
                  </a:moveTo>
                  <a:lnTo>
                    <a:pt x="5792033" y="0"/>
                  </a:lnTo>
                  <a:lnTo>
                    <a:pt x="5792033" y="6858889"/>
                  </a:lnTo>
                  <a:lnTo>
                    <a:pt x="4374012" y="6858889"/>
                  </a:lnTo>
                  <a:lnTo>
                    <a:pt x="3267376" y="6858889"/>
                  </a:lnTo>
                  <a:lnTo>
                    <a:pt x="0" y="6858889"/>
                  </a:lnTo>
                  <a:close/>
                </a:path>
              </a:pathLst>
            </a:custGeom>
            <a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7F33CEF-1CFE-7D49-86BC-45321089A2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">
                <a:schemeClr val="accent4">
                  <a:alpha val="60000"/>
                </a:schemeClr>
              </a:gs>
              <a:gs pos="100000">
                <a:schemeClr val="accent1">
                  <a:alpha val="40000"/>
                </a:schemeClr>
              </a:gs>
              <a:gs pos="67000">
                <a:srgbClr val="605BCA">
                  <a:alpha val="20000"/>
                </a:srgb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1BB62C4-AB8C-2542-AB50-208EADCC4FCF}"/>
              </a:ext>
            </a:extLst>
          </p:cNvPr>
          <p:cNvSpPr/>
          <p:nvPr userDrawn="1"/>
        </p:nvSpPr>
        <p:spPr>
          <a:xfrm>
            <a:off x="-2" y="0"/>
            <a:ext cx="9667345" cy="6858889"/>
          </a:xfrm>
          <a:custGeom>
            <a:avLst/>
            <a:gdLst>
              <a:gd name="connsiteX0" fmla="*/ 0 w 9667345"/>
              <a:gd name="connsiteY0" fmla="*/ 6810685 h 6858889"/>
              <a:gd name="connsiteX1" fmla="*/ 59283 w 9667345"/>
              <a:gd name="connsiteY1" fmla="*/ 6858456 h 6858889"/>
              <a:gd name="connsiteX2" fmla="*/ 39402 w 9667345"/>
              <a:gd name="connsiteY2" fmla="*/ 6858456 h 6858889"/>
              <a:gd name="connsiteX3" fmla="*/ 0 w 9667345"/>
              <a:gd name="connsiteY3" fmla="*/ 6827674 h 6858889"/>
              <a:gd name="connsiteX4" fmla="*/ 0 w 9667345"/>
              <a:gd name="connsiteY4" fmla="*/ 6672270 h 6858889"/>
              <a:gd name="connsiteX5" fmla="*/ 80461 w 9667345"/>
              <a:gd name="connsiteY5" fmla="*/ 6741333 h 6858889"/>
              <a:gd name="connsiteX6" fmla="*/ 232159 w 9667345"/>
              <a:gd name="connsiteY6" fmla="*/ 6857592 h 6858889"/>
              <a:gd name="connsiteX7" fmla="*/ 213144 w 9667345"/>
              <a:gd name="connsiteY7" fmla="*/ 6857592 h 6858889"/>
              <a:gd name="connsiteX8" fmla="*/ 70519 w 9667345"/>
              <a:gd name="connsiteY8" fmla="*/ 6747384 h 6858889"/>
              <a:gd name="connsiteX9" fmla="*/ 0 w 9667345"/>
              <a:gd name="connsiteY9" fmla="*/ 6686879 h 6858889"/>
              <a:gd name="connsiteX10" fmla="*/ 0 w 9667345"/>
              <a:gd name="connsiteY10" fmla="*/ 6527854 h 6858889"/>
              <a:gd name="connsiteX11" fmla="*/ 2977 w 9667345"/>
              <a:gd name="connsiteY11" fmla="*/ 6530761 h 6858889"/>
              <a:gd name="connsiteX12" fmla="*/ 194126 w 9667345"/>
              <a:gd name="connsiteY12" fmla="*/ 6695952 h 6858889"/>
              <a:gd name="connsiteX13" fmla="*/ 404173 w 9667345"/>
              <a:gd name="connsiteY13" fmla="*/ 6858024 h 6858889"/>
              <a:gd name="connsiteX14" fmla="*/ 386452 w 9667345"/>
              <a:gd name="connsiteY14" fmla="*/ 6858024 h 6858889"/>
              <a:gd name="connsiteX15" fmla="*/ 180728 w 9667345"/>
              <a:gd name="connsiteY15" fmla="*/ 6702435 h 6858889"/>
              <a:gd name="connsiteX16" fmla="*/ 0 w 9667345"/>
              <a:gd name="connsiteY16" fmla="*/ 6545608 h 6858889"/>
              <a:gd name="connsiteX17" fmla="*/ 0 w 9667345"/>
              <a:gd name="connsiteY17" fmla="*/ 6370764 h 6858889"/>
              <a:gd name="connsiteX18" fmla="*/ 116037 w 9667345"/>
              <a:gd name="connsiteY18" fmla="*/ 6485384 h 6858889"/>
              <a:gd name="connsiteX19" fmla="*/ 304768 w 9667345"/>
              <a:gd name="connsiteY19" fmla="*/ 6650572 h 6858889"/>
              <a:gd name="connsiteX20" fmla="*/ 578345 w 9667345"/>
              <a:gd name="connsiteY20" fmla="*/ 6858024 h 6858889"/>
              <a:gd name="connsiteX21" fmla="*/ 559329 w 9667345"/>
              <a:gd name="connsiteY21" fmla="*/ 6858024 h 6858889"/>
              <a:gd name="connsiteX22" fmla="*/ 294395 w 9667345"/>
              <a:gd name="connsiteY22" fmla="*/ 6657055 h 6858889"/>
              <a:gd name="connsiteX23" fmla="*/ 104541 w 9667345"/>
              <a:gd name="connsiteY23" fmla="*/ 6491293 h 6858889"/>
              <a:gd name="connsiteX24" fmla="*/ 0 w 9667345"/>
              <a:gd name="connsiteY24" fmla="*/ 6388228 h 6858889"/>
              <a:gd name="connsiteX25" fmla="*/ 0 w 9667345"/>
              <a:gd name="connsiteY25" fmla="*/ 6202503 h 6858889"/>
              <a:gd name="connsiteX26" fmla="*/ 55211 w 9667345"/>
              <a:gd name="connsiteY26" fmla="*/ 6264794 h 6858889"/>
              <a:gd name="connsiteX27" fmla="*/ 418434 w 9667345"/>
              <a:gd name="connsiteY27" fmla="*/ 6605192 h 6858889"/>
              <a:gd name="connsiteX28" fmla="*/ 754680 w 9667345"/>
              <a:gd name="connsiteY28" fmla="*/ 6857592 h 6858889"/>
              <a:gd name="connsiteX29" fmla="*/ 735663 w 9667345"/>
              <a:gd name="connsiteY29" fmla="*/ 6857592 h 6858889"/>
              <a:gd name="connsiteX30" fmla="*/ 408494 w 9667345"/>
              <a:gd name="connsiteY30" fmla="*/ 6611243 h 6858889"/>
              <a:gd name="connsiteX31" fmla="*/ 43521 w 9667345"/>
              <a:gd name="connsiteY31" fmla="*/ 6269568 h 6858889"/>
              <a:gd name="connsiteX32" fmla="*/ 0 w 9667345"/>
              <a:gd name="connsiteY32" fmla="*/ 6220508 h 6858889"/>
              <a:gd name="connsiteX33" fmla="*/ 0 w 9667345"/>
              <a:gd name="connsiteY33" fmla="*/ 6024018 h 6858889"/>
              <a:gd name="connsiteX34" fmla="*/ 8034 w 9667345"/>
              <a:gd name="connsiteY34" fmla="*/ 6034410 h 6858889"/>
              <a:gd name="connsiteX35" fmla="*/ 529076 w 9667345"/>
              <a:gd name="connsiteY35" fmla="*/ 6559812 h 6858889"/>
              <a:gd name="connsiteX36" fmla="*/ 932743 w 9667345"/>
              <a:gd name="connsiteY36" fmla="*/ 6858024 h 6858889"/>
              <a:gd name="connsiteX37" fmla="*/ 913294 w 9667345"/>
              <a:gd name="connsiteY37" fmla="*/ 6858024 h 6858889"/>
              <a:gd name="connsiteX38" fmla="*/ 519135 w 9667345"/>
              <a:gd name="connsiteY38" fmla="*/ 6564134 h 6858889"/>
              <a:gd name="connsiteX39" fmla="*/ 158491 w 9667345"/>
              <a:gd name="connsiteY39" fmla="*/ 6223702 h 6858889"/>
              <a:gd name="connsiteX40" fmla="*/ 0 w 9667345"/>
              <a:gd name="connsiteY40" fmla="*/ 6043322 h 6858889"/>
              <a:gd name="connsiteX41" fmla="*/ 0 w 9667345"/>
              <a:gd name="connsiteY41" fmla="*/ 5825690 h 6858889"/>
              <a:gd name="connsiteX42" fmla="*/ 125453 w 9667345"/>
              <a:gd name="connsiteY42" fmla="*/ 5989143 h 6858889"/>
              <a:gd name="connsiteX43" fmla="*/ 642743 w 9667345"/>
              <a:gd name="connsiteY43" fmla="*/ 6514432 h 6858889"/>
              <a:gd name="connsiteX44" fmla="*/ 1051163 w 9667345"/>
              <a:gd name="connsiteY44" fmla="*/ 6819992 h 6858889"/>
              <a:gd name="connsiteX45" fmla="*/ 1109942 w 9667345"/>
              <a:gd name="connsiteY45" fmla="*/ 6858456 h 6858889"/>
              <a:gd name="connsiteX46" fmla="*/ 1090062 w 9667345"/>
              <a:gd name="connsiteY46" fmla="*/ 6858456 h 6858889"/>
              <a:gd name="connsiteX47" fmla="*/ 1040791 w 9667345"/>
              <a:gd name="connsiteY47" fmla="*/ 6826907 h 6858889"/>
              <a:gd name="connsiteX48" fmla="*/ 632370 w 9667345"/>
              <a:gd name="connsiteY48" fmla="*/ 6519185 h 6858889"/>
              <a:gd name="connsiteX49" fmla="*/ 112604 w 9667345"/>
              <a:gd name="connsiteY49" fmla="*/ 5993214 h 6858889"/>
              <a:gd name="connsiteX50" fmla="*/ 0 w 9667345"/>
              <a:gd name="connsiteY50" fmla="*/ 5846530 h 6858889"/>
              <a:gd name="connsiteX51" fmla="*/ 0 w 9667345"/>
              <a:gd name="connsiteY51" fmla="*/ 5604549 h 6858889"/>
              <a:gd name="connsiteX52" fmla="*/ 95478 w 9667345"/>
              <a:gd name="connsiteY52" fmla="*/ 5747885 h 6858889"/>
              <a:gd name="connsiteX53" fmla="*/ 756408 w 9667345"/>
              <a:gd name="connsiteY53" fmla="*/ 6469052 h 6858889"/>
              <a:gd name="connsiteX54" fmla="*/ 1161372 w 9667345"/>
              <a:gd name="connsiteY54" fmla="*/ 6774611 h 6858889"/>
              <a:gd name="connsiteX55" fmla="*/ 1289734 w 9667345"/>
              <a:gd name="connsiteY55" fmla="*/ 6857592 h 6858889"/>
              <a:gd name="connsiteX56" fmla="*/ 1271150 w 9667345"/>
              <a:gd name="connsiteY56" fmla="*/ 6857592 h 6858889"/>
              <a:gd name="connsiteX57" fmla="*/ 1151432 w 9667345"/>
              <a:gd name="connsiteY57" fmla="*/ 6780662 h 6858889"/>
              <a:gd name="connsiteX58" fmla="*/ 743010 w 9667345"/>
              <a:gd name="connsiteY58" fmla="*/ 6472941 h 6858889"/>
              <a:gd name="connsiteX59" fmla="*/ 81919 w 9667345"/>
              <a:gd name="connsiteY59" fmla="*/ 5752315 h 6858889"/>
              <a:gd name="connsiteX60" fmla="*/ 0 w 9667345"/>
              <a:gd name="connsiteY60" fmla="*/ 5628996 h 6858889"/>
              <a:gd name="connsiteX61" fmla="*/ 0 w 9667345"/>
              <a:gd name="connsiteY61" fmla="*/ 5359076 h 6858889"/>
              <a:gd name="connsiteX62" fmla="*/ 78670 w 9667345"/>
              <a:gd name="connsiteY62" fmla="*/ 5496155 h 6858889"/>
              <a:gd name="connsiteX63" fmla="*/ 867049 w 9667345"/>
              <a:gd name="connsiteY63" fmla="*/ 6423672 h 6858889"/>
              <a:gd name="connsiteX64" fmla="*/ 1272015 w 9667345"/>
              <a:gd name="connsiteY64" fmla="*/ 6729231 h 6858889"/>
              <a:gd name="connsiteX65" fmla="*/ 1469526 w 9667345"/>
              <a:gd name="connsiteY65" fmla="*/ 6857592 h 6858889"/>
              <a:gd name="connsiteX66" fmla="*/ 1450509 w 9667345"/>
              <a:gd name="connsiteY66" fmla="*/ 6857592 h 6858889"/>
              <a:gd name="connsiteX67" fmla="*/ 1258184 w 9667345"/>
              <a:gd name="connsiteY67" fmla="*/ 6735282 h 6858889"/>
              <a:gd name="connsiteX68" fmla="*/ 856678 w 9667345"/>
              <a:gd name="connsiteY68" fmla="*/ 6427561 h 6858889"/>
              <a:gd name="connsiteX69" fmla="*/ 65196 w 9667345"/>
              <a:gd name="connsiteY69" fmla="*/ 5499518 h 6858889"/>
              <a:gd name="connsiteX70" fmla="*/ 0 w 9667345"/>
              <a:gd name="connsiteY70" fmla="*/ 5386698 h 6858889"/>
              <a:gd name="connsiteX71" fmla="*/ 0 w 9667345"/>
              <a:gd name="connsiteY71" fmla="*/ 5079907 h 6858889"/>
              <a:gd name="connsiteX72" fmla="*/ 75746 w 9667345"/>
              <a:gd name="connsiteY72" fmla="*/ 5232455 h 6858889"/>
              <a:gd name="connsiteX73" fmla="*/ 980716 w 9667345"/>
              <a:gd name="connsiteY73" fmla="*/ 6377859 h 6858889"/>
              <a:gd name="connsiteX74" fmla="*/ 1378765 w 9667345"/>
              <a:gd name="connsiteY74" fmla="*/ 6683419 h 6858889"/>
              <a:gd name="connsiteX75" fmla="*/ 1652775 w 9667345"/>
              <a:gd name="connsiteY75" fmla="*/ 6858024 h 6858889"/>
              <a:gd name="connsiteX76" fmla="*/ 1631165 w 9667345"/>
              <a:gd name="connsiteY76" fmla="*/ 6858024 h 6858889"/>
              <a:gd name="connsiteX77" fmla="*/ 1368824 w 9667345"/>
              <a:gd name="connsiteY77" fmla="*/ 6690334 h 6858889"/>
              <a:gd name="connsiteX78" fmla="*/ 967318 w 9667345"/>
              <a:gd name="connsiteY78" fmla="*/ 6382614 h 6858889"/>
              <a:gd name="connsiteX79" fmla="*/ 62592 w 9667345"/>
              <a:gd name="connsiteY79" fmla="*/ 5235569 h 6858889"/>
              <a:gd name="connsiteX80" fmla="*/ 0 w 9667345"/>
              <a:gd name="connsiteY80" fmla="*/ 5109615 h 6858889"/>
              <a:gd name="connsiteX81" fmla="*/ 0 w 9667345"/>
              <a:gd name="connsiteY81" fmla="*/ 4754262 h 6858889"/>
              <a:gd name="connsiteX82" fmla="*/ 86287 w 9667345"/>
              <a:gd name="connsiteY82" fmla="*/ 4958028 h 6858889"/>
              <a:gd name="connsiteX83" fmla="*/ 1091358 w 9667345"/>
              <a:gd name="connsiteY83" fmla="*/ 6332479 h 6858889"/>
              <a:gd name="connsiteX84" fmla="*/ 1489406 w 9667345"/>
              <a:gd name="connsiteY84" fmla="*/ 6638039 h 6858889"/>
              <a:gd name="connsiteX85" fmla="*/ 1836889 w 9667345"/>
              <a:gd name="connsiteY85" fmla="*/ 6857592 h 6858889"/>
              <a:gd name="connsiteX86" fmla="*/ 1816575 w 9667345"/>
              <a:gd name="connsiteY86" fmla="*/ 6857592 h 6858889"/>
              <a:gd name="connsiteX87" fmla="*/ 1479466 w 9667345"/>
              <a:gd name="connsiteY87" fmla="*/ 6644089 h 6858889"/>
              <a:gd name="connsiteX88" fmla="*/ 1081417 w 9667345"/>
              <a:gd name="connsiteY88" fmla="*/ 6336369 h 6858889"/>
              <a:gd name="connsiteX89" fmla="*/ 73038 w 9667345"/>
              <a:gd name="connsiteY89" fmla="*/ 4959848 h 6858889"/>
              <a:gd name="connsiteX90" fmla="*/ 0 w 9667345"/>
              <a:gd name="connsiteY90" fmla="*/ 4787554 h 6858889"/>
              <a:gd name="connsiteX91" fmla="*/ 0 w 9667345"/>
              <a:gd name="connsiteY91" fmla="*/ 4357497 h 6858889"/>
              <a:gd name="connsiteX92" fmla="*/ 3590 w 9667345"/>
              <a:gd name="connsiteY92" fmla="*/ 4371077 h 6858889"/>
              <a:gd name="connsiteX93" fmla="*/ 107256 w 9667345"/>
              <a:gd name="connsiteY93" fmla="*/ 4670269 h 6858889"/>
              <a:gd name="connsiteX94" fmla="*/ 1205024 w 9667345"/>
              <a:gd name="connsiteY94" fmla="*/ 6287099 h 6858889"/>
              <a:gd name="connsiteX95" fmla="*/ 1600048 w 9667345"/>
              <a:gd name="connsiteY95" fmla="*/ 6592659 h 6858889"/>
              <a:gd name="connsiteX96" fmla="*/ 2023165 w 9667345"/>
              <a:gd name="connsiteY96" fmla="*/ 6858024 h 6858889"/>
              <a:gd name="connsiteX97" fmla="*/ 2001554 w 9667345"/>
              <a:gd name="connsiteY97" fmla="*/ 6858024 h 6858889"/>
              <a:gd name="connsiteX98" fmla="*/ 1587082 w 9667345"/>
              <a:gd name="connsiteY98" fmla="*/ 6599142 h 6858889"/>
              <a:gd name="connsiteX99" fmla="*/ 1192058 w 9667345"/>
              <a:gd name="connsiteY99" fmla="*/ 6291421 h 6858889"/>
              <a:gd name="connsiteX100" fmla="*/ 94290 w 9667345"/>
              <a:gd name="connsiteY100" fmla="*/ 4672429 h 6858889"/>
              <a:gd name="connsiteX101" fmla="*/ 0 w 9667345"/>
              <a:gd name="connsiteY101" fmla="*/ 4400852 h 6858889"/>
              <a:gd name="connsiteX102" fmla="*/ 0 w 9667345"/>
              <a:gd name="connsiteY102" fmla="*/ 3631903 h 6858889"/>
              <a:gd name="connsiteX103" fmla="*/ 10844 w 9667345"/>
              <a:gd name="connsiteY103" fmla="*/ 3768898 h 6858889"/>
              <a:gd name="connsiteX104" fmla="*/ 234320 w 9667345"/>
              <a:gd name="connsiteY104" fmla="*/ 4624456 h 6858889"/>
              <a:gd name="connsiteX105" fmla="*/ 1315233 w 9667345"/>
              <a:gd name="connsiteY105" fmla="*/ 6239558 h 6858889"/>
              <a:gd name="connsiteX106" fmla="*/ 1706800 w 9667345"/>
              <a:gd name="connsiteY106" fmla="*/ 6547278 h 6858889"/>
              <a:gd name="connsiteX107" fmla="*/ 2205549 w 9667345"/>
              <a:gd name="connsiteY107" fmla="*/ 6857592 h 6858889"/>
              <a:gd name="connsiteX108" fmla="*/ 2183507 w 9667345"/>
              <a:gd name="connsiteY108" fmla="*/ 6857592 h 6858889"/>
              <a:gd name="connsiteX109" fmla="*/ 1696860 w 9667345"/>
              <a:gd name="connsiteY109" fmla="*/ 6553329 h 6858889"/>
              <a:gd name="connsiteX110" fmla="*/ 1305292 w 9667345"/>
              <a:gd name="connsiteY110" fmla="*/ 6245609 h 6858889"/>
              <a:gd name="connsiteX111" fmla="*/ 220923 w 9667345"/>
              <a:gd name="connsiteY111" fmla="*/ 4626617 h 6858889"/>
              <a:gd name="connsiteX112" fmla="*/ 42265 w 9667345"/>
              <a:gd name="connsiteY112" fmla="*/ 4041321 h 6858889"/>
              <a:gd name="connsiteX113" fmla="*/ 0 w 9667345"/>
              <a:gd name="connsiteY113" fmla="*/ 3795139 h 6858889"/>
              <a:gd name="connsiteX114" fmla="*/ 5434888 w 9667345"/>
              <a:gd name="connsiteY114" fmla="*/ 1729 h 6858889"/>
              <a:gd name="connsiteX115" fmla="*/ 5448286 w 9667345"/>
              <a:gd name="connsiteY115" fmla="*/ 1729 h 6858889"/>
              <a:gd name="connsiteX116" fmla="*/ 5227436 w 9667345"/>
              <a:gd name="connsiteY116" fmla="*/ 893774 h 6858889"/>
              <a:gd name="connsiteX117" fmla="*/ 5060177 w 9667345"/>
              <a:gd name="connsiteY117" fmla="*/ 1269781 h 6858889"/>
              <a:gd name="connsiteX118" fmla="*/ 4785736 w 9667345"/>
              <a:gd name="connsiteY118" fmla="*/ 1963449 h 6858889"/>
              <a:gd name="connsiteX119" fmla="*/ 4768880 w 9667345"/>
              <a:gd name="connsiteY119" fmla="*/ 3010651 h 6858889"/>
              <a:gd name="connsiteX120" fmla="*/ 5361416 w 9667345"/>
              <a:gd name="connsiteY120" fmla="*/ 4600686 h 6858889"/>
              <a:gd name="connsiteX121" fmla="*/ 5642341 w 9667345"/>
              <a:gd name="connsiteY121" fmla="*/ 4920939 h 6858889"/>
              <a:gd name="connsiteX122" fmla="*/ 6990779 w 9667345"/>
              <a:gd name="connsiteY122" fmla="*/ 5817306 h 6858889"/>
              <a:gd name="connsiteX123" fmla="*/ 7425997 w 9667345"/>
              <a:gd name="connsiteY123" fmla="*/ 6003148 h 6858889"/>
              <a:gd name="connsiteX124" fmla="*/ 8717818 w 9667345"/>
              <a:gd name="connsiteY124" fmla="*/ 6393418 h 6858889"/>
              <a:gd name="connsiteX125" fmla="*/ 9666913 w 9667345"/>
              <a:gd name="connsiteY125" fmla="*/ 6567592 h 6858889"/>
              <a:gd name="connsiteX126" fmla="*/ 9666913 w 9667345"/>
              <a:gd name="connsiteY126" fmla="*/ 6576236 h 6858889"/>
              <a:gd name="connsiteX127" fmla="*/ 8714362 w 9667345"/>
              <a:gd name="connsiteY127" fmla="*/ 6401198 h 6858889"/>
              <a:gd name="connsiteX128" fmla="*/ 7416056 w 9667345"/>
              <a:gd name="connsiteY128" fmla="*/ 6008767 h 6858889"/>
              <a:gd name="connsiteX129" fmla="*/ 6984296 w 9667345"/>
              <a:gd name="connsiteY129" fmla="*/ 5822924 h 6858889"/>
              <a:gd name="connsiteX130" fmla="*/ 5632400 w 9667345"/>
              <a:gd name="connsiteY130" fmla="*/ 4924397 h 6858889"/>
              <a:gd name="connsiteX131" fmla="*/ 5348018 w 9667345"/>
              <a:gd name="connsiteY131" fmla="*/ 4604143 h 6858889"/>
              <a:gd name="connsiteX132" fmla="*/ 4755482 w 9667345"/>
              <a:gd name="connsiteY132" fmla="*/ 3009786 h 6858889"/>
              <a:gd name="connsiteX133" fmla="*/ 4772337 w 9667345"/>
              <a:gd name="connsiteY133" fmla="*/ 1962585 h 6858889"/>
              <a:gd name="connsiteX134" fmla="*/ 5043322 w 9667345"/>
              <a:gd name="connsiteY134" fmla="*/ 1266755 h 6858889"/>
              <a:gd name="connsiteX135" fmla="*/ 5210581 w 9667345"/>
              <a:gd name="connsiteY135" fmla="*/ 890749 h 6858889"/>
              <a:gd name="connsiteX136" fmla="*/ 5434888 w 9667345"/>
              <a:gd name="connsiteY136" fmla="*/ 1729 h 6858889"/>
              <a:gd name="connsiteX137" fmla="*/ 5575783 w 9667345"/>
              <a:gd name="connsiteY137" fmla="*/ 1297 h 6858889"/>
              <a:gd name="connsiteX138" fmla="*/ 5589181 w 9667345"/>
              <a:gd name="connsiteY138" fmla="*/ 1297 h 6858889"/>
              <a:gd name="connsiteX139" fmla="*/ 5368330 w 9667345"/>
              <a:gd name="connsiteY139" fmla="*/ 854012 h 6858889"/>
              <a:gd name="connsiteX140" fmla="*/ 5197614 w 9667345"/>
              <a:gd name="connsiteY140" fmla="*/ 1231748 h 6858889"/>
              <a:gd name="connsiteX141" fmla="*/ 4919715 w 9667345"/>
              <a:gd name="connsiteY141" fmla="*/ 1921527 h 6858889"/>
              <a:gd name="connsiteX142" fmla="*/ 4896376 w 9667345"/>
              <a:gd name="connsiteY142" fmla="*/ 2964406 h 6858889"/>
              <a:gd name="connsiteX143" fmla="*/ 5472057 w 9667345"/>
              <a:gd name="connsiteY143" fmla="*/ 4554441 h 6858889"/>
              <a:gd name="connsiteX144" fmla="*/ 5752981 w 9667345"/>
              <a:gd name="connsiteY144" fmla="*/ 4874695 h 6858889"/>
              <a:gd name="connsiteX145" fmla="*/ 7094937 w 9667345"/>
              <a:gd name="connsiteY145" fmla="*/ 5773223 h 6858889"/>
              <a:gd name="connsiteX146" fmla="*/ 7526698 w 9667345"/>
              <a:gd name="connsiteY146" fmla="*/ 5956904 h 6858889"/>
              <a:gd name="connsiteX147" fmla="*/ 8818519 w 9667345"/>
              <a:gd name="connsiteY147" fmla="*/ 6343283 h 6858889"/>
              <a:gd name="connsiteX148" fmla="*/ 9666913 w 9667345"/>
              <a:gd name="connsiteY148" fmla="*/ 6500602 h 6858889"/>
              <a:gd name="connsiteX149" fmla="*/ 9666913 w 9667345"/>
              <a:gd name="connsiteY149" fmla="*/ 6509246 h 6858889"/>
              <a:gd name="connsiteX150" fmla="*/ 8811605 w 9667345"/>
              <a:gd name="connsiteY150" fmla="*/ 6351496 h 6858889"/>
              <a:gd name="connsiteX151" fmla="*/ 7516324 w 9667345"/>
              <a:gd name="connsiteY151" fmla="*/ 5965116 h 6858889"/>
              <a:gd name="connsiteX152" fmla="*/ 7084564 w 9667345"/>
              <a:gd name="connsiteY152" fmla="*/ 5779273 h 6858889"/>
              <a:gd name="connsiteX153" fmla="*/ 5739151 w 9667345"/>
              <a:gd name="connsiteY153" fmla="*/ 4879017 h 6858889"/>
              <a:gd name="connsiteX154" fmla="*/ 5458226 w 9667345"/>
              <a:gd name="connsiteY154" fmla="*/ 4558762 h 6858889"/>
              <a:gd name="connsiteX155" fmla="*/ 4882546 w 9667345"/>
              <a:gd name="connsiteY155" fmla="*/ 2966567 h 6858889"/>
              <a:gd name="connsiteX156" fmla="*/ 4905886 w 9667345"/>
              <a:gd name="connsiteY156" fmla="*/ 1919366 h 6858889"/>
              <a:gd name="connsiteX157" fmla="*/ 5180327 w 9667345"/>
              <a:gd name="connsiteY157" fmla="*/ 1229587 h 6858889"/>
              <a:gd name="connsiteX158" fmla="*/ 5354501 w 9667345"/>
              <a:gd name="connsiteY158" fmla="*/ 851851 h 6858889"/>
              <a:gd name="connsiteX159" fmla="*/ 5575783 w 9667345"/>
              <a:gd name="connsiteY159" fmla="*/ 1297 h 6858889"/>
              <a:gd name="connsiteX160" fmla="*/ 5293994 w 9667345"/>
              <a:gd name="connsiteY160" fmla="*/ 1297 h 6858889"/>
              <a:gd name="connsiteX161" fmla="*/ 5307392 w 9667345"/>
              <a:gd name="connsiteY161" fmla="*/ 1297 h 6858889"/>
              <a:gd name="connsiteX162" fmla="*/ 5083083 w 9667345"/>
              <a:gd name="connsiteY162" fmla="*/ 930511 h 6858889"/>
              <a:gd name="connsiteX163" fmla="*/ 4919283 w 9667345"/>
              <a:gd name="connsiteY163" fmla="*/ 1306517 h 6858889"/>
              <a:gd name="connsiteX164" fmla="*/ 4651756 w 9667345"/>
              <a:gd name="connsiteY164" fmla="*/ 2006668 h 6858889"/>
              <a:gd name="connsiteX165" fmla="*/ 4645273 w 9667345"/>
              <a:gd name="connsiteY165" fmla="*/ 3055599 h 6858889"/>
              <a:gd name="connsiteX166" fmla="*/ 5247749 w 9667345"/>
              <a:gd name="connsiteY166" fmla="*/ 4645633 h 6858889"/>
              <a:gd name="connsiteX167" fmla="*/ 5535589 w 9667345"/>
              <a:gd name="connsiteY167" fmla="*/ 4965888 h 6858889"/>
              <a:gd name="connsiteX168" fmla="*/ 6890942 w 9667345"/>
              <a:gd name="connsiteY168" fmla="*/ 5862254 h 6858889"/>
              <a:gd name="connsiteX169" fmla="*/ 7326160 w 9667345"/>
              <a:gd name="connsiteY169" fmla="*/ 6045935 h 6858889"/>
              <a:gd name="connsiteX170" fmla="*/ 8617983 w 9667345"/>
              <a:gd name="connsiteY170" fmla="*/ 6440527 h 6858889"/>
              <a:gd name="connsiteX171" fmla="*/ 9667345 w 9667345"/>
              <a:gd name="connsiteY171" fmla="*/ 6632852 h 6858889"/>
              <a:gd name="connsiteX172" fmla="*/ 9667345 w 9667345"/>
              <a:gd name="connsiteY172" fmla="*/ 6642793 h 6858889"/>
              <a:gd name="connsiteX173" fmla="*/ 8614525 w 9667345"/>
              <a:gd name="connsiteY173" fmla="*/ 6448739 h 6858889"/>
              <a:gd name="connsiteX174" fmla="*/ 7316220 w 9667345"/>
              <a:gd name="connsiteY174" fmla="*/ 6054147 h 6858889"/>
              <a:gd name="connsiteX175" fmla="*/ 6884460 w 9667345"/>
              <a:gd name="connsiteY175" fmla="*/ 5868305 h 6858889"/>
              <a:gd name="connsiteX176" fmla="*/ 5522623 w 9667345"/>
              <a:gd name="connsiteY176" fmla="*/ 4969778 h 6858889"/>
              <a:gd name="connsiteX177" fmla="*/ 5234783 w 9667345"/>
              <a:gd name="connsiteY177" fmla="*/ 4649523 h 6858889"/>
              <a:gd name="connsiteX178" fmla="*/ 4628850 w 9667345"/>
              <a:gd name="connsiteY178" fmla="*/ 3055167 h 6858889"/>
              <a:gd name="connsiteX179" fmla="*/ 4638790 w 9667345"/>
              <a:gd name="connsiteY179" fmla="*/ 2004076 h 6858889"/>
              <a:gd name="connsiteX180" fmla="*/ 4906318 w 9667345"/>
              <a:gd name="connsiteY180" fmla="*/ 1303924 h 6858889"/>
              <a:gd name="connsiteX181" fmla="*/ 5070118 w 9667345"/>
              <a:gd name="connsiteY181" fmla="*/ 927917 h 6858889"/>
              <a:gd name="connsiteX182" fmla="*/ 5293994 w 9667345"/>
              <a:gd name="connsiteY182" fmla="*/ 1297 h 6858889"/>
              <a:gd name="connsiteX183" fmla="*/ 5150073 w 9667345"/>
              <a:gd name="connsiteY183" fmla="*/ 1297 h 6858889"/>
              <a:gd name="connsiteX184" fmla="*/ 5163472 w 9667345"/>
              <a:gd name="connsiteY184" fmla="*/ 1297 h 6858889"/>
              <a:gd name="connsiteX185" fmla="*/ 4942621 w 9667345"/>
              <a:gd name="connsiteY185" fmla="*/ 969840 h 6858889"/>
              <a:gd name="connsiteX186" fmla="*/ 4781845 w 9667345"/>
              <a:gd name="connsiteY186" fmla="*/ 1343686 h 6858889"/>
              <a:gd name="connsiteX187" fmla="*/ 4517344 w 9667345"/>
              <a:gd name="connsiteY187" fmla="*/ 2049888 h 6858889"/>
              <a:gd name="connsiteX188" fmla="*/ 4517344 w 9667345"/>
              <a:gd name="connsiteY188" fmla="*/ 3098818 h 6858889"/>
              <a:gd name="connsiteX189" fmla="*/ 5136243 w 9667345"/>
              <a:gd name="connsiteY189" fmla="*/ 4691014 h 6858889"/>
              <a:gd name="connsiteX190" fmla="*/ 5424084 w 9667345"/>
              <a:gd name="connsiteY190" fmla="*/ 5011268 h 6858889"/>
              <a:gd name="connsiteX191" fmla="*/ 6789377 w 9667345"/>
              <a:gd name="connsiteY191" fmla="*/ 5905473 h 6858889"/>
              <a:gd name="connsiteX192" fmla="*/ 7224595 w 9667345"/>
              <a:gd name="connsiteY192" fmla="*/ 6091316 h 6858889"/>
              <a:gd name="connsiteX193" fmla="*/ 8519875 w 9667345"/>
              <a:gd name="connsiteY193" fmla="*/ 6487636 h 6858889"/>
              <a:gd name="connsiteX194" fmla="*/ 9666480 w 9667345"/>
              <a:gd name="connsiteY194" fmla="*/ 6699411 h 6858889"/>
              <a:gd name="connsiteX195" fmla="*/ 9666480 w 9667345"/>
              <a:gd name="connsiteY195" fmla="*/ 6708918 h 6858889"/>
              <a:gd name="connsiteX196" fmla="*/ 8513393 w 9667345"/>
              <a:gd name="connsiteY196" fmla="*/ 6495848 h 6858889"/>
              <a:gd name="connsiteX197" fmla="*/ 7218112 w 9667345"/>
              <a:gd name="connsiteY197" fmla="*/ 6099527 h 6858889"/>
              <a:gd name="connsiteX198" fmla="*/ 6779869 w 9667345"/>
              <a:gd name="connsiteY198" fmla="*/ 5911524 h 6858889"/>
              <a:gd name="connsiteX199" fmla="*/ 5411118 w 9667345"/>
              <a:gd name="connsiteY199" fmla="*/ 5015158 h 6858889"/>
              <a:gd name="connsiteX200" fmla="*/ 5123278 w 9667345"/>
              <a:gd name="connsiteY200" fmla="*/ 4694903 h 6858889"/>
              <a:gd name="connsiteX201" fmla="*/ 4504379 w 9667345"/>
              <a:gd name="connsiteY201" fmla="*/ 3100547 h 6858889"/>
              <a:gd name="connsiteX202" fmla="*/ 4504379 w 9667345"/>
              <a:gd name="connsiteY202" fmla="*/ 2047294 h 6858889"/>
              <a:gd name="connsiteX203" fmla="*/ 4768880 w 9667345"/>
              <a:gd name="connsiteY203" fmla="*/ 1341093 h 6858889"/>
              <a:gd name="connsiteX204" fmla="*/ 4929656 w 9667345"/>
              <a:gd name="connsiteY204" fmla="*/ 967246 h 6858889"/>
              <a:gd name="connsiteX205" fmla="*/ 5150073 w 9667345"/>
              <a:gd name="connsiteY205" fmla="*/ 1297 h 6858889"/>
              <a:gd name="connsiteX206" fmla="*/ 5008747 w 9667345"/>
              <a:gd name="connsiteY206" fmla="*/ 1297 h 6858889"/>
              <a:gd name="connsiteX207" fmla="*/ 5022145 w 9667345"/>
              <a:gd name="connsiteY207" fmla="*/ 1297 h 6858889"/>
              <a:gd name="connsiteX208" fmla="*/ 4801294 w 9667345"/>
              <a:gd name="connsiteY208" fmla="*/ 1009169 h 6858889"/>
              <a:gd name="connsiteX209" fmla="*/ 4643977 w 9667345"/>
              <a:gd name="connsiteY209" fmla="*/ 1378694 h 6858889"/>
              <a:gd name="connsiteX210" fmla="*/ 4386390 w 9667345"/>
              <a:gd name="connsiteY210" fmla="*/ 2093107 h 6858889"/>
              <a:gd name="connsiteX211" fmla="*/ 4389848 w 9667345"/>
              <a:gd name="connsiteY211" fmla="*/ 3144198 h 6858889"/>
              <a:gd name="connsiteX212" fmla="*/ 5022145 w 9667345"/>
              <a:gd name="connsiteY212" fmla="*/ 4736393 h 6858889"/>
              <a:gd name="connsiteX213" fmla="*/ 5313442 w 9667345"/>
              <a:gd name="connsiteY213" fmla="*/ 5056648 h 6858889"/>
              <a:gd name="connsiteX214" fmla="*/ 6688676 w 9667345"/>
              <a:gd name="connsiteY214" fmla="*/ 5948692 h 6858889"/>
              <a:gd name="connsiteX215" fmla="*/ 7123895 w 9667345"/>
              <a:gd name="connsiteY215" fmla="*/ 6136696 h 6858889"/>
              <a:gd name="connsiteX216" fmla="*/ 8419174 w 9667345"/>
              <a:gd name="connsiteY216" fmla="*/ 6537339 h 6858889"/>
              <a:gd name="connsiteX217" fmla="*/ 9666049 w 9667345"/>
              <a:gd name="connsiteY217" fmla="*/ 6767264 h 6858889"/>
              <a:gd name="connsiteX218" fmla="*/ 9666049 w 9667345"/>
              <a:gd name="connsiteY218" fmla="*/ 6775908 h 6858889"/>
              <a:gd name="connsiteX219" fmla="*/ 8412691 w 9667345"/>
              <a:gd name="connsiteY219" fmla="*/ 6545550 h 6858889"/>
              <a:gd name="connsiteX220" fmla="*/ 7117412 w 9667345"/>
              <a:gd name="connsiteY220" fmla="*/ 6142747 h 6858889"/>
              <a:gd name="connsiteX221" fmla="*/ 6679169 w 9667345"/>
              <a:gd name="connsiteY221" fmla="*/ 5956904 h 6858889"/>
              <a:gd name="connsiteX222" fmla="*/ 5303934 w 9667345"/>
              <a:gd name="connsiteY222" fmla="*/ 5060537 h 6858889"/>
              <a:gd name="connsiteX223" fmla="*/ 5009611 w 9667345"/>
              <a:gd name="connsiteY223" fmla="*/ 4740283 h 6858889"/>
              <a:gd name="connsiteX224" fmla="*/ 4377314 w 9667345"/>
              <a:gd name="connsiteY224" fmla="*/ 3145926 h 6858889"/>
              <a:gd name="connsiteX225" fmla="*/ 4370831 w 9667345"/>
              <a:gd name="connsiteY225" fmla="*/ 2090514 h 6858889"/>
              <a:gd name="connsiteX226" fmla="*/ 4631875 w 9667345"/>
              <a:gd name="connsiteY226" fmla="*/ 1376100 h 6858889"/>
              <a:gd name="connsiteX227" fmla="*/ 4789193 w 9667345"/>
              <a:gd name="connsiteY227" fmla="*/ 1006575 h 6858889"/>
              <a:gd name="connsiteX228" fmla="*/ 5008747 w 9667345"/>
              <a:gd name="connsiteY228" fmla="*/ 1297 h 6858889"/>
              <a:gd name="connsiteX229" fmla="*/ 4865691 w 9667345"/>
              <a:gd name="connsiteY229" fmla="*/ 1297 h 6858889"/>
              <a:gd name="connsiteX230" fmla="*/ 4879089 w 9667345"/>
              <a:gd name="connsiteY230" fmla="*/ 1297 h 6858889"/>
              <a:gd name="connsiteX231" fmla="*/ 4661697 w 9667345"/>
              <a:gd name="connsiteY231" fmla="*/ 1048499 h 6858889"/>
              <a:gd name="connsiteX232" fmla="*/ 4507836 w 9667345"/>
              <a:gd name="connsiteY232" fmla="*/ 1416295 h 6858889"/>
              <a:gd name="connsiteX233" fmla="*/ 4253707 w 9667345"/>
              <a:gd name="connsiteY233" fmla="*/ 2135030 h 6858889"/>
              <a:gd name="connsiteX234" fmla="*/ 4267105 w 9667345"/>
              <a:gd name="connsiteY234" fmla="*/ 3190442 h 6858889"/>
              <a:gd name="connsiteX235" fmla="*/ 4909775 w 9667345"/>
              <a:gd name="connsiteY235" fmla="*/ 4782638 h 6858889"/>
              <a:gd name="connsiteX236" fmla="*/ 5207555 w 9667345"/>
              <a:gd name="connsiteY236" fmla="*/ 5102893 h 6858889"/>
              <a:gd name="connsiteX237" fmla="*/ 6586247 w 9667345"/>
              <a:gd name="connsiteY237" fmla="*/ 5994937 h 6858889"/>
              <a:gd name="connsiteX238" fmla="*/ 7024491 w 9667345"/>
              <a:gd name="connsiteY238" fmla="*/ 6180779 h 6858889"/>
              <a:gd name="connsiteX239" fmla="*/ 8319770 w 9667345"/>
              <a:gd name="connsiteY239" fmla="*/ 6585744 h 6858889"/>
              <a:gd name="connsiteX240" fmla="*/ 9666913 w 9667345"/>
              <a:gd name="connsiteY240" fmla="*/ 6835982 h 6858889"/>
              <a:gd name="connsiteX241" fmla="*/ 9666913 w 9667345"/>
              <a:gd name="connsiteY241" fmla="*/ 6844626 h 6858889"/>
              <a:gd name="connsiteX242" fmla="*/ 8316312 w 9667345"/>
              <a:gd name="connsiteY242" fmla="*/ 6593955 h 6858889"/>
              <a:gd name="connsiteX243" fmla="*/ 7018008 w 9667345"/>
              <a:gd name="connsiteY243" fmla="*/ 6188992 h 6858889"/>
              <a:gd name="connsiteX244" fmla="*/ 6579764 w 9667345"/>
              <a:gd name="connsiteY244" fmla="*/ 6000988 h 6858889"/>
              <a:gd name="connsiteX245" fmla="*/ 5194157 w 9667345"/>
              <a:gd name="connsiteY245" fmla="*/ 5106782 h 6858889"/>
              <a:gd name="connsiteX246" fmla="*/ 4899835 w 9667345"/>
              <a:gd name="connsiteY246" fmla="*/ 4786528 h 6858889"/>
              <a:gd name="connsiteX247" fmla="*/ 4254139 w 9667345"/>
              <a:gd name="connsiteY247" fmla="*/ 3190010 h 6858889"/>
              <a:gd name="connsiteX248" fmla="*/ 4240741 w 9667345"/>
              <a:gd name="connsiteY248" fmla="*/ 2134598 h 6858889"/>
              <a:gd name="connsiteX249" fmla="*/ 4494870 w 9667345"/>
              <a:gd name="connsiteY249" fmla="*/ 1413701 h 6858889"/>
              <a:gd name="connsiteX250" fmla="*/ 4645273 w 9667345"/>
              <a:gd name="connsiteY250" fmla="*/ 1045906 h 6858889"/>
              <a:gd name="connsiteX251" fmla="*/ 4865691 w 9667345"/>
              <a:gd name="connsiteY251" fmla="*/ 1297 h 6858889"/>
              <a:gd name="connsiteX252" fmla="*/ 4438253 w 9667345"/>
              <a:gd name="connsiteY252" fmla="*/ 1297 h 6858889"/>
              <a:gd name="connsiteX253" fmla="*/ 4451652 w 9667345"/>
              <a:gd name="connsiteY253" fmla="*/ 1297 h 6858889"/>
              <a:gd name="connsiteX254" fmla="*/ 4237284 w 9667345"/>
              <a:gd name="connsiteY254" fmla="*/ 1163894 h 6858889"/>
              <a:gd name="connsiteX255" fmla="*/ 4096821 w 9667345"/>
              <a:gd name="connsiteY255" fmla="*/ 1525207 h 6858889"/>
              <a:gd name="connsiteX256" fmla="*/ 3852633 w 9667345"/>
              <a:gd name="connsiteY256" fmla="*/ 2264687 h 6858889"/>
              <a:gd name="connsiteX257" fmla="*/ 3889369 w 9667345"/>
              <a:gd name="connsiteY257" fmla="*/ 3323990 h 6858889"/>
              <a:gd name="connsiteX258" fmla="*/ 4575258 w 9667345"/>
              <a:gd name="connsiteY258" fmla="*/ 4918347 h 6858889"/>
              <a:gd name="connsiteX259" fmla="*/ 4879953 w 9667345"/>
              <a:gd name="connsiteY259" fmla="*/ 5236440 h 6858889"/>
              <a:gd name="connsiteX260" fmla="*/ 6285442 w 9667345"/>
              <a:gd name="connsiteY260" fmla="*/ 6126323 h 6858889"/>
              <a:gd name="connsiteX261" fmla="*/ 6723685 w 9667345"/>
              <a:gd name="connsiteY261" fmla="*/ 6314327 h 6858889"/>
              <a:gd name="connsiteX262" fmla="*/ 8021989 w 9667345"/>
              <a:gd name="connsiteY262" fmla="*/ 6729231 h 6858889"/>
              <a:gd name="connsiteX263" fmla="*/ 8590321 w 9667345"/>
              <a:gd name="connsiteY263" fmla="*/ 6858456 h 6858889"/>
              <a:gd name="connsiteX264" fmla="*/ 8546671 w 9667345"/>
              <a:gd name="connsiteY264" fmla="*/ 6858456 h 6858889"/>
              <a:gd name="connsiteX265" fmla="*/ 8018964 w 9667345"/>
              <a:gd name="connsiteY265" fmla="*/ 6737876 h 6858889"/>
              <a:gd name="connsiteX266" fmla="*/ 6717202 w 9667345"/>
              <a:gd name="connsiteY266" fmla="*/ 6322971 h 6858889"/>
              <a:gd name="connsiteX267" fmla="*/ 6275502 w 9667345"/>
              <a:gd name="connsiteY267" fmla="*/ 6134968 h 6858889"/>
              <a:gd name="connsiteX268" fmla="*/ 4866555 w 9667345"/>
              <a:gd name="connsiteY268" fmla="*/ 5242923 h 6858889"/>
              <a:gd name="connsiteX269" fmla="*/ 4561860 w 9667345"/>
              <a:gd name="connsiteY269" fmla="*/ 4922669 h 6858889"/>
              <a:gd name="connsiteX270" fmla="*/ 3875971 w 9667345"/>
              <a:gd name="connsiteY270" fmla="*/ 3326151 h 6858889"/>
              <a:gd name="connsiteX271" fmla="*/ 3839235 w 9667345"/>
              <a:gd name="connsiteY271" fmla="*/ 2262526 h 6858889"/>
              <a:gd name="connsiteX272" fmla="*/ 4083423 w 9667345"/>
              <a:gd name="connsiteY272" fmla="*/ 1523045 h 6858889"/>
              <a:gd name="connsiteX273" fmla="*/ 4223886 w 9667345"/>
              <a:gd name="connsiteY273" fmla="*/ 1161733 h 6858889"/>
              <a:gd name="connsiteX274" fmla="*/ 4438253 w 9667345"/>
              <a:gd name="connsiteY274" fmla="*/ 1297 h 6858889"/>
              <a:gd name="connsiteX275" fmla="*/ 3715197 w 9667345"/>
              <a:gd name="connsiteY275" fmla="*/ 1297 h 6858889"/>
              <a:gd name="connsiteX276" fmla="*/ 3728595 w 9667345"/>
              <a:gd name="connsiteY276" fmla="*/ 1297 h 6858889"/>
              <a:gd name="connsiteX277" fmla="*/ 3531083 w 9667345"/>
              <a:gd name="connsiteY277" fmla="*/ 1357948 h 6858889"/>
              <a:gd name="connsiteX278" fmla="*/ 3410501 w 9667345"/>
              <a:gd name="connsiteY278" fmla="*/ 1704998 h 6858889"/>
              <a:gd name="connsiteX279" fmla="*/ 3186194 w 9667345"/>
              <a:gd name="connsiteY279" fmla="*/ 2479486 h 6858889"/>
              <a:gd name="connsiteX280" fmla="*/ 3259665 w 9667345"/>
              <a:gd name="connsiteY280" fmla="*/ 3549162 h 6858889"/>
              <a:gd name="connsiteX281" fmla="*/ 4012544 w 9667345"/>
              <a:gd name="connsiteY281" fmla="*/ 5147409 h 6858889"/>
              <a:gd name="connsiteX282" fmla="*/ 4330638 w 9667345"/>
              <a:gd name="connsiteY282" fmla="*/ 5463341 h 6858889"/>
              <a:gd name="connsiteX283" fmla="*/ 5776320 w 9667345"/>
              <a:gd name="connsiteY283" fmla="*/ 6347174 h 6858889"/>
              <a:gd name="connsiteX284" fmla="*/ 6221478 w 9667345"/>
              <a:gd name="connsiteY284" fmla="*/ 6539067 h 6858889"/>
              <a:gd name="connsiteX285" fmla="*/ 7132106 w 9667345"/>
              <a:gd name="connsiteY285" fmla="*/ 6858889 h 6858889"/>
              <a:gd name="connsiteX286" fmla="*/ 7102285 w 9667345"/>
              <a:gd name="connsiteY286" fmla="*/ 6858889 h 6858889"/>
              <a:gd name="connsiteX287" fmla="*/ 6214995 w 9667345"/>
              <a:gd name="connsiteY287" fmla="*/ 6546414 h 6858889"/>
              <a:gd name="connsiteX288" fmla="*/ 5769837 w 9667345"/>
              <a:gd name="connsiteY288" fmla="*/ 6356249 h 6858889"/>
              <a:gd name="connsiteX289" fmla="*/ 4320697 w 9667345"/>
              <a:gd name="connsiteY289" fmla="*/ 5468095 h 6858889"/>
              <a:gd name="connsiteX290" fmla="*/ 3999578 w 9667345"/>
              <a:gd name="connsiteY290" fmla="*/ 5152162 h 6858889"/>
              <a:gd name="connsiteX291" fmla="*/ 3243243 w 9667345"/>
              <a:gd name="connsiteY291" fmla="*/ 3549594 h 6858889"/>
              <a:gd name="connsiteX292" fmla="*/ 3172796 w 9667345"/>
              <a:gd name="connsiteY292" fmla="*/ 2477758 h 6858889"/>
              <a:gd name="connsiteX293" fmla="*/ 3397102 w 9667345"/>
              <a:gd name="connsiteY293" fmla="*/ 1703270 h 6858889"/>
              <a:gd name="connsiteX294" fmla="*/ 3514226 w 9667345"/>
              <a:gd name="connsiteY294" fmla="*/ 1356220 h 6858889"/>
              <a:gd name="connsiteX295" fmla="*/ 3715197 w 9667345"/>
              <a:gd name="connsiteY295" fmla="*/ 1297 h 6858889"/>
              <a:gd name="connsiteX296" fmla="*/ 3566955 w 9667345"/>
              <a:gd name="connsiteY296" fmla="*/ 1297 h 6858889"/>
              <a:gd name="connsiteX297" fmla="*/ 3583809 w 9667345"/>
              <a:gd name="connsiteY297" fmla="*/ 1297 h 6858889"/>
              <a:gd name="connsiteX298" fmla="*/ 3386299 w 9667345"/>
              <a:gd name="connsiteY298" fmla="*/ 1395117 h 6858889"/>
              <a:gd name="connsiteX299" fmla="*/ 3272631 w 9667345"/>
              <a:gd name="connsiteY299" fmla="*/ 1740006 h 6858889"/>
              <a:gd name="connsiteX300" fmla="*/ 3055239 w 9667345"/>
              <a:gd name="connsiteY300" fmla="*/ 2520545 h 6858889"/>
              <a:gd name="connsiteX301" fmla="*/ 3132169 w 9667345"/>
              <a:gd name="connsiteY301" fmla="*/ 3592381 h 6858889"/>
              <a:gd name="connsiteX302" fmla="*/ 3898445 w 9667345"/>
              <a:gd name="connsiteY302" fmla="*/ 5192789 h 6858889"/>
              <a:gd name="connsiteX303" fmla="*/ 4223022 w 9667345"/>
              <a:gd name="connsiteY303" fmla="*/ 5508721 h 6858889"/>
              <a:gd name="connsiteX304" fmla="*/ 5675619 w 9667345"/>
              <a:gd name="connsiteY304" fmla="*/ 6392554 h 6858889"/>
              <a:gd name="connsiteX305" fmla="*/ 6120777 w 9667345"/>
              <a:gd name="connsiteY305" fmla="*/ 6584447 h 6858889"/>
              <a:gd name="connsiteX306" fmla="*/ 6884460 w 9667345"/>
              <a:gd name="connsiteY306" fmla="*/ 6858024 h 6858889"/>
              <a:gd name="connsiteX307" fmla="*/ 6853343 w 9667345"/>
              <a:gd name="connsiteY307" fmla="*/ 6858024 h 6858889"/>
              <a:gd name="connsiteX308" fmla="*/ 6113862 w 9667345"/>
              <a:gd name="connsiteY308" fmla="*/ 6590931 h 6858889"/>
              <a:gd name="connsiteX309" fmla="*/ 5665247 w 9667345"/>
              <a:gd name="connsiteY309" fmla="*/ 6399037 h 6858889"/>
              <a:gd name="connsiteX310" fmla="*/ 4209623 w 9667345"/>
              <a:gd name="connsiteY310" fmla="*/ 5513043 h 6858889"/>
              <a:gd name="connsiteX311" fmla="*/ 3888505 w 9667345"/>
              <a:gd name="connsiteY311" fmla="*/ 5197111 h 6858889"/>
              <a:gd name="connsiteX312" fmla="*/ 3118771 w 9667345"/>
              <a:gd name="connsiteY312" fmla="*/ 3594543 h 6858889"/>
              <a:gd name="connsiteX313" fmla="*/ 3038384 w 9667345"/>
              <a:gd name="connsiteY313" fmla="*/ 2520545 h 6858889"/>
              <a:gd name="connsiteX314" fmla="*/ 3259234 w 9667345"/>
              <a:gd name="connsiteY314" fmla="*/ 1737845 h 6858889"/>
              <a:gd name="connsiteX315" fmla="*/ 3372899 w 9667345"/>
              <a:gd name="connsiteY315" fmla="*/ 1395117 h 6858889"/>
              <a:gd name="connsiteX316" fmla="*/ 3566955 w 9667345"/>
              <a:gd name="connsiteY316" fmla="*/ 1297 h 6858889"/>
              <a:gd name="connsiteX317" fmla="*/ 3423467 w 9667345"/>
              <a:gd name="connsiteY317" fmla="*/ 1297 h 6858889"/>
              <a:gd name="connsiteX318" fmla="*/ 3436865 w 9667345"/>
              <a:gd name="connsiteY318" fmla="*/ 1297 h 6858889"/>
              <a:gd name="connsiteX319" fmla="*/ 3246268 w 9667345"/>
              <a:gd name="connsiteY319" fmla="*/ 1434446 h 6858889"/>
              <a:gd name="connsiteX320" fmla="*/ 3135627 w 9667345"/>
              <a:gd name="connsiteY320" fmla="*/ 1775013 h 6858889"/>
              <a:gd name="connsiteX321" fmla="*/ 2921258 w 9667345"/>
              <a:gd name="connsiteY321" fmla="*/ 2563764 h 6858889"/>
              <a:gd name="connsiteX322" fmla="*/ 3005104 w 9667345"/>
              <a:gd name="connsiteY322" fmla="*/ 3637761 h 6858889"/>
              <a:gd name="connsiteX323" fmla="*/ 3788238 w 9667345"/>
              <a:gd name="connsiteY323" fmla="*/ 5238168 h 6858889"/>
              <a:gd name="connsiteX324" fmla="*/ 4112813 w 9667345"/>
              <a:gd name="connsiteY324" fmla="*/ 5554101 h 6858889"/>
              <a:gd name="connsiteX325" fmla="*/ 5575351 w 9667345"/>
              <a:gd name="connsiteY325" fmla="*/ 6435773 h 6858889"/>
              <a:gd name="connsiteX326" fmla="*/ 6020509 w 9667345"/>
              <a:gd name="connsiteY326" fmla="*/ 6627666 h 6858889"/>
              <a:gd name="connsiteX327" fmla="*/ 6644161 w 9667345"/>
              <a:gd name="connsiteY327" fmla="*/ 6857592 h 6858889"/>
              <a:gd name="connsiteX328" fmla="*/ 6615637 w 9667345"/>
              <a:gd name="connsiteY328" fmla="*/ 6857592 h 6858889"/>
              <a:gd name="connsiteX329" fmla="*/ 6014025 w 9667345"/>
              <a:gd name="connsiteY329" fmla="*/ 6635877 h 6858889"/>
              <a:gd name="connsiteX330" fmla="*/ 5565410 w 9667345"/>
              <a:gd name="connsiteY330" fmla="*/ 6443985 h 6858889"/>
              <a:gd name="connsiteX331" fmla="*/ 4102871 w 9667345"/>
              <a:gd name="connsiteY331" fmla="*/ 5557991 h 6858889"/>
              <a:gd name="connsiteX332" fmla="*/ 3774838 w 9667345"/>
              <a:gd name="connsiteY332" fmla="*/ 5242058 h 6858889"/>
              <a:gd name="connsiteX333" fmla="*/ 2991707 w 9667345"/>
              <a:gd name="connsiteY333" fmla="*/ 3639491 h 6858889"/>
              <a:gd name="connsiteX334" fmla="*/ 2907861 w 9667345"/>
              <a:gd name="connsiteY334" fmla="*/ 2563764 h 6858889"/>
              <a:gd name="connsiteX335" fmla="*/ 3122227 w 9667345"/>
              <a:gd name="connsiteY335" fmla="*/ 1775013 h 6858889"/>
              <a:gd name="connsiteX336" fmla="*/ 3232870 w 9667345"/>
              <a:gd name="connsiteY336" fmla="*/ 1432286 h 6858889"/>
              <a:gd name="connsiteX337" fmla="*/ 3423467 w 9667345"/>
              <a:gd name="connsiteY337" fmla="*/ 1297 h 6858889"/>
              <a:gd name="connsiteX338" fmla="*/ 3276521 w 9667345"/>
              <a:gd name="connsiteY338" fmla="*/ 1297 h 6858889"/>
              <a:gd name="connsiteX339" fmla="*/ 3293377 w 9667345"/>
              <a:gd name="connsiteY339" fmla="*/ 1297 h 6858889"/>
              <a:gd name="connsiteX340" fmla="*/ 3105805 w 9667345"/>
              <a:gd name="connsiteY340" fmla="*/ 1473776 h 6858889"/>
              <a:gd name="connsiteX341" fmla="*/ 2998622 w 9667345"/>
              <a:gd name="connsiteY341" fmla="*/ 1812614 h 6858889"/>
              <a:gd name="connsiteX342" fmla="*/ 2787713 w 9667345"/>
              <a:gd name="connsiteY342" fmla="*/ 2607848 h 6858889"/>
              <a:gd name="connsiteX343" fmla="*/ 2881497 w 9667345"/>
              <a:gd name="connsiteY343" fmla="*/ 3683573 h 6858889"/>
              <a:gd name="connsiteX344" fmla="*/ 3674571 w 9667345"/>
              <a:gd name="connsiteY344" fmla="*/ 5283981 h 6858889"/>
              <a:gd name="connsiteX345" fmla="*/ 4002604 w 9667345"/>
              <a:gd name="connsiteY345" fmla="*/ 5599913 h 6858889"/>
              <a:gd name="connsiteX346" fmla="*/ 5471625 w 9667345"/>
              <a:gd name="connsiteY346" fmla="*/ 6481585 h 6858889"/>
              <a:gd name="connsiteX347" fmla="*/ 5920240 w 9667345"/>
              <a:gd name="connsiteY347" fmla="*/ 6673478 h 6858889"/>
              <a:gd name="connsiteX348" fmla="*/ 6409913 w 9667345"/>
              <a:gd name="connsiteY348" fmla="*/ 6858024 h 6858889"/>
              <a:gd name="connsiteX349" fmla="*/ 6380956 w 9667345"/>
              <a:gd name="connsiteY349" fmla="*/ 6858024 h 6858889"/>
              <a:gd name="connsiteX350" fmla="*/ 5913757 w 9667345"/>
              <a:gd name="connsiteY350" fmla="*/ 6679961 h 6858889"/>
              <a:gd name="connsiteX351" fmla="*/ 5465142 w 9667345"/>
              <a:gd name="connsiteY351" fmla="*/ 6488068 h 6858889"/>
              <a:gd name="connsiteX352" fmla="*/ 3992663 w 9667345"/>
              <a:gd name="connsiteY352" fmla="*/ 5604236 h 6858889"/>
              <a:gd name="connsiteX353" fmla="*/ 3664629 w 9667345"/>
              <a:gd name="connsiteY353" fmla="*/ 5288303 h 6858889"/>
              <a:gd name="connsiteX354" fmla="*/ 2864642 w 9667345"/>
              <a:gd name="connsiteY354" fmla="*/ 3685734 h 6858889"/>
              <a:gd name="connsiteX355" fmla="*/ 2774314 w 9667345"/>
              <a:gd name="connsiteY355" fmla="*/ 2605687 h 6858889"/>
              <a:gd name="connsiteX356" fmla="*/ 2981766 w 9667345"/>
              <a:gd name="connsiteY356" fmla="*/ 1810454 h 6858889"/>
              <a:gd name="connsiteX357" fmla="*/ 3092408 w 9667345"/>
              <a:gd name="connsiteY357" fmla="*/ 1471615 h 6858889"/>
              <a:gd name="connsiteX358" fmla="*/ 3276521 w 9667345"/>
              <a:gd name="connsiteY358" fmla="*/ 1297 h 6858889"/>
              <a:gd name="connsiteX359" fmla="*/ 3132169 w 9667345"/>
              <a:gd name="connsiteY359" fmla="*/ 1297 h 6858889"/>
              <a:gd name="connsiteX360" fmla="*/ 3145566 w 9667345"/>
              <a:gd name="connsiteY360" fmla="*/ 1297 h 6858889"/>
              <a:gd name="connsiteX361" fmla="*/ 2964911 w 9667345"/>
              <a:gd name="connsiteY361" fmla="*/ 1513105 h 6858889"/>
              <a:gd name="connsiteX362" fmla="*/ 2857726 w 9667345"/>
              <a:gd name="connsiteY362" fmla="*/ 1845461 h 6858889"/>
              <a:gd name="connsiteX363" fmla="*/ 2653732 w 9667345"/>
              <a:gd name="connsiteY363" fmla="*/ 2651066 h 6858889"/>
              <a:gd name="connsiteX364" fmla="*/ 2754001 w 9667345"/>
              <a:gd name="connsiteY364" fmla="*/ 3728954 h 6858889"/>
              <a:gd name="connsiteX365" fmla="*/ 3563930 w 9667345"/>
              <a:gd name="connsiteY365" fmla="*/ 5329361 h 6858889"/>
              <a:gd name="connsiteX366" fmla="*/ 3895420 w 9667345"/>
              <a:gd name="connsiteY366" fmla="*/ 5643133 h 6858889"/>
              <a:gd name="connsiteX367" fmla="*/ 5371356 w 9667345"/>
              <a:gd name="connsiteY367" fmla="*/ 6524804 h 6858889"/>
              <a:gd name="connsiteX368" fmla="*/ 5819971 w 9667345"/>
              <a:gd name="connsiteY368" fmla="*/ 6718859 h 6858889"/>
              <a:gd name="connsiteX369" fmla="*/ 6183877 w 9667345"/>
              <a:gd name="connsiteY369" fmla="*/ 6858024 h 6858889"/>
              <a:gd name="connsiteX370" fmla="*/ 6156648 w 9667345"/>
              <a:gd name="connsiteY370" fmla="*/ 6858024 h 6858889"/>
              <a:gd name="connsiteX371" fmla="*/ 5813056 w 9667345"/>
              <a:gd name="connsiteY371" fmla="*/ 6725342 h 6858889"/>
              <a:gd name="connsiteX372" fmla="*/ 5364441 w 9667345"/>
              <a:gd name="connsiteY372" fmla="*/ 6531288 h 6858889"/>
              <a:gd name="connsiteX373" fmla="*/ 3882022 w 9667345"/>
              <a:gd name="connsiteY373" fmla="*/ 5649616 h 6858889"/>
              <a:gd name="connsiteX374" fmla="*/ 3550532 w 9667345"/>
              <a:gd name="connsiteY374" fmla="*/ 5333683 h 6858889"/>
              <a:gd name="connsiteX375" fmla="*/ 2740603 w 9667345"/>
              <a:gd name="connsiteY375" fmla="*/ 3728954 h 6858889"/>
              <a:gd name="connsiteX376" fmla="*/ 2640334 w 9667345"/>
              <a:gd name="connsiteY376" fmla="*/ 2648906 h 6858889"/>
              <a:gd name="connsiteX377" fmla="*/ 2844328 w 9667345"/>
              <a:gd name="connsiteY377" fmla="*/ 1845461 h 6858889"/>
              <a:gd name="connsiteX378" fmla="*/ 2948056 w 9667345"/>
              <a:gd name="connsiteY378" fmla="*/ 1510944 h 6858889"/>
              <a:gd name="connsiteX379" fmla="*/ 3132169 w 9667345"/>
              <a:gd name="connsiteY379" fmla="*/ 1297 h 6858889"/>
              <a:gd name="connsiteX380" fmla="*/ 1666605 w 9667345"/>
              <a:gd name="connsiteY380" fmla="*/ 1297 h 6858889"/>
              <a:gd name="connsiteX381" fmla="*/ 1680003 w 9667345"/>
              <a:gd name="connsiteY381" fmla="*/ 1297 h 6858889"/>
              <a:gd name="connsiteX382" fmla="*/ 1680003 w 9667345"/>
              <a:gd name="connsiteY382" fmla="*/ 19882 h 6858889"/>
              <a:gd name="connsiteX383" fmla="*/ 1549482 w 9667345"/>
              <a:gd name="connsiteY383" fmla="*/ 1899053 h 6858889"/>
              <a:gd name="connsiteX384" fmla="*/ 1482491 w 9667345"/>
              <a:gd name="connsiteY384" fmla="*/ 2186028 h 6858889"/>
              <a:gd name="connsiteX385" fmla="*/ 1321715 w 9667345"/>
              <a:gd name="connsiteY385" fmla="*/ 3078073 h 6858889"/>
              <a:gd name="connsiteX386" fmla="*/ 1495889 w 9667345"/>
              <a:gd name="connsiteY386" fmla="*/ 4176705 h 6858889"/>
              <a:gd name="connsiteX387" fmla="*/ 2439797 w 9667345"/>
              <a:gd name="connsiteY387" fmla="*/ 5785324 h 6858889"/>
              <a:gd name="connsiteX388" fmla="*/ 2801111 w 9667345"/>
              <a:gd name="connsiteY388" fmla="*/ 6095205 h 6858889"/>
              <a:gd name="connsiteX389" fmla="*/ 4120160 w 9667345"/>
              <a:gd name="connsiteY389" fmla="*/ 6858024 h 6858889"/>
              <a:gd name="connsiteX390" fmla="*/ 4095092 w 9667345"/>
              <a:gd name="connsiteY390" fmla="*/ 6858024 h 6858889"/>
              <a:gd name="connsiteX391" fmla="*/ 2790738 w 9667345"/>
              <a:gd name="connsiteY391" fmla="*/ 6101688 h 6858889"/>
              <a:gd name="connsiteX392" fmla="*/ 2425967 w 9667345"/>
              <a:gd name="connsiteY392" fmla="*/ 5789646 h 6858889"/>
              <a:gd name="connsiteX393" fmla="*/ 1479034 w 9667345"/>
              <a:gd name="connsiteY393" fmla="*/ 4178866 h 6858889"/>
              <a:gd name="connsiteX394" fmla="*/ 1308318 w 9667345"/>
              <a:gd name="connsiteY394" fmla="*/ 3078073 h 6858889"/>
              <a:gd name="connsiteX395" fmla="*/ 1469093 w 9667345"/>
              <a:gd name="connsiteY395" fmla="*/ 2183867 h 6858889"/>
              <a:gd name="connsiteX396" fmla="*/ 1536083 w 9667345"/>
              <a:gd name="connsiteY396" fmla="*/ 1899053 h 6858889"/>
              <a:gd name="connsiteX397" fmla="*/ 1666605 w 9667345"/>
              <a:gd name="connsiteY397" fmla="*/ 19882 h 6858889"/>
              <a:gd name="connsiteX398" fmla="*/ 1666605 w 9667345"/>
              <a:gd name="connsiteY398" fmla="*/ 1297 h 6858889"/>
              <a:gd name="connsiteX399" fmla="*/ 5716245 w 9667345"/>
              <a:gd name="connsiteY399" fmla="*/ 865 h 6858889"/>
              <a:gd name="connsiteX400" fmla="*/ 5729643 w 9667345"/>
              <a:gd name="connsiteY400" fmla="*/ 865 h 6858889"/>
              <a:gd name="connsiteX401" fmla="*/ 5508793 w 9667345"/>
              <a:gd name="connsiteY401" fmla="*/ 814683 h 6858889"/>
              <a:gd name="connsiteX402" fmla="*/ 5334619 w 9667345"/>
              <a:gd name="connsiteY402" fmla="*/ 1194580 h 6858889"/>
              <a:gd name="connsiteX403" fmla="*/ 5053695 w 9667345"/>
              <a:gd name="connsiteY403" fmla="*/ 1878739 h 6858889"/>
              <a:gd name="connsiteX404" fmla="*/ 5023441 w 9667345"/>
              <a:gd name="connsiteY404" fmla="*/ 2919458 h 6858889"/>
              <a:gd name="connsiteX405" fmla="*/ 5585723 w 9667345"/>
              <a:gd name="connsiteY405" fmla="*/ 4509493 h 6858889"/>
              <a:gd name="connsiteX406" fmla="*/ 7626966 w 9667345"/>
              <a:gd name="connsiteY406" fmla="*/ 5911524 h 6858889"/>
              <a:gd name="connsiteX407" fmla="*/ 9666913 w 9667345"/>
              <a:gd name="connsiteY407" fmla="*/ 6434908 h 6858889"/>
              <a:gd name="connsiteX408" fmla="*/ 9666913 w 9667345"/>
              <a:gd name="connsiteY408" fmla="*/ 6443985 h 6858889"/>
              <a:gd name="connsiteX409" fmla="*/ 7617025 w 9667345"/>
              <a:gd name="connsiteY409" fmla="*/ 5919736 h 6858889"/>
              <a:gd name="connsiteX410" fmla="*/ 6425472 w 9667345"/>
              <a:gd name="connsiteY410" fmla="*/ 5306455 h 6858889"/>
              <a:gd name="connsiteX411" fmla="*/ 5572325 w 9667345"/>
              <a:gd name="connsiteY411" fmla="*/ 4513383 h 6858889"/>
              <a:gd name="connsiteX412" fmla="*/ 5006586 w 9667345"/>
              <a:gd name="connsiteY412" fmla="*/ 2921188 h 6858889"/>
              <a:gd name="connsiteX413" fmla="*/ 5036839 w 9667345"/>
              <a:gd name="connsiteY413" fmla="*/ 1876146 h 6858889"/>
              <a:gd name="connsiteX414" fmla="*/ 5321221 w 9667345"/>
              <a:gd name="connsiteY414" fmla="*/ 1192419 h 6858889"/>
              <a:gd name="connsiteX415" fmla="*/ 5495395 w 9667345"/>
              <a:gd name="connsiteY415" fmla="*/ 812521 h 6858889"/>
              <a:gd name="connsiteX416" fmla="*/ 5716245 w 9667345"/>
              <a:gd name="connsiteY416" fmla="*/ 865 h 6858889"/>
              <a:gd name="connsiteX417" fmla="*/ 4726525 w 9667345"/>
              <a:gd name="connsiteY417" fmla="*/ 865 h 6858889"/>
              <a:gd name="connsiteX418" fmla="*/ 4739923 w 9667345"/>
              <a:gd name="connsiteY418" fmla="*/ 865 h 6858889"/>
              <a:gd name="connsiteX419" fmla="*/ 4519073 w 9667345"/>
              <a:gd name="connsiteY419" fmla="*/ 1085235 h 6858889"/>
              <a:gd name="connsiteX420" fmla="*/ 4371695 w 9667345"/>
              <a:gd name="connsiteY420" fmla="*/ 1453030 h 6858889"/>
              <a:gd name="connsiteX421" fmla="*/ 4120592 w 9667345"/>
              <a:gd name="connsiteY421" fmla="*/ 2177816 h 6858889"/>
              <a:gd name="connsiteX422" fmla="*/ 4140473 w 9667345"/>
              <a:gd name="connsiteY422" fmla="*/ 3234958 h 6858889"/>
              <a:gd name="connsiteX423" fmla="*/ 4799566 w 9667345"/>
              <a:gd name="connsiteY423" fmla="*/ 4827154 h 6858889"/>
              <a:gd name="connsiteX424" fmla="*/ 5097346 w 9667345"/>
              <a:gd name="connsiteY424" fmla="*/ 5145247 h 6858889"/>
              <a:gd name="connsiteX425" fmla="*/ 6485979 w 9667345"/>
              <a:gd name="connsiteY425" fmla="*/ 6037292 h 6858889"/>
              <a:gd name="connsiteX426" fmla="*/ 6924221 w 9667345"/>
              <a:gd name="connsiteY426" fmla="*/ 6225295 h 6858889"/>
              <a:gd name="connsiteX427" fmla="*/ 8222527 w 9667345"/>
              <a:gd name="connsiteY427" fmla="*/ 6631988 h 6858889"/>
              <a:gd name="connsiteX428" fmla="*/ 9362217 w 9667345"/>
              <a:gd name="connsiteY428" fmla="*/ 6858024 h 6858889"/>
              <a:gd name="connsiteX429" fmla="*/ 9306465 w 9667345"/>
              <a:gd name="connsiteY429" fmla="*/ 6858024 h 6858889"/>
              <a:gd name="connsiteX430" fmla="*/ 8216044 w 9667345"/>
              <a:gd name="connsiteY430" fmla="*/ 6640632 h 6858889"/>
              <a:gd name="connsiteX431" fmla="*/ 6917738 w 9667345"/>
              <a:gd name="connsiteY431" fmla="*/ 6233939 h 6858889"/>
              <a:gd name="connsiteX432" fmla="*/ 6479496 w 9667345"/>
              <a:gd name="connsiteY432" fmla="*/ 6045935 h 6858889"/>
              <a:gd name="connsiteX433" fmla="*/ 5083948 w 9667345"/>
              <a:gd name="connsiteY433" fmla="*/ 5151730 h 6858889"/>
              <a:gd name="connsiteX434" fmla="*/ 4786168 w 9667345"/>
              <a:gd name="connsiteY434" fmla="*/ 4831476 h 6858889"/>
              <a:gd name="connsiteX435" fmla="*/ 4127075 w 9667345"/>
              <a:gd name="connsiteY435" fmla="*/ 3234958 h 6858889"/>
              <a:gd name="connsiteX436" fmla="*/ 4107194 w 9667345"/>
              <a:gd name="connsiteY436" fmla="*/ 2177816 h 6858889"/>
              <a:gd name="connsiteX437" fmla="*/ 4358298 w 9667345"/>
              <a:gd name="connsiteY437" fmla="*/ 1450869 h 6858889"/>
              <a:gd name="connsiteX438" fmla="*/ 4505676 w 9667345"/>
              <a:gd name="connsiteY438" fmla="*/ 1083075 h 6858889"/>
              <a:gd name="connsiteX439" fmla="*/ 4726525 w 9667345"/>
              <a:gd name="connsiteY439" fmla="*/ 865 h 6858889"/>
              <a:gd name="connsiteX440" fmla="*/ 4581741 w 9667345"/>
              <a:gd name="connsiteY440" fmla="*/ 865 h 6858889"/>
              <a:gd name="connsiteX441" fmla="*/ 4595139 w 9667345"/>
              <a:gd name="connsiteY441" fmla="*/ 865 h 6858889"/>
              <a:gd name="connsiteX442" fmla="*/ 4377746 w 9667345"/>
              <a:gd name="connsiteY442" fmla="*/ 1124132 h 6858889"/>
              <a:gd name="connsiteX443" fmla="*/ 4233826 w 9667345"/>
              <a:gd name="connsiteY443" fmla="*/ 1489767 h 6858889"/>
              <a:gd name="connsiteX444" fmla="*/ 3986180 w 9667345"/>
              <a:gd name="connsiteY444" fmla="*/ 2221036 h 6858889"/>
              <a:gd name="connsiteX445" fmla="*/ 4012976 w 9667345"/>
              <a:gd name="connsiteY445" fmla="*/ 3278178 h 6858889"/>
              <a:gd name="connsiteX446" fmla="*/ 4685467 w 9667345"/>
              <a:gd name="connsiteY446" fmla="*/ 4872534 h 6858889"/>
              <a:gd name="connsiteX447" fmla="*/ 4986705 w 9667345"/>
              <a:gd name="connsiteY447" fmla="*/ 5190628 h 6858889"/>
              <a:gd name="connsiteX448" fmla="*/ 6385711 w 9667345"/>
              <a:gd name="connsiteY448" fmla="*/ 6082672 h 6858889"/>
              <a:gd name="connsiteX449" fmla="*/ 6823953 w 9667345"/>
              <a:gd name="connsiteY449" fmla="*/ 6270675 h 6858889"/>
              <a:gd name="connsiteX450" fmla="*/ 8122259 w 9667345"/>
              <a:gd name="connsiteY450" fmla="*/ 6681690 h 6858889"/>
              <a:gd name="connsiteX451" fmla="*/ 8951634 w 9667345"/>
              <a:gd name="connsiteY451" fmla="*/ 6858456 h 6858889"/>
              <a:gd name="connsiteX452" fmla="*/ 8900205 w 9667345"/>
              <a:gd name="connsiteY452" fmla="*/ 6858456 h 6858889"/>
              <a:gd name="connsiteX453" fmla="*/ 8115776 w 9667345"/>
              <a:gd name="connsiteY453" fmla="*/ 6690766 h 6858889"/>
              <a:gd name="connsiteX454" fmla="*/ 6817470 w 9667345"/>
              <a:gd name="connsiteY454" fmla="*/ 6277591 h 6858889"/>
              <a:gd name="connsiteX455" fmla="*/ 6375770 w 9667345"/>
              <a:gd name="connsiteY455" fmla="*/ 6089588 h 6858889"/>
              <a:gd name="connsiteX456" fmla="*/ 4976765 w 9667345"/>
              <a:gd name="connsiteY456" fmla="*/ 5197543 h 6858889"/>
              <a:gd name="connsiteX457" fmla="*/ 4675527 w 9667345"/>
              <a:gd name="connsiteY457" fmla="*/ 4877289 h 6858889"/>
              <a:gd name="connsiteX458" fmla="*/ 3999578 w 9667345"/>
              <a:gd name="connsiteY458" fmla="*/ 3280771 h 6858889"/>
              <a:gd name="connsiteX459" fmla="*/ 3972783 w 9667345"/>
              <a:gd name="connsiteY459" fmla="*/ 2219307 h 6858889"/>
              <a:gd name="connsiteX460" fmla="*/ 4220429 w 9667345"/>
              <a:gd name="connsiteY460" fmla="*/ 1488038 h 6858889"/>
              <a:gd name="connsiteX461" fmla="*/ 4364348 w 9667345"/>
              <a:gd name="connsiteY461" fmla="*/ 1122404 h 6858889"/>
              <a:gd name="connsiteX462" fmla="*/ 4581741 w 9667345"/>
              <a:gd name="connsiteY462" fmla="*/ 865 h 6858889"/>
              <a:gd name="connsiteX463" fmla="*/ 4293901 w 9667345"/>
              <a:gd name="connsiteY463" fmla="*/ 865 h 6858889"/>
              <a:gd name="connsiteX464" fmla="*/ 4307299 w 9667345"/>
              <a:gd name="connsiteY464" fmla="*/ 865 h 6858889"/>
              <a:gd name="connsiteX465" fmla="*/ 4096389 w 9667345"/>
              <a:gd name="connsiteY465" fmla="*/ 1202791 h 6858889"/>
              <a:gd name="connsiteX466" fmla="*/ 3959384 w 9667345"/>
              <a:gd name="connsiteY466" fmla="*/ 1561942 h 6858889"/>
              <a:gd name="connsiteX467" fmla="*/ 3721679 w 9667345"/>
              <a:gd name="connsiteY467" fmla="*/ 2305314 h 6858889"/>
              <a:gd name="connsiteX468" fmla="*/ 3761872 w 9667345"/>
              <a:gd name="connsiteY468" fmla="*/ 3368937 h 6858889"/>
              <a:gd name="connsiteX469" fmla="*/ 4461159 w 9667345"/>
              <a:gd name="connsiteY469" fmla="*/ 4965455 h 6858889"/>
              <a:gd name="connsiteX470" fmla="*/ 4768880 w 9667345"/>
              <a:gd name="connsiteY470" fmla="*/ 5281388 h 6858889"/>
              <a:gd name="connsiteX471" fmla="*/ 6181283 w 9667345"/>
              <a:gd name="connsiteY471" fmla="*/ 6171271 h 6858889"/>
              <a:gd name="connsiteX472" fmla="*/ 6622984 w 9667345"/>
              <a:gd name="connsiteY472" fmla="*/ 6359275 h 6858889"/>
              <a:gd name="connsiteX473" fmla="*/ 7921289 w 9667345"/>
              <a:gd name="connsiteY473" fmla="*/ 6776340 h 6858889"/>
              <a:gd name="connsiteX474" fmla="*/ 8257533 w 9667345"/>
              <a:gd name="connsiteY474" fmla="*/ 6857592 h 6858889"/>
              <a:gd name="connsiteX475" fmla="*/ 8219501 w 9667345"/>
              <a:gd name="connsiteY475" fmla="*/ 6857592 h 6858889"/>
              <a:gd name="connsiteX476" fmla="*/ 7917399 w 9667345"/>
              <a:gd name="connsiteY476" fmla="*/ 6784552 h 6858889"/>
              <a:gd name="connsiteX477" fmla="*/ 6615637 w 9667345"/>
              <a:gd name="connsiteY477" fmla="*/ 6367487 h 6858889"/>
              <a:gd name="connsiteX478" fmla="*/ 6173937 w 9667345"/>
              <a:gd name="connsiteY478" fmla="*/ 6177322 h 6858889"/>
              <a:gd name="connsiteX479" fmla="*/ 4755050 w 9667345"/>
              <a:gd name="connsiteY479" fmla="*/ 5287439 h 6858889"/>
              <a:gd name="connsiteX480" fmla="*/ 4447329 w 9667345"/>
              <a:gd name="connsiteY480" fmla="*/ 4967184 h 6858889"/>
              <a:gd name="connsiteX481" fmla="*/ 3748043 w 9667345"/>
              <a:gd name="connsiteY481" fmla="*/ 3368937 h 6858889"/>
              <a:gd name="connsiteX482" fmla="*/ 3704392 w 9667345"/>
              <a:gd name="connsiteY482" fmla="*/ 2305314 h 6858889"/>
              <a:gd name="connsiteX483" fmla="*/ 3945554 w 9667345"/>
              <a:gd name="connsiteY483" fmla="*/ 1559782 h 6858889"/>
              <a:gd name="connsiteX484" fmla="*/ 4079533 w 9667345"/>
              <a:gd name="connsiteY484" fmla="*/ 1200631 h 6858889"/>
              <a:gd name="connsiteX485" fmla="*/ 4293901 w 9667345"/>
              <a:gd name="connsiteY485" fmla="*/ 865 h 6858889"/>
              <a:gd name="connsiteX486" fmla="*/ 3858684 w 9667345"/>
              <a:gd name="connsiteY486" fmla="*/ 865 h 6858889"/>
              <a:gd name="connsiteX487" fmla="*/ 3872082 w 9667345"/>
              <a:gd name="connsiteY487" fmla="*/ 865 h 6858889"/>
              <a:gd name="connsiteX488" fmla="*/ 3671113 w 9667345"/>
              <a:gd name="connsiteY488" fmla="*/ 1318619 h 6858889"/>
              <a:gd name="connsiteX489" fmla="*/ 3547506 w 9667345"/>
              <a:gd name="connsiteY489" fmla="*/ 1669558 h 6858889"/>
              <a:gd name="connsiteX490" fmla="*/ 3319740 w 9667345"/>
              <a:gd name="connsiteY490" fmla="*/ 2435835 h 6858889"/>
              <a:gd name="connsiteX491" fmla="*/ 3383272 w 9667345"/>
              <a:gd name="connsiteY491" fmla="*/ 3503350 h 6858889"/>
              <a:gd name="connsiteX492" fmla="*/ 4126211 w 9667345"/>
              <a:gd name="connsiteY492" fmla="*/ 5101596 h 6858889"/>
              <a:gd name="connsiteX493" fmla="*/ 4440846 w 9667345"/>
              <a:gd name="connsiteY493" fmla="*/ 5417529 h 6858889"/>
              <a:gd name="connsiteX494" fmla="*/ 5876588 w 9667345"/>
              <a:gd name="connsiteY494" fmla="*/ 6303522 h 6858889"/>
              <a:gd name="connsiteX495" fmla="*/ 6321746 w 9667345"/>
              <a:gd name="connsiteY495" fmla="*/ 6493687 h 6858889"/>
              <a:gd name="connsiteX496" fmla="*/ 7390557 w 9667345"/>
              <a:gd name="connsiteY496" fmla="*/ 6857592 h 6858889"/>
              <a:gd name="connsiteX497" fmla="*/ 7359439 w 9667345"/>
              <a:gd name="connsiteY497" fmla="*/ 6857592 h 6858889"/>
              <a:gd name="connsiteX498" fmla="*/ 6314831 w 9667345"/>
              <a:gd name="connsiteY498" fmla="*/ 6501898 h 6858889"/>
              <a:gd name="connsiteX499" fmla="*/ 5869673 w 9667345"/>
              <a:gd name="connsiteY499" fmla="*/ 6310005 h 6858889"/>
              <a:gd name="connsiteX500" fmla="*/ 4427449 w 9667345"/>
              <a:gd name="connsiteY500" fmla="*/ 5421850 h 6858889"/>
              <a:gd name="connsiteX501" fmla="*/ 4112813 w 9667345"/>
              <a:gd name="connsiteY501" fmla="*/ 5105917 h 6858889"/>
              <a:gd name="connsiteX502" fmla="*/ 3369875 w 9667345"/>
              <a:gd name="connsiteY502" fmla="*/ 3505511 h 6858889"/>
              <a:gd name="connsiteX503" fmla="*/ 3306342 w 9667345"/>
              <a:gd name="connsiteY503" fmla="*/ 2433674 h 6858889"/>
              <a:gd name="connsiteX504" fmla="*/ 3534108 w 9667345"/>
              <a:gd name="connsiteY504" fmla="*/ 1667398 h 6858889"/>
              <a:gd name="connsiteX505" fmla="*/ 3657715 w 9667345"/>
              <a:gd name="connsiteY505" fmla="*/ 1316458 h 6858889"/>
              <a:gd name="connsiteX506" fmla="*/ 3858684 w 9667345"/>
              <a:gd name="connsiteY506" fmla="*/ 865 h 6858889"/>
              <a:gd name="connsiteX507" fmla="*/ 2985225 w 9667345"/>
              <a:gd name="connsiteY507" fmla="*/ 865 h 6858889"/>
              <a:gd name="connsiteX508" fmla="*/ 2998622 w 9667345"/>
              <a:gd name="connsiteY508" fmla="*/ 865 h 6858889"/>
              <a:gd name="connsiteX509" fmla="*/ 2821423 w 9667345"/>
              <a:gd name="connsiteY509" fmla="*/ 1551570 h 6858889"/>
              <a:gd name="connsiteX510" fmla="*/ 2721154 w 9667345"/>
              <a:gd name="connsiteY510" fmla="*/ 1880037 h 6858889"/>
              <a:gd name="connsiteX511" fmla="*/ 2520184 w 9667345"/>
              <a:gd name="connsiteY511" fmla="*/ 2691693 h 6858889"/>
              <a:gd name="connsiteX512" fmla="*/ 2627369 w 9667345"/>
              <a:gd name="connsiteY512" fmla="*/ 3771741 h 6858889"/>
              <a:gd name="connsiteX513" fmla="*/ 3450694 w 9667345"/>
              <a:gd name="connsiteY513" fmla="*/ 5374309 h 6858889"/>
              <a:gd name="connsiteX514" fmla="*/ 3785211 w 9667345"/>
              <a:gd name="connsiteY514" fmla="*/ 5688081 h 6858889"/>
              <a:gd name="connsiteX515" fmla="*/ 5271088 w 9667345"/>
              <a:gd name="connsiteY515" fmla="*/ 6568024 h 6858889"/>
              <a:gd name="connsiteX516" fmla="*/ 5722728 w 9667345"/>
              <a:gd name="connsiteY516" fmla="*/ 6762078 h 6858889"/>
              <a:gd name="connsiteX517" fmla="*/ 5963890 w 9667345"/>
              <a:gd name="connsiteY517" fmla="*/ 6858024 h 6858889"/>
              <a:gd name="connsiteX518" fmla="*/ 5935798 w 9667345"/>
              <a:gd name="connsiteY518" fmla="*/ 6858024 h 6858889"/>
              <a:gd name="connsiteX519" fmla="*/ 5712788 w 9667345"/>
              <a:gd name="connsiteY519" fmla="*/ 6770722 h 6858889"/>
              <a:gd name="connsiteX520" fmla="*/ 5261147 w 9667345"/>
              <a:gd name="connsiteY520" fmla="*/ 6576668 h 6858889"/>
              <a:gd name="connsiteX521" fmla="*/ 3775272 w 9667345"/>
              <a:gd name="connsiteY521" fmla="*/ 5694996 h 6858889"/>
              <a:gd name="connsiteX522" fmla="*/ 3437296 w 9667345"/>
              <a:gd name="connsiteY522" fmla="*/ 5379064 h 6858889"/>
              <a:gd name="connsiteX523" fmla="*/ 2613972 w 9667345"/>
              <a:gd name="connsiteY523" fmla="*/ 3774334 h 6858889"/>
              <a:gd name="connsiteX524" fmla="*/ 2506787 w 9667345"/>
              <a:gd name="connsiteY524" fmla="*/ 2692125 h 6858889"/>
              <a:gd name="connsiteX525" fmla="*/ 2707756 w 9667345"/>
              <a:gd name="connsiteY525" fmla="*/ 1878307 h 6858889"/>
              <a:gd name="connsiteX526" fmla="*/ 2808025 w 9667345"/>
              <a:gd name="connsiteY526" fmla="*/ 1549842 h 6858889"/>
              <a:gd name="connsiteX527" fmla="*/ 2985225 w 9667345"/>
              <a:gd name="connsiteY527" fmla="*/ 865 h 6858889"/>
              <a:gd name="connsiteX528" fmla="*/ 2838710 w 9667345"/>
              <a:gd name="connsiteY528" fmla="*/ 865 h 6858889"/>
              <a:gd name="connsiteX529" fmla="*/ 2855567 w 9667345"/>
              <a:gd name="connsiteY529" fmla="*/ 865 h 6858889"/>
              <a:gd name="connsiteX530" fmla="*/ 2681392 w 9667345"/>
              <a:gd name="connsiteY530" fmla="*/ 1588739 h 6858889"/>
              <a:gd name="connsiteX531" fmla="*/ 2584149 w 9667345"/>
              <a:gd name="connsiteY531" fmla="*/ 1915044 h 6858889"/>
              <a:gd name="connsiteX532" fmla="*/ 2390096 w 9667345"/>
              <a:gd name="connsiteY532" fmla="*/ 2734912 h 6858889"/>
              <a:gd name="connsiteX533" fmla="*/ 2503762 w 9667345"/>
              <a:gd name="connsiteY533" fmla="*/ 3817122 h 6858889"/>
              <a:gd name="connsiteX534" fmla="*/ 3340485 w 9667345"/>
              <a:gd name="connsiteY534" fmla="*/ 5419690 h 6858889"/>
              <a:gd name="connsiteX535" fmla="*/ 3675002 w 9667345"/>
              <a:gd name="connsiteY535" fmla="*/ 5733461 h 6858889"/>
              <a:gd name="connsiteX536" fmla="*/ 5170819 w 9667345"/>
              <a:gd name="connsiteY536" fmla="*/ 6613403 h 6858889"/>
              <a:gd name="connsiteX537" fmla="*/ 5622459 w 9667345"/>
              <a:gd name="connsiteY537" fmla="*/ 6807459 h 6858889"/>
              <a:gd name="connsiteX538" fmla="*/ 5747363 w 9667345"/>
              <a:gd name="connsiteY538" fmla="*/ 6858024 h 6858889"/>
              <a:gd name="connsiteX539" fmla="*/ 5722728 w 9667345"/>
              <a:gd name="connsiteY539" fmla="*/ 6858024 h 6858889"/>
              <a:gd name="connsiteX540" fmla="*/ 5612519 w 9667345"/>
              <a:gd name="connsiteY540" fmla="*/ 6813941 h 6858889"/>
              <a:gd name="connsiteX541" fmla="*/ 5160879 w 9667345"/>
              <a:gd name="connsiteY541" fmla="*/ 6619886 h 6858889"/>
              <a:gd name="connsiteX542" fmla="*/ 3665063 w 9667345"/>
              <a:gd name="connsiteY542" fmla="*/ 5739943 h 6858889"/>
              <a:gd name="connsiteX543" fmla="*/ 3327087 w 9667345"/>
              <a:gd name="connsiteY543" fmla="*/ 5424011 h 6858889"/>
              <a:gd name="connsiteX544" fmla="*/ 2490364 w 9667345"/>
              <a:gd name="connsiteY544" fmla="*/ 3819282 h 6858889"/>
              <a:gd name="connsiteX545" fmla="*/ 2373240 w 9667345"/>
              <a:gd name="connsiteY545" fmla="*/ 2734912 h 6858889"/>
              <a:gd name="connsiteX546" fmla="*/ 2570751 w 9667345"/>
              <a:gd name="connsiteY546" fmla="*/ 1912883 h 6858889"/>
              <a:gd name="connsiteX547" fmla="*/ 2667995 w 9667345"/>
              <a:gd name="connsiteY547" fmla="*/ 1588739 h 6858889"/>
              <a:gd name="connsiteX548" fmla="*/ 2838710 w 9667345"/>
              <a:gd name="connsiteY548" fmla="*/ 865 h 6858889"/>
              <a:gd name="connsiteX549" fmla="*/ 2693495 w 9667345"/>
              <a:gd name="connsiteY549" fmla="*/ 865 h 6858889"/>
              <a:gd name="connsiteX550" fmla="*/ 2706893 w 9667345"/>
              <a:gd name="connsiteY550" fmla="*/ 865 h 6858889"/>
              <a:gd name="connsiteX551" fmla="*/ 2539633 w 9667345"/>
              <a:gd name="connsiteY551" fmla="*/ 1628068 h 6858889"/>
              <a:gd name="connsiteX552" fmla="*/ 2445847 w 9667345"/>
              <a:gd name="connsiteY552" fmla="*/ 1950052 h 6858889"/>
              <a:gd name="connsiteX553" fmla="*/ 2255252 w 9667345"/>
              <a:gd name="connsiteY553" fmla="*/ 2778131 h 6858889"/>
              <a:gd name="connsiteX554" fmla="*/ 2375833 w 9667345"/>
              <a:gd name="connsiteY554" fmla="*/ 3862501 h 6858889"/>
              <a:gd name="connsiteX555" fmla="*/ 3225955 w 9667345"/>
              <a:gd name="connsiteY555" fmla="*/ 5465070 h 6858889"/>
              <a:gd name="connsiteX556" fmla="*/ 3567387 w 9667345"/>
              <a:gd name="connsiteY556" fmla="*/ 5778841 h 6858889"/>
              <a:gd name="connsiteX557" fmla="*/ 5066660 w 9667345"/>
              <a:gd name="connsiteY557" fmla="*/ 6656623 h 6858889"/>
              <a:gd name="connsiteX558" fmla="*/ 5521759 w 9667345"/>
              <a:gd name="connsiteY558" fmla="*/ 6852838 h 6858889"/>
              <a:gd name="connsiteX559" fmla="*/ 5533428 w 9667345"/>
              <a:gd name="connsiteY559" fmla="*/ 6857592 h 6858889"/>
              <a:gd name="connsiteX560" fmla="*/ 5507928 w 9667345"/>
              <a:gd name="connsiteY560" fmla="*/ 6857592 h 6858889"/>
              <a:gd name="connsiteX561" fmla="*/ 5059745 w 9667345"/>
              <a:gd name="connsiteY561" fmla="*/ 6664835 h 6858889"/>
              <a:gd name="connsiteX562" fmla="*/ 3553989 w 9667345"/>
              <a:gd name="connsiteY562" fmla="*/ 5784892 h 6858889"/>
              <a:gd name="connsiteX563" fmla="*/ 3212557 w 9667345"/>
              <a:gd name="connsiteY563" fmla="*/ 5468959 h 6858889"/>
              <a:gd name="connsiteX564" fmla="*/ 2362435 w 9667345"/>
              <a:gd name="connsiteY564" fmla="*/ 3862501 h 6858889"/>
              <a:gd name="connsiteX565" fmla="*/ 2241852 w 9667345"/>
              <a:gd name="connsiteY565" fmla="*/ 2778131 h 6858889"/>
              <a:gd name="connsiteX566" fmla="*/ 2432449 w 9667345"/>
              <a:gd name="connsiteY566" fmla="*/ 1947890 h 6858889"/>
              <a:gd name="connsiteX567" fmla="*/ 2526235 w 9667345"/>
              <a:gd name="connsiteY567" fmla="*/ 1625908 h 6858889"/>
              <a:gd name="connsiteX568" fmla="*/ 2693495 w 9667345"/>
              <a:gd name="connsiteY568" fmla="*/ 865 h 6858889"/>
              <a:gd name="connsiteX569" fmla="*/ 2546980 w 9667345"/>
              <a:gd name="connsiteY569" fmla="*/ 865 h 6858889"/>
              <a:gd name="connsiteX570" fmla="*/ 2560380 w 9667345"/>
              <a:gd name="connsiteY570" fmla="*/ 865 h 6858889"/>
              <a:gd name="connsiteX571" fmla="*/ 2399604 w 9667345"/>
              <a:gd name="connsiteY571" fmla="*/ 1667398 h 6858889"/>
              <a:gd name="connsiteX572" fmla="*/ 2309276 w 9667345"/>
              <a:gd name="connsiteY572" fmla="*/ 1983330 h 6858889"/>
              <a:gd name="connsiteX573" fmla="*/ 2121704 w 9667345"/>
              <a:gd name="connsiteY573" fmla="*/ 2821783 h 6858889"/>
              <a:gd name="connsiteX574" fmla="*/ 2248768 w 9667345"/>
              <a:gd name="connsiteY574" fmla="*/ 3907881 h 6858889"/>
              <a:gd name="connsiteX575" fmla="*/ 3112289 w 9667345"/>
              <a:gd name="connsiteY575" fmla="*/ 5510450 h 6858889"/>
              <a:gd name="connsiteX576" fmla="*/ 3457178 w 9667345"/>
              <a:gd name="connsiteY576" fmla="*/ 5824221 h 6858889"/>
              <a:gd name="connsiteX577" fmla="*/ 4966392 w 9667345"/>
              <a:gd name="connsiteY577" fmla="*/ 6702003 h 6858889"/>
              <a:gd name="connsiteX578" fmla="*/ 5328136 w 9667345"/>
              <a:gd name="connsiteY578" fmla="*/ 6857160 h 6858889"/>
              <a:gd name="connsiteX579" fmla="*/ 5299612 w 9667345"/>
              <a:gd name="connsiteY579" fmla="*/ 6857160 h 6858889"/>
              <a:gd name="connsiteX580" fmla="*/ 4959910 w 9667345"/>
              <a:gd name="connsiteY580" fmla="*/ 6708054 h 6858889"/>
              <a:gd name="connsiteX581" fmla="*/ 3447237 w 9667345"/>
              <a:gd name="connsiteY581" fmla="*/ 5830272 h 6858889"/>
              <a:gd name="connsiteX582" fmla="*/ 3102348 w 9667345"/>
              <a:gd name="connsiteY582" fmla="*/ 5514339 h 6858889"/>
              <a:gd name="connsiteX583" fmla="*/ 2235803 w 9667345"/>
              <a:gd name="connsiteY583" fmla="*/ 3907881 h 6858889"/>
              <a:gd name="connsiteX584" fmla="*/ 2108737 w 9667345"/>
              <a:gd name="connsiteY584" fmla="*/ 2819622 h 6858889"/>
              <a:gd name="connsiteX585" fmla="*/ 2296308 w 9667345"/>
              <a:gd name="connsiteY585" fmla="*/ 1983330 h 6858889"/>
              <a:gd name="connsiteX586" fmla="*/ 2383181 w 9667345"/>
              <a:gd name="connsiteY586" fmla="*/ 1665237 h 6858889"/>
              <a:gd name="connsiteX587" fmla="*/ 2546980 w 9667345"/>
              <a:gd name="connsiteY587" fmla="*/ 865 h 6858889"/>
              <a:gd name="connsiteX588" fmla="*/ 2400036 w 9667345"/>
              <a:gd name="connsiteY588" fmla="*/ 865 h 6858889"/>
              <a:gd name="connsiteX589" fmla="*/ 2413434 w 9667345"/>
              <a:gd name="connsiteY589" fmla="*/ 865 h 6858889"/>
              <a:gd name="connsiteX590" fmla="*/ 2256115 w 9667345"/>
              <a:gd name="connsiteY590" fmla="*/ 1706727 h 6858889"/>
              <a:gd name="connsiteX591" fmla="*/ 2172271 w 9667345"/>
              <a:gd name="connsiteY591" fmla="*/ 2018770 h 6858889"/>
              <a:gd name="connsiteX592" fmla="*/ 1988157 w 9667345"/>
              <a:gd name="connsiteY592" fmla="*/ 2863273 h 6858889"/>
              <a:gd name="connsiteX593" fmla="*/ 2125161 w 9667345"/>
              <a:gd name="connsiteY593" fmla="*/ 3951533 h 6858889"/>
              <a:gd name="connsiteX594" fmla="*/ 3002080 w 9667345"/>
              <a:gd name="connsiteY594" fmla="*/ 5556263 h 6858889"/>
              <a:gd name="connsiteX595" fmla="*/ 3346969 w 9667345"/>
              <a:gd name="connsiteY595" fmla="*/ 5870033 h 6858889"/>
              <a:gd name="connsiteX596" fmla="*/ 4866123 w 9667345"/>
              <a:gd name="connsiteY596" fmla="*/ 6745655 h 6858889"/>
              <a:gd name="connsiteX597" fmla="*/ 5120684 w 9667345"/>
              <a:gd name="connsiteY597" fmla="*/ 6857592 h 6858889"/>
              <a:gd name="connsiteX598" fmla="*/ 5091296 w 9667345"/>
              <a:gd name="connsiteY598" fmla="*/ 6857592 h 6858889"/>
              <a:gd name="connsiteX599" fmla="*/ 4855751 w 9667345"/>
              <a:gd name="connsiteY599" fmla="*/ 6753867 h 6858889"/>
              <a:gd name="connsiteX600" fmla="*/ 3336595 w 9667345"/>
              <a:gd name="connsiteY600" fmla="*/ 5876084 h 6858889"/>
              <a:gd name="connsiteX601" fmla="*/ 2988682 w 9667345"/>
              <a:gd name="connsiteY601" fmla="*/ 5562313 h 6858889"/>
              <a:gd name="connsiteX602" fmla="*/ 2111764 w 9667345"/>
              <a:gd name="connsiteY602" fmla="*/ 3953694 h 6858889"/>
              <a:gd name="connsiteX603" fmla="*/ 1974759 w 9667345"/>
              <a:gd name="connsiteY603" fmla="*/ 2863273 h 6858889"/>
              <a:gd name="connsiteX604" fmla="*/ 2158874 w 9667345"/>
              <a:gd name="connsiteY604" fmla="*/ 2016609 h 6858889"/>
              <a:gd name="connsiteX605" fmla="*/ 2242718 w 9667345"/>
              <a:gd name="connsiteY605" fmla="*/ 1704566 h 6858889"/>
              <a:gd name="connsiteX606" fmla="*/ 2400036 w 9667345"/>
              <a:gd name="connsiteY606" fmla="*/ 865 h 6858889"/>
              <a:gd name="connsiteX607" fmla="*/ 2252226 w 9667345"/>
              <a:gd name="connsiteY607" fmla="*/ 865 h 6858889"/>
              <a:gd name="connsiteX608" fmla="*/ 2265624 w 9667345"/>
              <a:gd name="connsiteY608" fmla="*/ 865 h 6858889"/>
              <a:gd name="connsiteX609" fmla="*/ 2115221 w 9667345"/>
              <a:gd name="connsiteY609" fmla="*/ 1743896 h 6858889"/>
              <a:gd name="connsiteX610" fmla="*/ 2034834 w 9667345"/>
              <a:gd name="connsiteY610" fmla="*/ 2051617 h 6858889"/>
              <a:gd name="connsiteX611" fmla="*/ 1854176 w 9667345"/>
              <a:gd name="connsiteY611" fmla="*/ 2906493 h 6858889"/>
              <a:gd name="connsiteX612" fmla="*/ 1998098 w 9667345"/>
              <a:gd name="connsiteY612" fmla="*/ 3996913 h 6858889"/>
              <a:gd name="connsiteX613" fmla="*/ 2888413 w 9667345"/>
              <a:gd name="connsiteY613" fmla="*/ 5601642 h 6858889"/>
              <a:gd name="connsiteX614" fmla="*/ 3239786 w 9667345"/>
              <a:gd name="connsiteY614" fmla="*/ 5915414 h 6858889"/>
              <a:gd name="connsiteX615" fmla="*/ 4765854 w 9667345"/>
              <a:gd name="connsiteY615" fmla="*/ 6791034 h 6858889"/>
              <a:gd name="connsiteX616" fmla="*/ 4915393 w 9667345"/>
              <a:gd name="connsiteY616" fmla="*/ 6858024 h 6858889"/>
              <a:gd name="connsiteX617" fmla="*/ 4892055 w 9667345"/>
              <a:gd name="connsiteY617" fmla="*/ 6858024 h 6858889"/>
              <a:gd name="connsiteX618" fmla="*/ 4755482 w 9667345"/>
              <a:gd name="connsiteY618" fmla="*/ 6797517 h 6858889"/>
              <a:gd name="connsiteX619" fmla="*/ 3225955 w 9667345"/>
              <a:gd name="connsiteY619" fmla="*/ 5919736 h 6858889"/>
              <a:gd name="connsiteX620" fmla="*/ 2878041 w 9667345"/>
              <a:gd name="connsiteY620" fmla="*/ 5607693 h 6858889"/>
              <a:gd name="connsiteX621" fmla="*/ 1984699 w 9667345"/>
              <a:gd name="connsiteY621" fmla="*/ 3999074 h 6858889"/>
              <a:gd name="connsiteX622" fmla="*/ 1840778 w 9667345"/>
              <a:gd name="connsiteY622" fmla="*/ 2906493 h 6858889"/>
              <a:gd name="connsiteX623" fmla="*/ 2017978 w 9667345"/>
              <a:gd name="connsiteY623" fmla="*/ 2051617 h 6858889"/>
              <a:gd name="connsiteX624" fmla="*/ 2101823 w 9667345"/>
              <a:gd name="connsiteY624" fmla="*/ 1743896 h 6858889"/>
              <a:gd name="connsiteX625" fmla="*/ 2252226 w 9667345"/>
              <a:gd name="connsiteY625" fmla="*/ 865 h 6858889"/>
              <a:gd name="connsiteX626" fmla="*/ 2105282 w 9667345"/>
              <a:gd name="connsiteY626" fmla="*/ 865 h 6858889"/>
              <a:gd name="connsiteX627" fmla="*/ 2122137 w 9667345"/>
              <a:gd name="connsiteY627" fmla="*/ 865 h 6858889"/>
              <a:gd name="connsiteX628" fmla="*/ 1974759 w 9667345"/>
              <a:gd name="connsiteY628" fmla="*/ 1783225 h 6858889"/>
              <a:gd name="connsiteX629" fmla="*/ 1894371 w 9667345"/>
              <a:gd name="connsiteY629" fmla="*/ 2086624 h 6858889"/>
              <a:gd name="connsiteX630" fmla="*/ 1723655 w 9667345"/>
              <a:gd name="connsiteY630" fmla="*/ 2949711 h 6858889"/>
              <a:gd name="connsiteX631" fmla="*/ 1874058 w 9667345"/>
              <a:gd name="connsiteY631" fmla="*/ 4042292 h 6858889"/>
              <a:gd name="connsiteX632" fmla="*/ 2777772 w 9667345"/>
              <a:gd name="connsiteY632" fmla="*/ 5648752 h 6858889"/>
              <a:gd name="connsiteX633" fmla="*/ 3129144 w 9667345"/>
              <a:gd name="connsiteY633" fmla="*/ 5960794 h 6858889"/>
              <a:gd name="connsiteX634" fmla="*/ 4661697 w 9667345"/>
              <a:gd name="connsiteY634" fmla="*/ 6834254 h 6858889"/>
              <a:gd name="connsiteX635" fmla="*/ 4712694 w 9667345"/>
              <a:gd name="connsiteY635" fmla="*/ 6858024 h 6858889"/>
              <a:gd name="connsiteX636" fmla="*/ 4691518 w 9667345"/>
              <a:gd name="connsiteY636" fmla="*/ 6858024 h 6858889"/>
              <a:gd name="connsiteX637" fmla="*/ 4654782 w 9667345"/>
              <a:gd name="connsiteY637" fmla="*/ 6840737 h 6858889"/>
              <a:gd name="connsiteX638" fmla="*/ 3118771 w 9667345"/>
              <a:gd name="connsiteY638" fmla="*/ 5965116 h 6858889"/>
              <a:gd name="connsiteX639" fmla="*/ 2763942 w 9667345"/>
              <a:gd name="connsiteY639" fmla="*/ 5653073 h 6858889"/>
              <a:gd name="connsiteX640" fmla="*/ 1857203 w 9667345"/>
              <a:gd name="connsiteY640" fmla="*/ 4042292 h 6858889"/>
              <a:gd name="connsiteX641" fmla="*/ 1706800 w 9667345"/>
              <a:gd name="connsiteY641" fmla="*/ 2949711 h 6858889"/>
              <a:gd name="connsiteX642" fmla="*/ 1880974 w 9667345"/>
              <a:gd name="connsiteY642" fmla="*/ 2084463 h 6858889"/>
              <a:gd name="connsiteX643" fmla="*/ 1961361 w 9667345"/>
              <a:gd name="connsiteY643" fmla="*/ 1781064 h 6858889"/>
              <a:gd name="connsiteX644" fmla="*/ 2105282 w 9667345"/>
              <a:gd name="connsiteY644" fmla="*/ 865 h 6858889"/>
              <a:gd name="connsiteX645" fmla="*/ 1957472 w 9667345"/>
              <a:gd name="connsiteY645" fmla="*/ 865 h 6858889"/>
              <a:gd name="connsiteX646" fmla="*/ 1974327 w 9667345"/>
              <a:gd name="connsiteY646" fmla="*/ 865 h 6858889"/>
              <a:gd name="connsiteX647" fmla="*/ 1833865 w 9667345"/>
              <a:gd name="connsiteY647" fmla="*/ 1822122 h 6858889"/>
              <a:gd name="connsiteX648" fmla="*/ 1756935 w 9667345"/>
              <a:gd name="connsiteY648" fmla="*/ 2119471 h 6858889"/>
              <a:gd name="connsiteX649" fmla="*/ 1589675 w 9667345"/>
              <a:gd name="connsiteY649" fmla="*/ 2992931 h 6858889"/>
              <a:gd name="connsiteX650" fmla="*/ 1746993 w 9667345"/>
              <a:gd name="connsiteY650" fmla="*/ 4085512 h 6858889"/>
              <a:gd name="connsiteX651" fmla="*/ 2664105 w 9667345"/>
              <a:gd name="connsiteY651" fmla="*/ 5694131 h 6858889"/>
              <a:gd name="connsiteX652" fmla="*/ 3018935 w 9667345"/>
              <a:gd name="connsiteY652" fmla="*/ 6006174 h 6858889"/>
              <a:gd name="connsiteX653" fmla="*/ 4516912 w 9667345"/>
              <a:gd name="connsiteY653" fmla="*/ 6858024 h 6858889"/>
              <a:gd name="connsiteX654" fmla="*/ 4491845 w 9667345"/>
              <a:gd name="connsiteY654" fmla="*/ 6858024 h 6858889"/>
              <a:gd name="connsiteX655" fmla="*/ 3008562 w 9667345"/>
              <a:gd name="connsiteY655" fmla="*/ 6010496 h 6858889"/>
              <a:gd name="connsiteX656" fmla="*/ 2653732 w 9667345"/>
              <a:gd name="connsiteY656" fmla="*/ 5698453 h 6858889"/>
              <a:gd name="connsiteX657" fmla="*/ 1733596 w 9667345"/>
              <a:gd name="connsiteY657" fmla="*/ 4087673 h 6858889"/>
              <a:gd name="connsiteX658" fmla="*/ 1576277 w 9667345"/>
              <a:gd name="connsiteY658" fmla="*/ 2993363 h 6858889"/>
              <a:gd name="connsiteX659" fmla="*/ 1743537 w 9667345"/>
              <a:gd name="connsiteY659" fmla="*/ 2117741 h 6858889"/>
              <a:gd name="connsiteX660" fmla="*/ 1817009 w 9667345"/>
              <a:gd name="connsiteY660" fmla="*/ 1820394 h 6858889"/>
              <a:gd name="connsiteX661" fmla="*/ 1957472 w 9667345"/>
              <a:gd name="connsiteY661" fmla="*/ 865 h 6858889"/>
              <a:gd name="connsiteX662" fmla="*/ 1813983 w 9667345"/>
              <a:gd name="connsiteY662" fmla="*/ 865 h 6858889"/>
              <a:gd name="connsiteX663" fmla="*/ 1827381 w 9667345"/>
              <a:gd name="connsiteY663" fmla="*/ 865 h 6858889"/>
              <a:gd name="connsiteX664" fmla="*/ 1690376 w 9667345"/>
              <a:gd name="connsiteY664" fmla="*/ 1861452 h 6858889"/>
              <a:gd name="connsiteX665" fmla="*/ 1619928 w 9667345"/>
              <a:gd name="connsiteY665" fmla="*/ 2152749 h 6858889"/>
              <a:gd name="connsiteX666" fmla="*/ 1456128 w 9667345"/>
              <a:gd name="connsiteY666" fmla="*/ 3034421 h 6858889"/>
              <a:gd name="connsiteX667" fmla="*/ 1619928 w 9667345"/>
              <a:gd name="connsiteY667" fmla="*/ 4130892 h 6858889"/>
              <a:gd name="connsiteX668" fmla="*/ 2553464 w 9667345"/>
              <a:gd name="connsiteY668" fmla="*/ 5739511 h 6858889"/>
              <a:gd name="connsiteX669" fmla="*/ 2911750 w 9667345"/>
              <a:gd name="connsiteY669" fmla="*/ 6051554 h 6858889"/>
              <a:gd name="connsiteX670" fmla="*/ 4316807 w 9667345"/>
              <a:gd name="connsiteY670" fmla="*/ 6857592 h 6858889"/>
              <a:gd name="connsiteX671" fmla="*/ 4293901 w 9667345"/>
              <a:gd name="connsiteY671" fmla="*/ 6857592 h 6858889"/>
              <a:gd name="connsiteX672" fmla="*/ 2898352 w 9667345"/>
              <a:gd name="connsiteY672" fmla="*/ 6055876 h 6858889"/>
              <a:gd name="connsiteX673" fmla="*/ 2540066 w 9667345"/>
              <a:gd name="connsiteY673" fmla="*/ 5743834 h 6858889"/>
              <a:gd name="connsiteX674" fmla="*/ 1606530 w 9667345"/>
              <a:gd name="connsiteY674" fmla="*/ 4133053 h 6858889"/>
              <a:gd name="connsiteX675" fmla="*/ 1442730 w 9667345"/>
              <a:gd name="connsiteY675" fmla="*/ 3034421 h 6858889"/>
              <a:gd name="connsiteX676" fmla="*/ 1606530 w 9667345"/>
              <a:gd name="connsiteY676" fmla="*/ 2150589 h 6858889"/>
              <a:gd name="connsiteX677" fmla="*/ 1676978 w 9667345"/>
              <a:gd name="connsiteY677" fmla="*/ 1859291 h 6858889"/>
              <a:gd name="connsiteX678" fmla="*/ 1813983 w 9667345"/>
              <a:gd name="connsiteY678" fmla="*/ 865 h 6858889"/>
              <a:gd name="connsiteX679" fmla="*/ 1519660 w 9667345"/>
              <a:gd name="connsiteY679" fmla="*/ 865 h 6858889"/>
              <a:gd name="connsiteX680" fmla="*/ 1533058 w 9667345"/>
              <a:gd name="connsiteY680" fmla="*/ 865 h 6858889"/>
              <a:gd name="connsiteX681" fmla="*/ 1536516 w 9667345"/>
              <a:gd name="connsiteY681" fmla="*/ 52296 h 6858889"/>
              <a:gd name="connsiteX682" fmla="*/ 1409451 w 9667345"/>
              <a:gd name="connsiteY682" fmla="*/ 1937950 h 6858889"/>
              <a:gd name="connsiteX683" fmla="*/ 1342461 w 9667345"/>
              <a:gd name="connsiteY683" fmla="*/ 2218875 h 6858889"/>
              <a:gd name="connsiteX684" fmla="*/ 1188601 w 9667345"/>
              <a:gd name="connsiteY684" fmla="*/ 3121292 h 6858889"/>
              <a:gd name="connsiteX685" fmla="*/ 1369256 w 9667345"/>
              <a:gd name="connsiteY685" fmla="*/ 4222085 h 6858889"/>
              <a:gd name="connsiteX686" fmla="*/ 2329588 w 9667345"/>
              <a:gd name="connsiteY686" fmla="*/ 5830704 h 6858889"/>
              <a:gd name="connsiteX687" fmla="*/ 2690902 w 9667345"/>
              <a:gd name="connsiteY687" fmla="*/ 6140585 h 6858889"/>
              <a:gd name="connsiteX688" fmla="*/ 3923512 w 9667345"/>
              <a:gd name="connsiteY688" fmla="*/ 6858024 h 6858889"/>
              <a:gd name="connsiteX689" fmla="*/ 3900606 w 9667345"/>
              <a:gd name="connsiteY689" fmla="*/ 6858024 h 6858889"/>
              <a:gd name="connsiteX690" fmla="*/ 2680528 w 9667345"/>
              <a:gd name="connsiteY690" fmla="*/ 6147068 h 6858889"/>
              <a:gd name="connsiteX691" fmla="*/ 2315758 w 9667345"/>
              <a:gd name="connsiteY691" fmla="*/ 5835026 h 6858889"/>
              <a:gd name="connsiteX692" fmla="*/ 1355426 w 9667345"/>
              <a:gd name="connsiteY692" fmla="*/ 4222085 h 6858889"/>
              <a:gd name="connsiteX693" fmla="*/ 1174770 w 9667345"/>
              <a:gd name="connsiteY693" fmla="*/ 3121292 h 6858889"/>
              <a:gd name="connsiteX694" fmla="*/ 1329063 w 9667345"/>
              <a:gd name="connsiteY694" fmla="*/ 2216714 h 6858889"/>
              <a:gd name="connsiteX695" fmla="*/ 1396053 w 9667345"/>
              <a:gd name="connsiteY695" fmla="*/ 1937950 h 6858889"/>
              <a:gd name="connsiteX696" fmla="*/ 1523118 w 9667345"/>
              <a:gd name="connsiteY696" fmla="*/ 52296 h 6858889"/>
              <a:gd name="connsiteX697" fmla="*/ 1519660 w 9667345"/>
              <a:gd name="connsiteY697" fmla="*/ 865 h 6858889"/>
              <a:gd name="connsiteX698" fmla="*/ 927556 w 9667345"/>
              <a:gd name="connsiteY698" fmla="*/ 865 h 6858889"/>
              <a:gd name="connsiteX699" fmla="*/ 940955 w 9667345"/>
              <a:gd name="connsiteY699" fmla="*/ 865 h 6858889"/>
              <a:gd name="connsiteX700" fmla="*/ 960836 w 9667345"/>
              <a:gd name="connsiteY700" fmla="*/ 182386 h 6858889"/>
              <a:gd name="connsiteX701" fmla="*/ 843711 w 9667345"/>
              <a:gd name="connsiteY701" fmla="*/ 2092675 h 6858889"/>
              <a:gd name="connsiteX702" fmla="*/ 790119 w 9667345"/>
              <a:gd name="connsiteY702" fmla="*/ 2346804 h 6858889"/>
              <a:gd name="connsiteX703" fmla="*/ 656141 w 9667345"/>
              <a:gd name="connsiteY703" fmla="*/ 3292440 h 6858889"/>
              <a:gd name="connsiteX704" fmla="*/ 863592 w 9667345"/>
              <a:gd name="connsiteY704" fmla="*/ 4401445 h 6858889"/>
              <a:gd name="connsiteX705" fmla="*/ 1877515 w 9667345"/>
              <a:gd name="connsiteY705" fmla="*/ 6012225 h 6858889"/>
              <a:gd name="connsiteX706" fmla="*/ 2255684 w 9667345"/>
              <a:gd name="connsiteY706" fmla="*/ 6322107 h 6858889"/>
              <a:gd name="connsiteX707" fmla="*/ 3150753 w 9667345"/>
              <a:gd name="connsiteY707" fmla="*/ 6858024 h 6858889"/>
              <a:gd name="connsiteX708" fmla="*/ 3127414 w 9667345"/>
              <a:gd name="connsiteY708" fmla="*/ 6858024 h 6858889"/>
              <a:gd name="connsiteX709" fmla="*/ 2242284 w 9667345"/>
              <a:gd name="connsiteY709" fmla="*/ 6328590 h 6858889"/>
              <a:gd name="connsiteX710" fmla="*/ 1867576 w 9667345"/>
              <a:gd name="connsiteY710" fmla="*/ 6016547 h 6858889"/>
              <a:gd name="connsiteX711" fmla="*/ 850194 w 9667345"/>
              <a:gd name="connsiteY711" fmla="*/ 4401445 h 6858889"/>
              <a:gd name="connsiteX712" fmla="*/ 642743 w 9667345"/>
              <a:gd name="connsiteY712" fmla="*/ 3292440 h 6858889"/>
              <a:gd name="connsiteX713" fmla="*/ 776722 w 9667345"/>
              <a:gd name="connsiteY713" fmla="*/ 2344643 h 6858889"/>
              <a:gd name="connsiteX714" fmla="*/ 830313 w 9667345"/>
              <a:gd name="connsiteY714" fmla="*/ 2092675 h 6858889"/>
              <a:gd name="connsiteX715" fmla="*/ 947438 w 9667345"/>
              <a:gd name="connsiteY715" fmla="*/ 182386 h 6858889"/>
              <a:gd name="connsiteX716" fmla="*/ 927556 w 9667345"/>
              <a:gd name="connsiteY716" fmla="*/ 865 h 6858889"/>
              <a:gd name="connsiteX717" fmla="*/ 482400 w 9667345"/>
              <a:gd name="connsiteY717" fmla="*/ 865 h 6858889"/>
              <a:gd name="connsiteX718" fmla="*/ 495797 w 9667345"/>
              <a:gd name="connsiteY718" fmla="*/ 865 h 6858889"/>
              <a:gd name="connsiteX719" fmla="*/ 529076 w 9667345"/>
              <a:gd name="connsiteY719" fmla="*/ 279629 h 6858889"/>
              <a:gd name="connsiteX720" fmla="*/ 418434 w 9667345"/>
              <a:gd name="connsiteY720" fmla="*/ 2208502 h 6858889"/>
              <a:gd name="connsiteX721" fmla="*/ 374782 w 9667345"/>
              <a:gd name="connsiteY721" fmla="*/ 2439725 h 6858889"/>
              <a:gd name="connsiteX722" fmla="*/ 257659 w 9667345"/>
              <a:gd name="connsiteY722" fmla="*/ 3420801 h 6858889"/>
              <a:gd name="connsiteX723" fmla="*/ 485424 w 9667345"/>
              <a:gd name="connsiteY723" fmla="*/ 4535856 h 6858889"/>
              <a:gd name="connsiteX724" fmla="*/ 1542998 w 9667345"/>
              <a:gd name="connsiteY724" fmla="*/ 6148797 h 6858889"/>
              <a:gd name="connsiteX725" fmla="*/ 1927651 w 9667345"/>
              <a:gd name="connsiteY725" fmla="*/ 6458678 h 6858889"/>
              <a:gd name="connsiteX726" fmla="*/ 2581556 w 9667345"/>
              <a:gd name="connsiteY726" fmla="*/ 6857592 h 6858889"/>
              <a:gd name="connsiteX727" fmla="*/ 2559515 w 9667345"/>
              <a:gd name="connsiteY727" fmla="*/ 6857592 h 6858889"/>
              <a:gd name="connsiteX728" fmla="*/ 1914251 w 9667345"/>
              <a:gd name="connsiteY728" fmla="*/ 6462569 h 6858889"/>
              <a:gd name="connsiteX729" fmla="*/ 1529600 w 9667345"/>
              <a:gd name="connsiteY729" fmla="*/ 6154848 h 6858889"/>
              <a:gd name="connsiteX730" fmla="*/ 472026 w 9667345"/>
              <a:gd name="connsiteY730" fmla="*/ 4538018 h 6858889"/>
              <a:gd name="connsiteX731" fmla="*/ 244261 w 9667345"/>
              <a:gd name="connsiteY731" fmla="*/ 3420801 h 6858889"/>
              <a:gd name="connsiteX732" fmla="*/ 361385 w 9667345"/>
              <a:gd name="connsiteY732" fmla="*/ 2439725 h 6858889"/>
              <a:gd name="connsiteX733" fmla="*/ 405036 w 9667345"/>
              <a:gd name="connsiteY733" fmla="*/ 2208502 h 6858889"/>
              <a:gd name="connsiteX734" fmla="*/ 515678 w 9667345"/>
              <a:gd name="connsiteY734" fmla="*/ 279629 h 6858889"/>
              <a:gd name="connsiteX735" fmla="*/ 482400 w 9667345"/>
              <a:gd name="connsiteY735" fmla="*/ 865 h 6858889"/>
              <a:gd name="connsiteX736" fmla="*/ 331564 w 9667345"/>
              <a:gd name="connsiteY736" fmla="*/ 865 h 6858889"/>
              <a:gd name="connsiteX737" fmla="*/ 344962 w 9667345"/>
              <a:gd name="connsiteY737" fmla="*/ 865 h 6858889"/>
              <a:gd name="connsiteX738" fmla="*/ 385156 w 9667345"/>
              <a:gd name="connsiteY738" fmla="*/ 312908 h 6858889"/>
              <a:gd name="connsiteX739" fmla="*/ 277973 w 9667345"/>
              <a:gd name="connsiteY739" fmla="*/ 2247832 h 6858889"/>
              <a:gd name="connsiteX740" fmla="*/ 237778 w 9667345"/>
              <a:gd name="connsiteY740" fmla="*/ 2470843 h 6858889"/>
              <a:gd name="connsiteX741" fmla="*/ 124111 w 9667345"/>
              <a:gd name="connsiteY741" fmla="*/ 3464020 h 6858889"/>
              <a:gd name="connsiteX742" fmla="*/ 361817 w 9667345"/>
              <a:gd name="connsiteY742" fmla="*/ 4579076 h 6858889"/>
              <a:gd name="connsiteX743" fmla="*/ 1429331 w 9667345"/>
              <a:gd name="connsiteY743" fmla="*/ 6194177 h 6858889"/>
              <a:gd name="connsiteX744" fmla="*/ 1817441 w 9667345"/>
              <a:gd name="connsiteY744" fmla="*/ 6504059 h 6858889"/>
              <a:gd name="connsiteX745" fmla="*/ 2394850 w 9667345"/>
              <a:gd name="connsiteY745" fmla="*/ 6857592 h 6858889"/>
              <a:gd name="connsiteX746" fmla="*/ 2373240 w 9667345"/>
              <a:gd name="connsiteY746" fmla="*/ 6857592 h 6858889"/>
              <a:gd name="connsiteX747" fmla="*/ 1807501 w 9667345"/>
              <a:gd name="connsiteY747" fmla="*/ 6507949 h 6858889"/>
              <a:gd name="connsiteX748" fmla="*/ 1415933 w 9667345"/>
              <a:gd name="connsiteY748" fmla="*/ 6200228 h 6858889"/>
              <a:gd name="connsiteX749" fmla="*/ 348419 w 9667345"/>
              <a:gd name="connsiteY749" fmla="*/ 4581237 h 6858889"/>
              <a:gd name="connsiteX750" fmla="*/ 110713 w 9667345"/>
              <a:gd name="connsiteY750" fmla="*/ 3464020 h 6858889"/>
              <a:gd name="connsiteX751" fmla="*/ 224380 w 9667345"/>
              <a:gd name="connsiteY751" fmla="*/ 2470843 h 6858889"/>
              <a:gd name="connsiteX752" fmla="*/ 264575 w 9667345"/>
              <a:gd name="connsiteY752" fmla="*/ 2247832 h 6858889"/>
              <a:gd name="connsiteX753" fmla="*/ 371757 w 9667345"/>
              <a:gd name="connsiteY753" fmla="*/ 312908 h 6858889"/>
              <a:gd name="connsiteX754" fmla="*/ 331564 w 9667345"/>
              <a:gd name="connsiteY754" fmla="*/ 865 h 6858889"/>
              <a:gd name="connsiteX755" fmla="*/ 177272 w 9667345"/>
              <a:gd name="connsiteY755" fmla="*/ 865 h 6858889"/>
              <a:gd name="connsiteX756" fmla="*/ 194126 w 9667345"/>
              <a:gd name="connsiteY756" fmla="*/ 865 h 6858889"/>
              <a:gd name="connsiteX757" fmla="*/ 241235 w 9667345"/>
              <a:gd name="connsiteY757" fmla="*/ 343594 h 6858889"/>
              <a:gd name="connsiteX758" fmla="*/ 137509 w 9667345"/>
              <a:gd name="connsiteY758" fmla="*/ 2286729 h 6858889"/>
              <a:gd name="connsiteX759" fmla="*/ 100773 w 9667345"/>
              <a:gd name="connsiteY759" fmla="*/ 2501528 h 6858889"/>
              <a:gd name="connsiteX760" fmla="*/ 21628 w 9667345"/>
              <a:gd name="connsiteY760" fmla="*/ 3001305 h 6858889"/>
              <a:gd name="connsiteX761" fmla="*/ 0 w 9667345"/>
              <a:gd name="connsiteY761" fmla="*/ 3220433 h 6858889"/>
              <a:gd name="connsiteX762" fmla="*/ 0 w 9667345"/>
              <a:gd name="connsiteY762" fmla="*/ 3069197 h 6858889"/>
              <a:gd name="connsiteX763" fmla="*/ 6448 w 9667345"/>
              <a:gd name="connsiteY763" fmla="*/ 3000440 h 6858889"/>
              <a:gd name="connsiteX764" fmla="*/ 83485 w 9667345"/>
              <a:gd name="connsiteY764" fmla="*/ 2499800 h 6858889"/>
              <a:gd name="connsiteX765" fmla="*/ 120222 w 9667345"/>
              <a:gd name="connsiteY765" fmla="*/ 2285000 h 6858889"/>
              <a:gd name="connsiteX766" fmla="*/ 227406 w 9667345"/>
              <a:gd name="connsiteY766" fmla="*/ 343594 h 6858889"/>
              <a:gd name="connsiteX767" fmla="*/ 177272 w 9667345"/>
              <a:gd name="connsiteY767" fmla="*/ 865 h 6858889"/>
              <a:gd name="connsiteX768" fmla="*/ 26870 w 9667345"/>
              <a:gd name="connsiteY768" fmla="*/ 865 h 6858889"/>
              <a:gd name="connsiteX769" fmla="*/ 39834 w 9667345"/>
              <a:gd name="connsiteY769" fmla="*/ 865 h 6858889"/>
              <a:gd name="connsiteX770" fmla="*/ 96883 w 9667345"/>
              <a:gd name="connsiteY770" fmla="*/ 376872 h 6858889"/>
              <a:gd name="connsiteX771" fmla="*/ 62180 w 9667345"/>
              <a:gd name="connsiteY771" fmla="*/ 1813458 h 6858889"/>
              <a:gd name="connsiteX772" fmla="*/ 0 w 9667345"/>
              <a:gd name="connsiteY772" fmla="*/ 2275627 h 6858889"/>
              <a:gd name="connsiteX773" fmla="*/ 0 w 9667345"/>
              <a:gd name="connsiteY773" fmla="*/ 2177011 h 6858889"/>
              <a:gd name="connsiteX774" fmla="*/ 49031 w 9667345"/>
              <a:gd name="connsiteY774" fmla="*/ 1812364 h 6858889"/>
              <a:gd name="connsiteX775" fmla="*/ 83918 w 9667345"/>
              <a:gd name="connsiteY775" fmla="*/ 376872 h 6858889"/>
              <a:gd name="connsiteX776" fmla="*/ 26870 w 9667345"/>
              <a:gd name="connsiteY776" fmla="*/ 865 h 6858889"/>
              <a:gd name="connsiteX777" fmla="*/ 4005629 w 9667345"/>
              <a:gd name="connsiteY777" fmla="*/ 433 h 6858889"/>
              <a:gd name="connsiteX778" fmla="*/ 4019027 w 9667345"/>
              <a:gd name="connsiteY778" fmla="*/ 433 h 6858889"/>
              <a:gd name="connsiteX779" fmla="*/ 3811575 w 9667345"/>
              <a:gd name="connsiteY779" fmla="*/ 1278857 h 6858889"/>
              <a:gd name="connsiteX780" fmla="*/ 3684510 w 9667345"/>
              <a:gd name="connsiteY780" fmla="*/ 1634119 h 6858889"/>
              <a:gd name="connsiteX781" fmla="*/ 3453720 w 9667345"/>
              <a:gd name="connsiteY781" fmla="*/ 2392184 h 6858889"/>
              <a:gd name="connsiteX782" fmla="*/ 3510769 w 9667345"/>
              <a:gd name="connsiteY782" fmla="*/ 3457970 h 6858889"/>
              <a:gd name="connsiteX783" fmla="*/ 4236852 w 9667345"/>
              <a:gd name="connsiteY783" fmla="*/ 5056216 h 6858889"/>
              <a:gd name="connsiteX784" fmla="*/ 4551488 w 9667345"/>
              <a:gd name="connsiteY784" fmla="*/ 5372149 h 6858889"/>
              <a:gd name="connsiteX785" fmla="*/ 5980314 w 9667345"/>
              <a:gd name="connsiteY785" fmla="*/ 6258142 h 6858889"/>
              <a:gd name="connsiteX786" fmla="*/ 6422015 w 9667345"/>
              <a:gd name="connsiteY786" fmla="*/ 6447010 h 6858889"/>
              <a:gd name="connsiteX787" fmla="*/ 7663269 w 9667345"/>
              <a:gd name="connsiteY787" fmla="*/ 6856728 h 6858889"/>
              <a:gd name="connsiteX788" fmla="*/ 7626102 w 9667345"/>
              <a:gd name="connsiteY788" fmla="*/ 6856728 h 6858889"/>
              <a:gd name="connsiteX789" fmla="*/ 6415531 w 9667345"/>
              <a:gd name="connsiteY789" fmla="*/ 6455654 h 6858889"/>
              <a:gd name="connsiteX790" fmla="*/ 5970373 w 9667345"/>
              <a:gd name="connsiteY790" fmla="*/ 6265489 h 6858889"/>
              <a:gd name="connsiteX791" fmla="*/ 4538090 w 9667345"/>
              <a:gd name="connsiteY791" fmla="*/ 5375605 h 6858889"/>
              <a:gd name="connsiteX792" fmla="*/ 4223454 w 9667345"/>
              <a:gd name="connsiteY792" fmla="*/ 5059673 h 6858889"/>
              <a:gd name="connsiteX793" fmla="*/ 3497371 w 9667345"/>
              <a:gd name="connsiteY793" fmla="*/ 3459266 h 6858889"/>
              <a:gd name="connsiteX794" fmla="*/ 3440323 w 9667345"/>
              <a:gd name="connsiteY794" fmla="*/ 2391752 h 6858889"/>
              <a:gd name="connsiteX795" fmla="*/ 3671113 w 9667345"/>
              <a:gd name="connsiteY795" fmla="*/ 1631957 h 6858889"/>
              <a:gd name="connsiteX796" fmla="*/ 3798177 w 9667345"/>
              <a:gd name="connsiteY796" fmla="*/ 1276696 h 6858889"/>
              <a:gd name="connsiteX797" fmla="*/ 4005629 w 9667345"/>
              <a:gd name="connsiteY797" fmla="*/ 433 h 6858889"/>
              <a:gd name="connsiteX798" fmla="*/ 1372282 w 9667345"/>
              <a:gd name="connsiteY798" fmla="*/ 433 h 6858889"/>
              <a:gd name="connsiteX799" fmla="*/ 1385681 w 9667345"/>
              <a:gd name="connsiteY799" fmla="*/ 433 h 6858889"/>
              <a:gd name="connsiteX800" fmla="*/ 1392163 w 9667345"/>
              <a:gd name="connsiteY800" fmla="*/ 85142 h 6858889"/>
              <a:gd name="connsiteX801" fmla="*/ 1268556 w 9667345"/>
              <a:gd name="connsiteY801" fmla="*/ 1976847 h 6858889"/>
              <a:gd name="connsiteX802" fmla="*/ 1205024 w 9667345"/>
              <a:gd name="connsiteY802" fmla="*/ 2251722 h 6858889"/>
              <a:gd name="connsiteX803" fmla="*/ 1057646 w 9667345"/>
              <a:gd name="connsiteY803" fmla="*/ 3164511 h 6858889"/>
              <a:gd name="connsiteX804" fmla="*/ 1241760 w 9667345"/>
              <a:gd name="connsiteY804" fmla="*/ 4265304 h 6858889"/>
              <a:gd name="connsiteX805" fmla="*/ 2215489 w 9667345"/>
              <a:gd name="connsiteY805" fmla="*/ 5876084 h 6858889"/>
              <a:gd name="connsiteX806" fmla="*/ 2583717 w 9667345"/>
              <a:gd name="connsiteY806" fmla="*/ 6185966 h 6858889"/>
              <a:gd name="connsiteX807" fmla="*/ 3730323 w 9667345"/>
              <a:gd name="connsiteY807" fmla="*/ 6858024 h 6858889"/>
              <a:gd name="connsiteX808" fmla="*/ 3705687 w 9667345"/>
              <a:gd name="connsiteY808" fmla="*/ 6858024 h 6858889"/>
              <a:gd name="connsiteX809" fmla="*/ 2570320 w 9667345"/>
              <a:gd name="connsiteY809" fmla="*/ 6192449 h 6858889"/>
              <a:gd name="connsiteX810" fmla="*/ 2202091 w 9667345"/>
              <a:gd name="connsiteY810" fmla="*/ 5880407 h 6858889"/>
              <a:gd name="connsiteX811" fmla="*/ 1228362 w 9667345"/>
              <a:gd name="connsiteY811" fmla="*/ 4267466 h 6858889"/>
              <a:gd name="connsiteX812" fmla="*/ 1040791 w 9667345"/>
              <a:gd name="connsiteY812" fmla="*/ 3164511 h 6858889"/>
              <a:gd name="connsiteX813" fmla="*/ 1191627 w 9667345"/>
              <a:gd name="connsiteY813" fmla="*/ 2249561 h 6858889"/>
              <a:gd name="connsiteX814" fmla="*/ 1251701 w 9667345"/>
              <a:gd name="connsiteY814" fmla="*/ 1974686 h 6858889"/>
              <a:gd name="connsiteX815" fmla="*/ 1378765 w 9667345"/>
              <a:gd name="connsiteY815" fmla="*/ 85142 h 6858889"/>
              <a:gd name="connsiteX816" fmla="*/ 1372282 w 9667345"/>
              <a:gd name="connsiteY816" fmla="*/ 433 h 6858889"/>
              <a:gd name="connsiteX817" fmla="*/ 1225337 w 9667345"/>
              <a:gd name="connsiteY817" fmla="*/ 433 h 6858889"/>
              <a:gd name="connsiteX818" fmla="*/ 1238734 w 9667345"/>
              <a:gd name="connsiteY818" fmla="*/ 433 h 6858889"/>
              <a:gd name="connsiteX819" fmla="*/ 1248676 w 9667345"/>
              <a:gd name="connsiteY819" fmla="*/ 116260 h 6858889"/>
              <a:gd name="connsiteX820" fmla="*/ 1125069 w 9667345"/>
              <a:gd name="connsiteY820" fmla="*/ 2016176 h 6858889"/>
              <a:gd name="connsiteX821" fmla="*/ 1068020 w 9667345"/>
              <a:gd name="connsiteY821" fmla="*/ 2282407 h 6858889"/>
              <a:gd name="connsiteX822" fmla="*/ 924099 w 9667345"/>
              <a:gd name="connsiteY822" fmla="*/ 3207730 h 6858889"/>
              <a:gd name="connsiteX823" fmla="*/ 1118153 w 9667345"/>
              <a:gd name="connsiteY823" fmla="*/ 4310684 h 6858889"/>
              <a:gd name="connsiteX824" fmla="*/ 2101823 w 9667345"/>
              <a:gd name="connsiteY824" fmla="*/ 5921465 h 6858889"/>
              <a:gd name="connsiteX825" fmla="*/ 2473076 w 9667345"/>
              <a:gd name="connsiteY825" fmla="*/ 6231346 h 6858889"/>
              <a:gd name="connsiteX826" fmla="*/ 3536701 w 9667345"/>
              <a:gd name="connsiteY826" fmla="*/ 6857592 h 6858889"/>
              <a:gd name="connsiteX827" fmla="*/ 3511634 w 9667345"/>
              <a:gd name="connsiteY827" fmla="*/ 6857592 h 6858889"/>
              <a:gd name="connsiteX828" fmla="*/ 2463136 w 9667345"/>
              <a:gd name="connsiteY828" fmla="*/ 6237397 h 6858889"/>
              <a:gd name="connsiteX829" fmla="*/ 2091882 w 9667345"/>
              <a:gd name="connsiteY829" fmla="*/ 5925354 h 6858889"/>
              <a:gd name="connsiteX830" fmla="*/ 1101298 w 9667345"/>
              <a:gd name="connsiteY830" fmla="*/ 4312414 h 6858889"/>
              <a:gd name="connsiteX831" fmla="*/ 910701 w 9667345"/>
              <a:gd name="connsiteY831" fmla="*/ 3205569 h 6858889"/>
              <a:gd name="connsiteX832" fmla="*/ 1054621 w 9667345"/>
              <a:gd name="connsiteY832" fmla="*/ 2282407 h 6858889"/>
              <a:gd name="connsiteX833" fmla="*/ 1111671 w 9667345"/>
              <a:gd name="connsiteY833" fmla="*/ 2014016 h 6858889"/>
              <a:gd name="connsiteX834" fmla="*/ 1235277 w 9667345"/>
              <a:gd name="connsiteY834" fmla="*/ 116260 h 6858889"/>
              <a:gd name="connsiteX835" fmla="*/ 1225337 w 9667345"/>
              <a:gd name="connsiteY835" fmla="*/ 433 h 6858889"/>
              <a:gd name="connsiteX836" fmla="*/ 1074069 w 9667345"/>
              <a:gd name="connsiteY836" fmla="*/ 433 h 6858889"/>
              <a:gd name="connsiteX837" fmla="*/ 1090925 w 9667345"/>
              <a:gd name="connsiteY837" fmla="*/ 433 h 6858889"/>
              <a:gd name="connsiteX838" fmla="*/ 1104323 w 9667345"/>
              <a:gd name="connsiteY838" fmla="*/ 149107 h 6858889"/>
              <a:gd name="connsiteX839" fmla="*/ 983741 w 9667345"/>
              <a:gd name="connsiteY839" fmla="*/ 2053345 h 6858889"/>
              <a:gd name="connsiteX840" fmla="*/ 930150 w 9667345"/>
              <a:gd name="connsiteY840" fmla="*/ 2315686 h 6858889"/>
              <a:gd name="connsiteX841" fmla="*/ 789687 w 9667345"/>
              <a:gd name="connsiteY841" fmla="*/ 3249221 h 6858889"/>
              <a:gd name="connsiteX842" fmla="*/ 990657 w 9667345"/>
              <a:gd name="connsiteY842" fmla="*/ 4356065 h 6858889"/>
              <a:gd name="connsiteX843" fmla="*/ 1991614 w 9667345"/>
              <a:gd name="connsiteY843" fmla="*/ 5966845 h 6858889"/>
              <a:gd name="connsiteX844" fmla="*/ 2362867 w 9667345"/>
              <a:gd name="connsiteY844" fmla="*/ 6276726 h 6858889"/>
              <a:gd name="connsiteX845" fmla="*/ 3342214 w 9667345"/>
              <a:gd name="connsiteY845" fmla="*/ 6858024 h 6858889"/>
              <a:gd name="connsiteX846" fmla="*/ 3320605 w 9667345"/>
              <a:gd name="connsiteY846" fmla="*/ 6858024 h 6858889"/>
              <a:gd name="connsiteX847" fmla="*/ 2352927 w 9667345"/>
              <a:gd name="connsiteY847" fmla="*/ 6283209 h 6858889"/>
              <a:gd name="connsiteX848" fmla="*/ 1978216 w 9667345"/>
              <a:gd name="connsiteY848" fmla="*/ 5971166 h 6858889"/>
              <a:gd name="connsiteX849" fmla="*/ 977691 w 9667345"/>
              <a:gd name="connsiteY849" fmla="*/ 4358225 h 6858889"/>
              <a:gd name="connsiteX850" fmla="*/ 776722 w 9667345"/>
              <a:gd name="connsiteY850" fmla="*/ 3249221 h 6858889"/>
              <a:gd name="connsiteX851" fmla="*/ 913294 w 9667345"/>
              <a:gd name="connsiteY851" fmla="*/ 2313525 h 6858889"/>
              <a:gd name="connsiteX852" fmla="*/ 970344 w 9667345"/>
              <a:gd name="connsiteY852" fmla="*/ 2053345 h 6858889"/>
              <a:gd name="connsiteX853" fmla="*/ 1090925 w 9667345"/>
              <a:gd name="connsiteY853" fmla="*/ 149107 h 6858889"/>
              <a:gd name="connsiteX854" fmla="*/ 1074069 w 9667345"/>
              <a:gd name="connsiteY854" fmla="*/ 433 h 6858889"/>
              <a:gd name="connsiteX855" fmla="*/ 780179 w 9667345"/>
              <a:gd name="connsiteY855" fmla="*/ 433 h 6858889"/>
              <a:gd name="connsiteX856" fmla="*/ 793577 w 9667345"/>
              <a:gd name="connsiteY856" fmla="*/ 433 h 6858889"/>
              <a:gd name="connsiteX857" fmla="*/ 816915 w 9667345"/>
              <a:gd name="connsiteY857" fmla="*/ 213072 h 6858889"/>
              <a:gd name="connsiteX858" fmla="*/ 703249 w 9667345"/>
              <a:gd name="connsiteY858" fmla="*/ 2131572 h 6858889"/>
              <a:gd name="connsiteX859" fmla="*/ 653115 w 9667345"/>
              <a:gd name="connsiteY859" fmla="*/ 2377489 h 6858889"/>
              <a:gd name="connsiteX860" fmla="*/ 522593 w 9667345"/>
              <a:gd name="connsiteY860" fmla="*/ 3335659 h 6858889"/>
              <a:gd name="connsiteX861" fmla="*/ 739985 w 9667345"/>
              <a:gd name="connsiteY861" fmla="*/ 4444664 h 6858889"/>
              <a:gd name="connsiteX862" fmla="*/ 1767306 w 9667345"/>
              <a:gd name="connsiteY862" fmla="*/ 6057605 h 6858889"/>
              <a:gd name="connsiteX863" fmla="*/ 2145475 w 9667345"/>
              <a:gd name="connsiteY863" fmla="*/ 6367487 h 6858889"/>
              <a:gd name="connsiteX864" fmla="*/ 2960590 w 9667345"/>
              <a:gd name="connsiteY864" fmla="*/ 6857160 h 6858889"/>
              <a:gd name="connsiteX865" fmla="*/ 2936818 w 9667345"/>
              <a:gd name="connsiteY865" fmla="*/ 6857160 h 6858889"/>
              <a:gd name="connsiteX866" fmla="*/ 2135535 w 9667345"/>
              <a:gd name="connsiteY866" fmla="*/ 6373105 h 6858889"/>
              <a:gd name="connsiteX867" fmla="*/ 1753909 w 9667345"/>
              <a:gd name="connsiteY867" fmla="*/ 6063223 h 6858889"/>
              <a:gd name="connsiteX868" fmla="*/ 726587 w 9667345"/>
              <a:gd name="connsiteY868" fmla="*/ 4446393 h 6858889"/>
              <a:gd name="connsiteX869" fmla="*/ 509195 w 9667345"/>
              <a:gd name="connsiteY869" fmla="*/ 3335227 h 6858889"/>
              <a:gd name="connsiteX870" fmla="*/ 639717 w 9667345"/>
              <a:gd name="connsiteY870" fmla="*/ 2377057 h 6858889"/>
              <a:gd name="connsiteX871" fmla="*/ 686393 w 9667345"/>
              <a:gd name="connsiteY871" fmla="*/ 2129411 h 6858889"/>
              <a:gd name="connsiteX872" fmla="*/ 803517 w 9667345"/>
              <a:gd name="connsiteY872" fmla="*/ 215232 h 6858889"/>
              <a:gd name="connsiteX873" fmla="*/ 780179 w 9667345"/>
              <a:gd name="connsiteY873" fmla="*/ 433 h 6858889"/>
              <a:gd name="connsiteX874" fmla="*/ 628912 w 9667345"/>
              <a:gd name="connsiteY874" fmla="*/ 433 h 6858889"/>
              <a:gd name="connsiteX875" fmla="*/ 645768 w 9667345"/>
              <a:gd name="connsiteY875" fmla="*/ 433 h 6858889"/>
              <a:gd name="connsiteX876" fmla="*/ 672563 w 9667345"/>
              <a:gd name="connsiteY876" fmla="*/ 246350 h 6858889"/>
              <a:gd name="connsiteX877" fmla="*/ 558897 w 9667345"/>
              <a:gd name="connsiteY877" fmla="*/ 2170901 h 6858889"/>
              <a:gd name="connsiteX878" fmla="*/ 515245 w 9667345"/>
              <a:gd name="connsiteY878" fmla="*/ 2408175 h 6858889"/>
              <a:gd name="connsiteX879" fmla="*/ 391639 w 9667345"/>
              <a:gd name="connsiteY879" fmla="*/ 3378879 h 6858889"/>
              <a:gd name="connsiteX880" fmla="*/ 612488 w 9667345"/>
              <a:gd name="connsiteY880" fmla="*/ 4490044 h 6858889"/>
              <a:gd name="connsiteX881" fmla="*/ 1653207 w 9667345"/>
              <a:gd name="connsiteY881" fmla="*/ 6102985 h 6858889"/>
              <a:gd name="connsiteX882" fmla="*/ 2034834 w 9667345"/>
              <a:gd name="connsiteY882" fmla="*/ 6412867 h 6858889"/>
              <a:gd name="connsiteX883" fmla="*/ 2768696 w 9667345"/>
              <a:gd name="connsiteY883" fmla="*/ 6857592 h 6858889"/>
              <a:gd name="connsiteX884" fmla="*/ 2748382 w 9667345"/>
              <a:gd name="connsiteY884" fmla="*/ 6857592 h 6858889"/>
              <a:gd name="connsiteX885" fmla="*/ 2024893 w 9667345"/>
              <a:gd name="connsiteY885" fmla="*/ 6419349 h 6858889"/>
              <a:gd name="connsiteX886" fmla="*/ 1643267 w 9667345"/>
              <a:gd name="connsiteY886" fmla="*/ 6109468 h 6858889"/>
              <a:gd name="connsiteX887" fmla="*/ 599091 w 9667345"/>
              <a:gd name="connsiteY887" fmla="*/ 4492205 h 6858889"/>
              <a:gd name="connsiteX888" fmla="*/ 374782 w 9667345"/>
              <a:gd name="connsiteY888" fmla="*/ 3379311 h 6858889"/>
              <a:gd name="connsiteX889" fmla="*/ 501847 w 9667345"/>
              <a:gd name="connsiteY889" fmla="*/ 2408607 h 6858889"/>
              <a:gd name="connsiteX890" fmla="*/ 545499 w 9667345"/>
              <a:gd name="connsiteY890" fmla="*/ 2169173 h 6858889"/>
              <a:gd name="connsiteX891" fmla="*/ 659165 w 9667345"/>
              <a:gd name="connsiteY891" fmla="*/ 246350 h 6858889"/>
              <a:gd name="connsiteX892" fmla="*/ 628912 w 9667345"/>
              <a:gd name="connsiteY892" fmla="*/ 433 h 6858889"/>
              <a:gd name="connsiteX893" fmla="*/ 4150413 w 9667345"/>
              <a:gd name="connsiteY893" fmla="*/ 0 h 6858889"/>
              <a:gd name="connsiteX894" fmla="*/ 4163811 w 9667345"/>
              <a:gd name="connsiteY894" fmla="*/ 0 h 6858889"/>
              <a:gd name="connsiteX895" fmla="*/ 3952901 w 9667345"/>
              <a:gd name="connsiteY895" fmla="*/ 1239096 h 6858889"/>
              <a:gd name="connsiteX896" fmla="*/ 3822380 w 9667345"/>
              <a:gd name="connsiteY896" fmla="*/ 1596518 h 6858889"/>
              <a:gd name="connsiteX897" fmla="*/ 3588131 w 9667345"/>
              <a:gd name="connsiteY897" fmla="*/ 2348100 h 6858889"/>
              <a:gd name="connsiteX898" fmla="*/ 3638265 w 9667345"/>
              <a:gd name="connsiteY898" fmla="*/ 3413886 h 6858889"/>
              <a:gd name="connsiteX899" fmla="*/ 4350951 w 9667345"/>
              <a:gd name="connsiteY899" fmla="*/ 5010403 h 6858889"/>
              <a:gd name="connsiteX900" fmla="*/ 4658670 w 9667345"/>
              <a:gd name="connsiteY900" fmla="*/ 5326336 h 6858889"/>
              <a:gd name="connsiteX901" fmla="*/ 6081015 w 9667345"/>
              <a:gd name="connsiteY901" fmla="*/ 6214491 h 6858889"/>
              <a:gd name="connsiteX902" fmla="*/ 6522715 w 9667345"/>
              <a:gd name="connsiteY902" fmla="*/ 6404654 h 6858889"/>
              <a:gd name="connsiteX903" fmla="*/ 7824477 w 9667345"/>
              <a:gd name="connsiteY903" fmla="*/ 6826042 h 6858889"/>
              <a:gd name="connsiteX904" fmla="*/ 7951543 w 9667345"/>
              <a:gd name="connsiteY904" fmla="*/ 6857160 h 6858889"/>
              <a:gd name="connsiteX905" fmla="*/ 7910051 w 9667345"/>
              <a:gd name="connsiteY905" fmla="*/ 6857160 h 6858889"/>
              <a:gd name="connsiteX906" fmla="*/ 7817994 w 9667345"/>
              <a:gd name="connsiteY906" fmla="*/ 6833822 h 6858889"/>
              <a:gd name="connsiteX907" fmla="*/ 6516232 w 9667345"/>
              <a:gd name="connsiteY907" fmla="*/ 6410273 h 6858889"/>
              <a:gd name="connsiteX908" fmla="*/ 6071074 w 9667345"/>
              <a:gd name="connsiteY908" fmla="*/ 6220110 h 6858889"/>
              <a:gd name="connsiteX909" fmla="*/ 4648731 w 9667345"/>
              <a:gd name="connsiteY909" fmla="*/ 5330225 h 6858889"/>
              <a:gd name="connsiteX910" fmla="*/ 4337553 w 9667345"/>
              <a:gd name="connsiteY910" fmla="*/ 5014293 h 6858889"/>
              <a:gd name="connsiteX911" fmla="*/ 3621411 w 9667345"/>
              <a:gd name="connsiteY911" fmla="*/ 3413886 h 6858889"/>
              <a:gd name="connsiteX912" fmla="*/ 3574733 w 9667345"/>
              <a:gd name="connsiteY912" fmla="*/ 2348100 h 6858889"/>
              <a:gd name="connsiteX913" fmla="*/ 3808982 w 9667345"/>
              <a:gd name="connsiteY913" fmla="*/ 1594358 h 6858889"/>
              <a:gd name="connsiteX914" fmla="*/ 3939503 w 9667345"/>
              <a:gd name="connsiteY914" fmla="*/ 1239096 h 6858889"/>
              <a:gd name="connsiteX915" fmla="*/ 4150413 w 9667345"/>
              <a:gd name="connsiteY915" fmla="*/ 0 h 68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</a:cxnLst>
            <a:rect l="l" t="t" r="r" b="b"/>
            <a:pathLst>
              <a:path w="9667345" h="6858889">
                <a:moveTo>
                  <a:pt x="0" y="6810685"/>
                </a:moveTo>
                <a:lnTo>
                  <a:pt x="59283" y="6858456"/>
                </a:lnTo>
                <a:lnTo>
                  <a:pt x="39402" y="6858456"/>
                </a:lnTo>
                <a:lnTo>
                  <a:pt x="0" y="6827674"/>
                </a:lnTo>
                <a:close/>
                <a:moveTo>
                  <a:pt x="0" y="6672270"/>
                </a:moveTo>
                <a:lnTo>
                  <a:pt x="80461" y="6741333"/>
                </a:lnTo>
                <a:cubicBezTo>
                  <a:pt x="130162" y="6780662"/>
                  <a:pt x="180728" y="6819559"/>
                  <a:pt x="232159" y="6857592"/>
                </a:cubicBezTo>
                <a:lnTo>
                  <a:pt x="213144" y="6857592"/>
                </a:lnTo>
                <a:cubicBezTo>
                  <a:pt x="164738" y="6821288"/>
                  <a:pt x="117197" y="6784552"/>
                  <a:pt x="70519" y="6747384"/>
                </a:cubicBezTo>
                <a:lnTo>
                  <a:pt x="0" y="6686879"/>
                </a:lnTo>
                <a:close/>
                <a:moveTo>
                  <a:pt x="0" y="6527854"/>
                </a:moveTo>
                <a:lnTo>
                  <a:pt x="2977" y="6530761"/>
                </a:lnTo>
                <a:cubicBezTo>
                  <a:pt x="64732" y="6587479"/>
                  <a:pt x="128433" y="6642523"/>
                  <a:pt x="194126" y="6695952"/>
                </a:cubicBezTo>
                <a:cubicBezTo>
                  <a:pt x="261117" y="6750841"/>
                  <a:pt x="331564" y="6805297"/>
                  <a:pt x="404173" y="6858024"/>
                </a:cubicBezTo>
                <a:lnTo>
                  <a:pt x="386452" y="6858024"/>
                </a:lnTo>
                <a:cubicBezTo>
                  <a:pt x="315573" y="6807459"/>
                  <a:pt x="246854" y="6755595"/>
                  <a:pt x="180728" y="6702435"/>
                </a:cubicBezTo>
                <a:lnTo>
                  <a:pt x="0" y="6545608"/>
                </a:lnTo>
                <a:close/>
                <a:moveTo>
                  <a:pt x="0" y="6370764"/>
                </a:moveTo>
                <a:lnTo>
                  <a:pt x="116037" y="6485384"/>
                </a:lnTo>
                <a:cubicBezTo>
                  <a:pt x="177042" y="6542099"/>
                  <a:pt x="239940" y="6597143"/>
                  <a:pt x="304768" y="6650572"/>
                </a:cubicBezTo>
                <a:cubicBezTo>
                  <a:pt x="392072" y="6721019"/>
                  <a:pt x="483697" y="6790170"/>
                  <a:pt x="578345" y="6858024"/>
                </a:cubicBezTo>
                <a:lnTo>
                  <a:pt x="559329" y="6858024"/>
                </a:lnTo>
                <a:cubicBezTo>
                  <a:pt x="466839" y="6793196"/>
                  <a:pt x="377808" y="6726206"/>
                  <a:pt x="294395" y="6657055"/>
                </a:cubicBezTo>
                <a:cubicBezTo>
                  <a:pt x="229134" y="6603409"/>
                  <a:pt x="165865" y="6548177"/>
                  <a:pt x="104541" y="6491293"/>
                </a:cubicBezTo>
                <a:lnTo>
                  <a:pt x="0" y="6388228"/>
                </a:lnTo>
                <a:close/>
                <a:moveTo>
                  <a:pt x="0" y="6202503"/>
                </a:moveTo>
                <a:lnTo>
                  <a:pt x="55211" y="6264794"/>
                </a:lnTo>
                <a:cubicBezTo>
                  <a:pt x="168600" y="6385017"/>
                  <a:pt x="289533" y="6498333"/>
                  <a:pt x="418434" y="6605192"/>
                </a:cubicBezTo>
                <a:cubicBezTo>
                  <a:pt x="522593" y="6691631"/>
                  <a:pt x="635828" y="6776340"/>
                  <a:pt x="754680" y="6857592"/>
                </a:cubicBezTo>
                <a:lnTo>
                  <a:pt x="735663" y="6857592"/>
                </a:lnTo>
                <a:cubicBezTo>
                  <a:pt x="620270" y="6778069"/>
                  <a:pt x="510060" y="6695520"/>
                  <a:pt x="408494" y="6611243"/>
                </a:cubicBezTo>
                <a:cubicBezTo>
                  <a:pt x="278836" y="6503843"/>
                  <a:pt x="157336" y="6390123"/>
                  <a:pt x="43521" y="6269568"/>
                </a:cubicBezTo>
                <a:lnTo>
                  <a:pt x="0" y="6220508"/>
                </a:lnTo>
                <a:close/>
                <a:moveTo>
                  <a:pt x="0" y="6024018"/>
                </a:moveTo>
                <a:lnTo>
                  <a:pt x="8034" y="6034410"/>
                </a:lnTo>
                <a:cubicBezTo>
                  <a:pt x="165001" y="6225012"/>
                  <a:pt x="338317" y="6399523"/>
                  <a:pt x="529076" y="6559812"/>
                </a:cubicBezTo>
                <a:cubicBezTo>
                  <a:pt x="652683" y="6662242"/>
                  <a:pt x="789255" y="6762942"/>
                  <a:pt x="932743" y="6858024"/>
                </a:cubicBezTo>
                <a:lnTo>
                  <a:pt x="913294" y="6858024"/>
                </a:lnTo>
                <a:cubicBezTo>
                  <a:pt x="773696" y="6765103"/>
                  <a:pt x="640149" y="6666563"/>
                  <a:pt x="519135" y="6564134"/>
                </a:cubicBezTo>
                <a:cubicBezTo>
                  <a:pt x="391098" y="6457275"/>
                  <a:pt x="271003" y="6343959"/>
                  <a:pt x="158491" y="6223702"/>
                </a:cubicBezTo>
                <a:lnTo>
                  <a:pt x="0" y="6043322"/>
                </a:lnTo>
                <a:close/>
                <a:moveTo>
                  <a:pt x="0" y="5825690"/>
                </a:moveTo>
                <a:lnTo>
                  <a:pt x="125453" y="5989143"/>
                </a:lnTo>
                <a:cubicBezTo>
                  <a:pt x="281200" y="6179631"/>
                  <a:pt x="453280" y="6354142"/>
                  <a:pt x="642743" y="6514432"/>
                </a:cubicBezTo>
                <a:cubicBezTo>
                  <a:pt x="770240" y="6619886"/>
                  <a:pt x="907245" y="6722749"/>
                  <a:pt x="1051163" y="6819992"/>
                </a:cubicBezTo>
                <a:cubicBezTo>
                  <a:pt x="1070613" y="6832525"/>
                  <a:pt x="1090493" y="6845058"/>
                  <a:pt x="1109942" y="6858456"/>
                </a:cubicBezTo>
                <a:lnTo>
                  <a:pt x="1090062" y="6858456"/>
                </a:lnTo>
                <a:cubicBezTo>
                  <a:pt x="1073637" y="6848084"/>
                  <a:pt x="1057215" y="6837712"/>
                  <a:pt x="1040791" y="6826907"/>
                </a:cubicBezTo>
                <a:cubicBezTo>
                  <a:pt x="896871" y="6729664"/>
                  <a:pt x="755977" y="6626369"/>
                  <a:pt x="632370" y="6519185"/>
                </a:cubicBezTo>
                <a:cubicBezTo>
                  <a:pt x="441611" y="6358896"/>
                  <a:pt x="268781" y="6184081"/>
                  <a:pt x="112604" y="5993214"/>
                </a:cubicBezTo>
                <a:lnTo>
                  <a:pt x="0" y="5846530"/>
                </a:lnTo>
                <a:close/>
                <a:moveTo>
                  <a:pt x="0" y="5604549"/>
                </a:moveTo>
                <a:lnTo>
                  <a:pt x="95478" y="5747885"/>
                </a:lnTo>
                <a:cubicBezTo>
                  <a:pt x="286291" y="6016330"/>
                  <a:pt x="505520" y="6255332"/>
                  <a:pt x="756408" y="6469052"/>
                </a:cubicBezTo>
                <a:cubicBezTo>
                  <a:pt x="880449" y="6574506"/>
                  <a:pt x="1017453" y="6677369"/>
                  <a:pt x="1161372" y="6774611"/>
                </a:cubicBezTo>
                <a:cubicBezTo>
                  <a:pt x="1202863" y="6803136"/>
                  <a:pt x="1246083" y="6830364"/>
                  <a:pt x="1289734" y="6857592"/>
                </a:cubicBezTo>
                <a:lnTo>
                  <a:pt x="1271150" y="6857592"/>
                </a:lnTo>
                <a:cubicBezTo>
                  <a:pt x="1230523" y="6832093"/>
                  <a:pt x="1190329" y="6806593"/>
                  <a:pt x="1151432" y="6780662"/>
                </a:cubicBezTo>
                <a:cubicBezTo>
                  <a:pt x="1004054" y="6683419"/>
                  <a:pt x="870076" y="6580125"/>
                  <a:pt x="743010" y="6472941"/>
                </a:cubicBezTo>
                <a:cubicBezTo>
                  <a:pt x="491907" y="6260303"/>
                  <a:pt x="272678" y="6021301"/>
                  <a:pt x="81919" y="5752315"/>
                </a:cubicBezTo>
                <a:lnTo>
                  <a:pt x="0" y="5628996"/>
                </a:lnTo>
                <a:close/>
                <a:moveTo>
                  <a:pt x="0" y="5359076"/>
                </a:moveTo>
                <a:lnTo>
                  <a:pt x="78670" y="5496155"/>
                </a:lnTo>
                <a:cubicBezTo>
                  <a:pt x="296387" y="5850882"/>
                  <a:pt x="557492" y="6157873"/>
                  <a:pt x="867049" y="6423672"/>
                </a:cubicBezTo>
                <a:cubicBezTo>
                  <a:pt x="991088" y="6529127"/>
                  <a:pt x="1128093" y="6631988"/>
                  <a:pt x="1272015" y="6729231"/>
                </a:cubicBezTo>
                <a:cubicBezTo>
                  <a:pt x="1335979" y="6773315"/>
                  <a:pt x="1402536" y="6816102"/>
                  <a:pt x="1469526" y="6857592"/>
                </a:cubicBezTo>
                <a:lnTo>
                  <a:pt x="1450509" y="6857592"/>
                </a:lnTo>
                <a:cubicBezTo>
                  <a:pt x="1385681" y="6818263"/>
                  <a:pt x="1321284" y="6777637"/>
                  <a:pt x="1258184" y="6735282"/>
                </a:cubicBezTo>
                <a:cubicBezTo>
                  <a:pt x="1114264" y="6638039"/>
                  <a:pt x="980285" y="6534745"/>
                  <a:pt x="856678" y="6427561"/>
                </a:cubicBezTo>
                <a:cubicBezTo>
                  <a:pt x="547120" y="6161763"/>
                  <a:pt x="284664" y="5854772"/>
                  <a:pt x="65196" y="5499518"/>
                </a:cubicBezTo>
                <a:lnTo>
                  <a:pt x="0" y="5386698"/>
                </a:lnTo>
                <a:close/>
                <a:moveTo>
                  <a:pt x="0" y="5079907"/>
                </a:moveTo>
                <a:lnTo>
                  <a:pt x="75746" y="5232455"/>
                </a:lnTo>
                <a:cubicBezTo>
                  <a:pt x="314438" y="5681597"/>
                  <a:pt x="611840" y="6058901"/>
                  <a:pt x="980716" y="6377859"/>
                </a:cubicBezTo>
                <a:cubicBezTo>
                  <a:pt x="1100866" y="6483315"/>
                  <a:pt x="1238303" y="6586176"/>
                  <a:pt x="1378765" y="6683419"/>
                </a:cubicBezTo>
                <a:cubicBezTo>
                  <a:pt x="1466068" y="6743925"/>
                  <a:pt x="1558557" y="6801840"/>
                  <a:pt x="1652775" y="6858024"/>
                </a:cubicBezTo>
                <a:lnTo>
                  <a:pt x="1631165" y="6858024"/>
                </a:lnTo>
                <a:cubicBezTo>
                  <a:pt x="1540405" y="6804432"/>
                  <a:pt x="1452670" y="6748680"/>
                  <a:pt x="1368824" y="6690334"/>
                </a:cubicBezTo>
                <a:cubicBezTo>
                  <a:pt x="1224905" y="6593091"/>
                  <a:pt x="1090925" y="6489797"/>
                  <a:pt x="967318" y="6382614"/>
                </a:cubicBezTo>
                <a:cubicBezTo>
                  <a:pt x="600712" y="6063656"/>
                  <a:pt x="301932" y="5685380"/>
                  <a:pt x="62592" y="5235569"/>
                </a:cubicBezTo>
                <a:lnTo>
                  <a:pt x="0" y="5109615"/>
                </a:lnTo>
                <a:close/>
                <a:moveTo>
                  <a:pt x="0" y="4754262"/>
                </a:moveTo>
                <a:lnTo>
                  <a:pt x="86287" y="4958028"/>
                </a:lnTo>
                <a:cubicBezTo>
                  <a:pt x="336960" y="5509160"/>
                  <a:pt x="666675" y="5960362"/>
                  <a:pt x="1091358" y="6332479"/>
                </a:cubicBezTo>
                <a:cubicBezTo>
                  <a:pt x="1214964" y="6437934"/>
                  <a:pt x="1348944" y="6540795"/>
                  <a:pt x="1489406" y="6638039"/>
                </a:cubicBezTo>
                <a:cubicBezTo>
                  <a:pt x="1600048" y="6714537"/>
                  <a:pt x="1716308" y="6787577"/>
                  <a:pt x="1836889" y="6857592"/>
                </a:cubicBezTo>
                <a:lnTo>
                  <a:pt x="1816575" y="6857592"/>
                </a:lnTo>
                <a:cubicBezTo>
                  <a:pt x="1699884" y="6789306"/>
                  <a:pt x="1586651" y="6718427"/>
                  <a:pt x="1479466" y="6644089"/>
                </a:cubicBezTo>
                <a:cubicBezTo>
                  <a:pt x="1335546" y="6546846"/>
                  <a:pt x="1201999" y="6443552"/>
                  <a:pt x="1081417" y="6336369"/>
                </a:cubicBezTo>
                <a:cubicBezTo>
                  <a:pt x="656734" y="5964251"/>
                  <a:pt x="324372" y="5511395"/>
                  <a:pt x="73038" y="4959848"/>
                </a:cubicBezTo>
                <a:lnTo>
                  <a:pt x="0" y="4787554"/>
                </a:lnTo>
                <a:close/>
                <a:moveTo>
                  <a:pt x="0" y="4357497"/>
                </a:moveTo>
                <a:lnTo>
                  <a:pt x="3590" y="4371077"/>
                </a:lnTo>
                <a:cubicBezTo>
                  <a:pt x="33405" y="4468408"/>
                  <a:pt x="67926" y="4568055"/>
                  <a:pt x="107256" y="4670269"/>
                </a:cubicBezTo>
                <a:cubicBezTo>
                  <a:pt x="364842" y="5332819"/>
                  <a:pt x="723130" y="5861822"/>
                  <a:pt x="1205024" y="6287099"/>
                </a:cubicBezTo>
                <a:cubicBezTo>
                  <a:pt x="1325606" y="6392554"/>
                  <a:pt x="1456128" y="6495415"/>
                  <a:pt x="1600048" y="6592659"/>
                </a:cubicBezTo>
                <a:cubicBezTo>
                  <a:pt x="1733164" y="6685148"/>
                  <a:pt x="1874923" y="6773747"/>
                  <a:pt x="2023165" y="6858024"/>
                </a:cubicBezTo>
                <a:lnTo>
                  <a:pt x="2001554" y="6858024"/>
                </a:lnTo>
                <a:cubicBezTo>
                  <a:pt x="1858500" y="6775908"/>
                  <a:pt x="1719334" y="6689469"/>
                  <a:pt x="1587082" y="6599142"/>
                </a:cubicBezTo>
                <a:cubicBezTo>
                  <a:pt x="1446188" y="6501898"/>
                  <a:pt x="1315665" y="6398605"/>
                  <a:pt x="1192058" y="6291421"/>
                </a:cubicBezTo>
                <a:cubicBezTo>
                  <a:pt x="713190" y="5866144"/>
                  <a:pt x="351877" y="5337573"/>
                  <a:pt x="94290" y="4672429"/>
                </a:cubicBezTo>
                <a:lnTo>
                  <a:pt x="0" y="4400852"/>
                </a:lnTo>
                <a:close/>
                <a:moveTo>
                  <a:pt x="0" y="3631903"/>
                </a:moveTo>
                <a:lnTo>
                  <a:pt x="10844" y="3768898"/>
                </a:lnTo>
                <a:cubicBezTo>
                  <a:pt x="44858" y="4035486"/>
                  <a:pt x="118926" y="4317816"/>
                  <a:pt x="234320" y="4624456"/>
                </a:cubicBezTo>
                <a:cubicBezTo>
                  <a:pt x="488449" y="5287439"/>
                  <a:pt x="839822" y="5816009"/>
                  <a:pt x="1315233" y="6239558"/>
                </a:cubicBezTo>
                <a:cubicBezTo>
                  <a:pt x="1435814" y="6347174"/>
                  <a:pt x="1566337" y="6450035"/>
                  <a:pt x="1706800" y="6547278"/>
                </a:cubicBezTo>
                <a:cubicBezTo>
                  <a:pt x="1864118" y="6656623"/>
                  <a:pt x="2028350" y="6758620"/>
                  <a:pt x="2205549" y="6857592"/>
                </a:cubicBezTo>
                <a:lnTo>
                  <a:pt x="2183507" y="6857592"/>
                </a:lnTo>
                <a:cubicBezTo>
                  <a:pt x="2010198" y="6760782"/>
                  <a:pt x="1848127" y="6660513"/>
                  <a:pt x="1696860" y="6553329"/>
                </a:cubicBezTo>
                <a:cubicBezTo>
                  <a:pt x="1556397" y="6456086"/>
                  <a:pt x="1425874" y="6352792"/>
                  <a:pt x="1305292" y="6245609"/>
                </a:cubicBezTo>
                <a:cubicBezTo>
                  <a:pt x="829883" y="5820332"/>
                  <a:pt x="475051" y="5291760"/>
                  <a:pt x="220923" y="4626617"/>
                </a:cubicBezTo>
                <a:cubicBezTo>
                  <a:pt x="142263" y="4421110"/>
                  <a:pt x="82837" y="4226947"/>
                  <a:pt x="42265" y="4041321"/>
                </a:cubicBezTo>
                <a:lnTo>
                  <a:pt x="0" y="3795139"/>
                </a:lnTo>
                <a:close/>
                <a:moveTo>
                  <a:pt x="5434888" y="1729"/>
                </a:moveTo>
                <a:lnTo>
                  <a:pt x="5448286" y="1729"/>
                </a:lnTo>
                <a:cubicBezTo>
                  <a:pt x="5418033" y="302967"/>
                  <a:pt x="5344560" y="600316"/>
                  <a:pt x="5227436" y="893774"/>
                </a:cubicBezTo>
                <a:cubicBezTo>
                  <a:pt x="5173844" y="1019974"/>
                  <a:pt x="5117227" y="1145742"/>
                  <a:pt x="5060177" y="1269781"/>
                </a:cubicBezTo>
                <a:cubicBezTo>
                  <a:pt x="4952995" y="1494521"/>
                  <a:pt x="4842785" y="1727905"/>
                  <a:pt x="4785736" y="1963449"/>
                </a:cubicBezTo>
                <a:cubicBezTo>
                  <a:pt x="4695407" y="2329084"/>
                  <a:pt x="4728687" y="2696879"/>
                  <a:pt x="4768880" y="3010651"/>
                </a:cubicBezTo>
                <a:cubicBezTo>
                  <a:pt x="4832844" y="3470935"/>
                  <a:pt x="4956451" y="4067793"/>
                  <a:pt x="5361416" y="4600686"/>
                </a:cubicBezTo>
                <a:cubicBezTo>
                  <a:pt x="5441371" y="4710462"/>
                  <a:pt x="5538614" y="4817646"/>
                  <a:pt x="5642341" y="4920939"/>
                </a:cubicBezTo>
                <a:cubicBezTo>
                  <a:pt x="5986797" y="5257618"/>
                  <a:pt x="6438438" y="5559287"/>
                  <a:pt x="6990779" y="5817306"/>
                </a:cubicBezTo>
                <a:cubicBezTo>
                  <a:pt x="7131674" y="5883431"/>
                  <a:pt x="7275593" y="5945235"/>
                  <a:pt x="7425997" y="6003148"/>
                </a:cubicBezTo>
                <a:cubicBezTo>
                  <a:pt x="7821020" y="6156144"/>
                  <a:pt x="8255805" y="6287963"/>
                  <a:pt x="8717818" y="6393418"/>
                </a:cubicBezTo>
                <a:cubicBezTo>
                  <a:pt x="9019489" y="6462137"/>
                  <a:pt x="9337150" y="6520050"/>
                  <a:pt x="9666913" y="6567592"/>
                </a:cubicBezTo>
                <a:lnTo>
                  <a:pt x="9666913" y="6576236"/>
                </a:lnTo>
                <a:cubicBezTo>
                  <a:pt x="9335853" y="6528262"/>
                  <a:pt x="9016896" y="6470348"/>
                  <a:pt x="8714362" y="6401198"/>
                </a:cubicBezTo>
                <a:cubicBezTo>
                  <a:pt x="8249322" y="6295742"/>
                  <a:pt x="7814105" y="6163492"/>
                  <a:pt x="7416056" y="6008767"/>
                </a:cubicBezTo>
                <a:cubicBezTo>
                  <a:pt x="7268679" y="5950854"/>
                  <a:pt x="7124759" y="5889050"/>
                  <a:pt x="6984296" y="5822924"/>
                </a:cubicBezTo>
                <a:cubicBezTo>
                  <a:pt x="6428930" y="5564474"/>
                  <a:pt x="5973832" y="5263236"/>
                  <a:pt x="5632400" y="4924397"/>
                </a:cubicBezTo>
                <a:cubicBezTo>
                  <a:pt x="5525216" y="4821103"/>
                  <a:pt x="5431863" y="4713487"/>
                  <a:pt x="5348018" y="4604143"/>
                </a:cubicBezTo>
                <a:cubicBezTo>
                  <a:pt x="4943053" y="4069089"/>
                  <a:pt x="4819014" y="3472232"/>
                  <a:pt x="4755482" y="3009786"/>
                </a:cubicBezTo>
                <a:cubicBezTo>
                  <a:pt x="4712262" y="2697743"/>
                  <a:pt x="4682010" y="2328220"/>
                  <a:pt x="4772337" y="1962585"/>
                </a:cubicBezTo>
                <a:cubicBezTo>
                  <a:pt x="4828955" y="1725312"/>
                  <a:pt x="4939596" y="1491927"/>
                  <a:pt x="5043322" y="1266755"/>
                </a:cubicBezTo>
                <a:cubicBezTo>
                  <a:pt x="5103397" y="1142716"/>
                  <a:pt x="5160446" y="1016517"/>
                  <a:pt x="5210581" y="890749"/>
                </a:cubicBezTo>
                <a:cubicBezTo>
                  <a:pt x="5327704" y="597723"/>
                  <a:pt x="5404635" y="300374"/>
                  <a:pt x="5434888" y="1729"/>
                </a:cubicBezTo>
                <a:close/>
                <a:moveTo>
                  <a:pt x="5575783" y="1297"/>
                </a:moveTo>
                <a:lnTo>
                  <a:pt x="5589181" y="1297"/>
                </a:lnTo>
                <a:cubicBezTo>
                  <a:pt x="5555902" y="288272"/>
                  <a:pt x="5481997" y="573087"/>
                  <a:pt x="5368330" y="854012"/>
                </a:cubicBezTo>
                <a:cubicBezTo>
                  <a:pt x="5314738" y="979780"/>
                  <a:pt x="5254664" y="1107709"/>
                  <a:pt x="5197614" y="1231748"/>
                </a:cubicBezTo>
                <a:cubicBezTo>
                  <a:pt x="5090430" y="1454760"/>
                  <a:pt x="4979790" y="1685982"/>
                  <a:pt x="4919715" y="1921527"/>
                </a:cubicBezTo>
                <a:cubicBezTo>
                  <a:pt x="4825929" y="2282839"/>
                  <a:pt x="4856183" y="2652364"/>
                  <a:pt x="4896376" y="2964406"/>
                </a:cubicBezTo>
                <a:cubicBezTo>
                  <a:pt x="4956883" y="3424691"/>
                  <a:pt x="5077033" y="4021548"/>
                  <a:pt x="5472057" y="4554441"/>
                </a:cubicBezTo>
                <a:cubicBezTo>
                  <a:pt x="5555470" y="4664218"/>
                  <a:pt x="5649256" y="4771402"/>
                  <a:pt x="5752981" y="4874695"/>
                </a:cubicBezTo>
                <a:cubicBezTo>
                  <a:pt x="6094413" y="5213533"/>
                  <a:pt x="6546053" y="5515204"/>
                  <a:pt x="7094937" y="5773223"/>
                </a:cubicBezTo>
                <a:cubicBezTo>
                  <a:pt x="7232375" y="5837187"/>
                  <a:pt x="7376294" y="5898990"/>
                  <a:pt x="7526698" y="5956904"/>
                </a:cubicBezTo>
                <a:cubicBezTo>
                  <a:pt x="7921721" y="6109900"/>
                  <a:pt x="8353481" y="6239990"/>
                  <a:pt x="8818519" y="6343283"/>
                </a:cubicBezTo>
                <a:cubicBezTo>
                  <a:pt x="9090369" y="6405087"/>
                  <a:pt x="9373886" y="6457382"/>
                  <a:pt x="9666913" y="6500602"/>
                </a:cubicBezTo>
                <a:lnTo>
                  <a:pt x="9666913" y="6509246"/>
                </a:lnTo>
                <a:cubicBezTo>
                  <a:pt x="9372158" y="6465594"/>
                  <a:pt x="9086479" y="6413299"/>
                  <a:pt x="8811605" y="6351496"/>
                </a:cubicBezTo>
                <a:cubicBezTo>
                  <a:pt x="8349591" y="6248201"/>
                  <a:pt x="7914374" y="6118112"/>
                  <a:pt x="7516324" y="5965116"/>
                </a:cubicBezTo>
                <a:cubicBezTo>
                  <a:pt x="7368947" y="5907202"/>
                  <a:pt x="7225028" y="5845399"/>
                  <a:pt x="7084564" y="5779273"/>
                </a:cubicBezTo>
                <a:cubicBezTo>
                  <a:pt x="6535681" y="5521255"/>
                  <a:pt x="6080582" y="5217856"/>
                  <a:pt x="5739151" y="4879017"/>
                </a:cubicBezTo>
                <a:cubicBezTo>
                  <a:pt x="5635425" y="4775724"/>
                  <a:pt x="5542072" y="4668108"/>
                  <a:pt x="5458226" y="4558762"/>
                </a:cubicBezTo>
                <a:cubicBezTo>
                  <a:pt x="5059745" y="4023709"/>
                  <a:pt x="4942621" y="3427284"/>
                  <a:pt x="4882546" y="2966567"/>
                </a:cubicBezTo>
                <a:cubicBezTo>
                  <a:pt x="4842352" y="2652364"/>
                  <a:pt x="4812099" y="2282839"/>
                  <a:pt x="4905886" y="1919366"/>
                </a:cubicBezTo>
                <a:cubicBezTo>
                  <a:pt x="4965960" y="1683821"/>
                  <a:pt x="5076601" y="1452598"/>
                  <a:pt x="5180327" y="1229587"/>
                </a:cubicBezTo>
                <a:cubicBezTo>
                  <a:pt x="5240834" y="1105980"/>
                  <a:pt x="5300909" y="977619"/>
                  <a:pt x="5354501" y="851851"/>
                </a:cubicBezTo>
                <a:cubicBezTo>
                  <a:pt x="5468599" y="573087"/>
                  <a:pt x="5542072" y="287840"/>
                  <a:pt x="5575783" y="1297"/>
                </a:cubicBezTo>
                <a:close/>
                <a:moveTo>
                  <a:pt x="5293994" y="1297"/>
                </a:moveTo>
                <a:lnTo>
                  <a:pt x="5307392" y="1297"/>
                </a:lnTo>
                <a:cubicBezTo>
                  <a:pt x="5277139" y="315069"/>
                  <a:pt x="5203665" y="624950"/>
                  <a:pt x="5083083" y="930511"/>
                </a:cubicBezTo>
                <a:cubicBezTo>
                  <a:pt x="5036406" y="1056710"/>
                  <a:pt x="4976332" y="1182478"/>
                  <a:pt x="4919283" y="1306517"/>
                </a:cubicBezTo>
                <a:cubicBezTo>
                  <a:pt x="4815557" y="1533851"/>
                  <a:pt x="4708806" y="1768963"/>
                  <a:pt x="4651756" y="2006668"/>
                </a:cubicBezTo>
                <a:cubicBezTo>
                  <a:pt x="4564885" y="2374031"/>
                  <a:pt x="4598597" y="2741827"/>
                  <a:pt x="4645273" y="3055599"/>
                </a:cubicBezTo>
                <a:cubicBezTo>
                  <a:pt x="4712262" y="3515884"/>
                  <a:pt x="4839328" y="4112741"/>
                  <a:pt x="5247749" y="4645633"/>
                </a:cubicBezTo>
                <a:cubicBezTo>
                  <a:pt x="5331595" y="4755410"/>
                  <a:pt x="5428405" y="4862594"/>
                  <a:pt x="5535589" y="4965888"/>
                </a:cubicBezTo>
                <a:cubicBezTo>
                  <a:pt x="5877020" y="5300404"/>
                  <a:pt x="6335575" y="5602075"/>
                  <a:pt x="6890942" y="5862254"/>
                </a:cubicBezTo>
                <a:cubicBezTo>
                  <a:pt x="7031838" y="5926218"/>
                  <a:pt x="7175758" y="5988023"/>
                  <a:pt x="7326160" y="6045935"/>
                </a:cubicBezTo>
                <a:cubicBezTo>
                  <a:pt x="7721184" y="6201092"/>
                  <a:pt x="8159427" y="6335072"/>
                  <a:pt x="8617983" y="6440527"/>
                </a:cubicBezTo>
                <a:cubicBezTo>
                  <a:pt x="8950770" y="6516161"/>
                  <a:pt x="9301711" y="6580989"/>
                  <a:pt x="9667345" y="6632852"/>
                </a:cubicBezTo>
                <a:lnTo>
                  <a:pt x="9667345" y="6642793"/>
                </a:lnTo>
                <a:cubicBezTo>
                  <a:pt x="9298685" y="6590498"/>
                  <a:pt x="8946016" y="6526101"/>
                  <a:pt x="8614525" y="6448739"/>
                </a:cubicBezTo>
                <a:cubicBezTo>
                  <a:pt x="8152944" y="6341123"/>
                  <a:pt x="7714269" y="6208872"/>
                  <a:pt x="7316220" y="6054147"/>
                </a:cubicBezTo>
                <a:cubicBezTo>
                  <a:pt x="7168842" y="5996234"/>
                  <a:pt x="7021464" y="5934431"/>
                  <a:pt x="6884460" y="5868305"/>
                </a:cubicBezTo>
                <a:cubicBezTo>
                  <a:pt x="6325635" y="5607693"/>
                  <a:pt x="5867512" y="5306455"/>
                  <a:pt x="5522623" y="4969778"/>
                </a:cubicBezTo>
                <a:cubicBezTo>
                  <a:pt x="5415440" y="4866483"/>
                  <a:pt x="5318629" y="4758867"/>
                  <a:pt x="5234783" y="4649523"/>
                </a:cubicBezTo>
                <a:cubicBezTo>
                  <a:pt x="4826361" y="4114469"/>
                  <a:pt x="4695840" y="3515884"/>
                  <a:pt x="4628850" y="3055167"/>
                </a:cubicBezTo>
                <a:cubicBezTo>
                  <a:pt x="4585198" y="2741395"/>
                  <a:pt x="4551920" y="2371870"/>
                  <a:pt x="4638790" y="2004076"/>
                </a:cubicBezTo>
                <a:cubicBezTo>
                  <a:pt x="4695407" y="1766370"/>
                  <a:pt x="4802591" y="1531258"/>
                  <a:pt x="4906318" y="1303924"/>
                </a:cubicBezTo>
                <a:cubicBezTo>
                  <a:pt x="4962934" y="1179885"/>
                  <a:pt x="5019984" y="1053685"/>
                  <a:pt x="5070118" y="927917"/>
                </a:cubicBezTo>
                <a:cubicBezTo>
                  <a:pt x="5190699" y="624518"/>
                  <a:pt x="5264173" y="312908"/>
                  <a:pt x="5293994" y="1297"/>
                </a:cubicBezTo>
                <a:close/>
                <a:moveTo>
                  <a:pt x="5150073" y="1297"/>
                </a:moveTo>
                <a:lnTo>
                  <a:pt x="5163472" y="1297"/>
                </a:lnTo>
                <a:cubicBezTo>
                  <a:pt x="5140133" y="327603"/>
                  <a:pt x="5066228" y="651747"/>
                  <a:pt x="4942621" y="969840"/>
                </a:cubicBezTo>
                <a:cubicBezTo>
                  <a:pt x="4895512" y="1096040"/>
                  <a:pt x="4838895" y="1221807"/>
                  <a:pt x="4781845" y="1343686"/>
                </a:cubicBezTo>
                <a:cubicBezTo>
                  <a:pt x="4681145" y="1572748"/>
                  <a:pt x="4574394" y="1810454"/>
                  <a:pt x="4517344" y="2049888"/>
                </a:cubicBezTo>
                <a:cubicBezTo>
                  <a:pt x="4433499" y="2417251"/>
                  <a:pt x="4470667" y="2786775"/>
                  <a:pt x="4517344" y="3098818"/>
                </a:cubicBezTo>
                <a:cubicBezTo>
                  <a:pt x="4587359" y="3559535"/>
                  <a:pt x="4721339" y="4155959"/>
                  <a:pt x="5136243" y="4691014"/>
                </a:cubicBezTo>
                <a:cubicBezTo>
                  <a:pt x="5220088" y="4800790"/>
                  <a:pt x="5316900" y="4907974"/>
                  <a:pt x="5424084" y="5011268"/>
                </a:cubicBezTo>
                <a:cubicBezTo>
                  <a:pt x="5768540" y="5343623"/>
                  <a:pt x="6230554" y="5645293"/>
                  <a:pt x="6789377" y="5905473"/>
                </a:cubicBezTo>
                <a:cubicBezTo>
                  <a:pt x="6930272" y="5971598"/>
                  <a:pt x="7074193" y="6033402"/>
                  <a:pt x="7224595" y="6091316"/>
                </a:cubicBezTo>
                <a:cubicBezTo>
                  <a:pt x="7623076" y="6248201"/>
                  <a:pt x="8057862" y="6380452"/>
                  <a:pt x="8519875" y="6487636"/>
                </a:cubicBezTo>
                <a:cubicBezTo>
                  <a:pt x="8879026" y="6571913"/>
                  <a:pt x="9262813" y="6643225"/>
                  <a:pt x="9666480" y="6699411"/>
                </a:cubicBezTo>
                <a:lnTo>
                  <a:pt x="9666480" y="6708918"/>
                </a:lnTo>
                <a:cubicBezTo>
                  <a:pt x="9261516" y="6651869"/>
                  <a:pt x="8875568" y="6580557"/>
                  <a:pt x="8513393" y="6495848"/>
                </a:cubicBezTo>
                <a:cubicBezTo>
                  <a:pt x="8051379" y="6388664"/>
                  <a:pt x="7616161" y="6254252"/>
                  <a:pt x="7218112" y="6099527"/>
                </a:cubicBezTo>
                <a:cubicBezTo>
                  <a:pt x="7067710" y="6039452"/>
                  <a:pt x="6920332" y="5977649"/>
                  <a:pt x="6779869" y="5911524"/>
                </a:cubicBezTo>
                <a:cubicBezTo>
                  <a:pt x="6221045" y="5651345"/>
                  <a:pt x="5759032" y="5349674"/>
                  <a:pt x="5411118" y="5015158"/>
                </a:cubicBezTo>
                <a:cubicBezTo>
                  <a:pt x="5303934" y="4911864"/>
                  <a:pt x="5207123" y="4804248"/>
                  <a:pt x="5123278" y="4694903"/>
                </a:cubicBezTo>
                <a:cubicBezTo>
                  <a:pt x="4708373" y="4157688"/>
                  <a:pt x="4574826" y="3561263"/>
                  <a:pt x="4504379" y="3100547"/>
                </a:cubicBezTo>
                <a:cubicBezTo>
                  <a:pt x="4457701" y="2786775"/>
                  <a:pt x="4420534" y="2416819"/>
                  <a:pt x="4504379" y="2047294"/>
                </a:cubicBezTo>
                <a:cubicBezTo>
                  <a:pt x="4561428" y="1807860"/>
                  <a:pt x="4668612" y="1570154"/>
                  <a:pt x="4768880" y="1341093"/>
                </a:cubicBezTo>
                <a:cubicBezTo>
                  <a:pt x="4825929" y="1219214"/>
                  <a:pt x="4882979" y="1093015"/>
                  <a:pt x="4929656" y="967246"/>
                </a:cubicBezTo>
                <a:cubicBezTo>
                  <a:pt x="5053263" y="649153"/>
                  <a:pt x="5127167" y="327170"/>
                  <a:pt x="5150073" y="1297"/>
                </a:cubicBezTo>
                <a:close/>
                <a:moveTo>
                  <a:pt x="5008747" y="1297"/>
                </a:moveTo>
                <a:lnTo>
                  <a:pt x="5022145" y="1297"/>
                </a:lnTo>
                <a:cubicBezTo>
                  <a:pt x="4998807" y="340136"/>
                  <a:pt x="4924902" y="676814"/>
                  <a:pt x="4801294" y="1009169"/>
                </a:cubicBezTo>
                <a:cubicBezTo>
                  <a:pt x="4754618" y="1132776"/>
                  <a:pt x="4697569" y="1258976"/>
                  <a:pt x="4643977" y="1378694"/>
                </a:cubicBezTo>
                <a:cubicBezTo>
                  <a:pt x="4543708" y="1612077"/>
                  <a:pt x="4439982" y="1851512"/>
                  <a:pt x="4386390" y="2093107"/>
                </a:cubicBezTo>
                <a:cubicBezTo>
                  <a:pt x="4302977" y="2462631"/>
                  <a:pt x="4343171" y="2832155"/>
                  <a:pt x="4389848" y="3144198"/>
                </a:cubicBezTo>
                <a:cubicBezTo>
                  <a:pt x="4463320" y="3604915"/>
                  <a:pt x="4600325" y="4201340"/>
                  <a:pt x="5022145" y="4736393"/>
                </a:cubicBezTo>
                <a:cubicBezTo>
                  <a:pt x="5109448" y="4846171"/>
                  <a:pt x="5206258" y="4953355"/>
                  <a:pt x="5313442" y="5056648"/>
                </a:cubicBezTo>
                <a:cubicBezTo>
                  <a:pt x="5661356" y="5386843"/>
                  <a:pt x="6122938" y="5686351"/>
                  <a:pt x="6688676" y="5948692"/>
                </a:cubicBezTo>
                <a:cubicBezTo>
                  <a:pt x="6829571" y="6014818"/>
                  <a:pt x="6973492" y="6076622"/>
                  <a:pt x="7123895" y="6136696"/>
                </a:cubicBezTo>
                <a:cubicBezTo>
                  <a:pt x="7522376" y="6293582"/>
                  <a:pt x="7960618" y="6427993"/>
                  <a:pt x="8419174" y="6537339"/>
                </a:cubicBezTo>
                <a:cubicBezTo>
                  <a:pt x="8805986" y="6628962"/>
                  <a:pt x="9224349" y="6706325"/>
                  <a:pt x="9666049" y="6767264"/>
                </a:cubicBezTo>
                <a:lnTo>
                  <a:pt x="9666049" y="6775908"/>
                </a:lnTo>
                <a:cubicBezTo>
                  <a:pt x="9222187" y="6714537"/>
                  <a:pt x="8802529" y="6637175"/>
                  <a:pt x="8412691" y="6545550"/>
                </a:cubicBezTo>
                <a:cubicBezTo>
                  <a:pt x="7954135" y="6436206"/>
                  <a:pt x="7515460" y="6299633"/>
                  <a:pt x="7117412" y="6142747"/>
                </a:cubicBezTo>
                <a:cubicBezTo>
                  <a:pt x="6967009" y="6084833"/>
                  <a:pt x="6819631" y="6023030"/>
                  <a:pt x="6679169" y="5956904"/>
                </a:cubicBezTo>
                <a:cubicBezTo>
                  <a:pt x="6113862" y="5692402"/>
                  <a:pt x="5651848" y="5392893"/>
                  <a:pt x="5303934" y="5060537"/>
                </a:cubicBezTo>
                <a:cubicBezTo>
                  <a:pt x="5193725" y="4957244"/>
                  <a:pt x="5096482" y="4849628"/>
                  <a:pt x="5009611" y="4740283"/>
                </a:cubicBezTo>
                <a:cubicBezTo>
                  <a:pt x="4588224" y="4203068"/>
                  <a:pt x="4450787" y="3606643"/>
                  <a:pt x="4377314" y="3145926"/>
                </a:cubicBezTo>
                <a:cubicBezTo>
                  <a:pt x="4327180" y="2831723"/>
                  <a:pt x="4290444" y="2462199"/>
                  <a:pt x="4370831" y="2090514"/>
                </a:cubicBezTo>
                <a:cubicBezTo>
                  <a:pt x="4424423" y="1848919"/>
                  <a:pt x="4531607" y="1609484"/>
                  <a:pt x="4631875" y="1376100"/>
                </a:cubicBezTo>
                <a:cubicBezTo>
                  <a:pt x="4685467" y="1256383"/>
                  <a:pt x="4742516" y="1130616"/>
                  <a:pt x="4789193" y="1006575"/>
                </a:cubicBezTo>
                <a:cubicBezTo>
                  <a:pt x="4912800" y="675949"/>
                  <a:pt x="4986705" y="339703"/>
                  <a:pt x="5008747" y="1297"/>
                </a:cubicBezTo>
                <a:close/>
                <a:moveTo>
                  <a:pt x="4865691" y="1297"/>
                </a:moveTo>
                <a:lnTo>
                  <a:pt x="4879089" y="1297"/>
                </a:lnTo>
                <a:cubicBezTo>
                  <a:pt x="4862666" y="352670"/>
                  <a:pt x="4788761" y="703609"/>
                  <a:pt x="4661697" y="1048499"/>
                </a:cubicBezTo>
                <a:cubicBezTo>
                  <a:pt x="4615020" y="1172538"/>
                  <a:pt x="4561428" y="1296577"/>
                  <a:pt x="4507836" y="1416295"/>
                </a:cubicBezTo>
                <a:cubicBezTo>
                  <a:pt x="4407567" y="1649678"/>
                  <a:pt x="4303842" y="1891273"/>
                  <a:pt x="4253707" y="2135030"/>
                </a:cubicBezTo>
                <a:cubicBezTo>
                  <a:pt x="4173320" y="2511036"/>
                  <a:pt x="4216971" y="2895255"/>
                  <a:pt x="4267105" y="3190442"/>
                </a:cubicBezTo>
                <a:cubicBezTo>
                  <a:pt x="4344036" y="3651159"/>
                  <a:pt x="4484930" y="4247584"/>
                  <a:pt x="4909775" y="4782638"/>
                </a:cubicBezTo>
                <a:cubicBezTo>
                  <a:pt x="4996645" y="4892416"/>
                  <a:pt x="5096914" y="4999599"/>
                  <a:pt x="5207555" y="5102893"/>
                </a:cubicBezTo>
                <a:cubicBezTo>
                  <a:pt x="5555470" y="5431358"/>
                  <a:pt x="6020509" y="5730435"/>
                  <a:pt x="6586247" y="5994937"/>
                </a:cubicBezTo>
                <a:cubicBezTo>
                  <a:pt x="6730168" y="6061062"/>
                  <a:pt x="6874087" y="6122866"/>
                  <a:pt x="7024491" y="6180779"/>
                </a:cubicBezTo>
                <a:cubicBezTo>
                  <a:pt x="7426430" y="6339826"/>
                  <a:pt x="7861214" y="6476399"/>
                  <a:pt x="8319770" y="6585744"/>
                </a:cubicBezTo>
                <a:cubicBezTo>
                  <a:pt x="8733378" y="6684284"/>
                  <a:pt x="9185883" y="6769425"/>
                  <a:pt x="9666913" y="6835982"/>
                </a:cubicBezTo>
                <a:lnTo>
                  <a:pt x="9666913" y="6844626"/>
                </a:lnTo>
                <a:cubicBezTo>
                  <a:pt x="9184585" y="6778069"/>
                  <a:pt x="8730784" y="6692928"/>
                  <a:pt x="8316312" y="6593955"/>
                </a:cubicBezTo>
                <a:cubicBezTo>
                  <a:pt x="7854731" y="6484179"/>
                  <a:pt x="7419514" y="6348038"/>
                  <a:pt x="7018008" y="6188992"/>
                </a:cubicBezTo>
                <a:cubicBezTo>
                  <a:pt x="6867604" y="6131078"/>
                  <a:pt x="6720226" y="6067113"/>
                  <a:pt x="6579764" y="6000988"/>
                </a:cubicBezTo>
                <a:cubicBezTo>
                  <a:pt x="6010567" y="5736486"/>
                  <a:pt x="5545529" y="5437409"/>
                  <a:pt x="5194157" y="5106782"/>
                </a:cubicBezTo>
                <a:cubicBezTo>
                  <a:pt x="5083948" y="5003488"/>
                  <a:pt x="4986705" y="4895872"/>
                  <a:pt x="4899835" y="4786528"/>
                </a:cubicBezTo>
                <a:cubicBezTo>
                  <a:pt x="4471532" y="4249313"/>
                  <a:pt x="4327612" y="3650727"/>
                  <a:pt x="4254139" y="3190010"/>
                </a:cubicBezTo>
                <a:cubicBezTo>
                  <a:pt x="4204005" y="2896552"/>
                  <a:pt x="4156895" y="2510604"/>
                  <a:pt x="4240741" y="2134598"/>
                </a:cubicBezTo>
                <a:cubicBezTo>
                  <a:pt x="4290876" y="1890841"/>
                  <a:pt x="4394601" y="1647084"/>
                  <a:pt x="4494870" y="1413701"/>
                </a:cubicBezTo>
                <a:cubicBezTo>
                  <a:pt x="4548030" y="1293552"/>
                  <a:pt x="4601622" y="1169945"/>
                  <a:pt x="4645273" y="1045906"/>
                </a:cubicBezTo>
                <a:cubicBezTo>
                  <a:pt x="4775796" y="701016"/>
                  <a:pt x="4849268" y="351805"/>
                  <a:pt x="4865691" y="1297"/>
                </a:cubicBezTo>
                <a:close/>
                <a:moveTo>
                  <a:pt x="4438253" y="1297"/>
                </a:moveTo>
                <a:lnTo>
                  <a:pt x="4451652" y="1297"/>
                </a:lnTo>
                <a:cubicBezTo>
                  <a:pt x="4441278" y="391567"/>
                  <a:pt x="4371263" y="779675"/>
                  <a:pt x="4237284" y="1163894"/>
                </a:cubicBezTo>
                <a:cubicBezTo>
                  <a:pt x="4194064" y="1285772"/>
                  <a:pt x="4143498" y="1407650"/>
                  <a:pt x="4096821" y="1525207"/>
                </a:cubicBezTo>
                <a:cubicBezTo>
                  <a:pt x="4000010" y="1765073"/>
                  <a:pt x="3899309" y="2014880"/>
                  <a:pt x="3852633" y="2264687"/>
                </a:cubicBezTo>
                <a:cubicBezTo>
                  <a:pt x="3782187" y="2644584"/>
                  <a:pt x="3832320" y="3030532"/>
                  <a:pt x="3889369" y="3323990"/>
                </a:cubicBezTo>
                <a:cubicBezTo>
                  <a:pt x="3972783" y="3784706"/>
                  <a:pt x="4130100" y="4381564"/>
                  <a:pt x="4575258" y="4918347"/>
                </a:cubicBezTo>
                <a:cubicBezTo>
                  <a:pt x="4665586" y="5027691"/>
                  <a:pt x="4766286" y="5135307"/>
                  <a:pt x="4879953" y="5236440"/>
                </a:cubicBezTo>
                <a:cubicBezTo>
                  <a:pt x="5231326" y="5560584"/>
                  <a:pt x="5706304" y="5860093"/>
                  <a:pt x="6285442" y="6126323"/>
                </a:cubicBezTo>
                <a:cubicBezTo>
                  <a:pt x="6425904" y="6192449"/>
                  <a:pt x="6573281" y="6256413"/>
                  <a:pt x="6723685" y="6314327"/>
                </a:cubicBezTo>
                <a:cubicBezTo>
                  <a:pt x="7128648" y="6475103"/>
                  <a:pt x="7566892" y="6615565"/>
                  <a:pt x="8021989" y="6729231"/>
                </a:cubicBezTo>
                <a:cubicBezTo>
                  <a:pt x="8202645" y="6774179"/>
                  <a:pt x="8391946" y="6816966"/>
                  <a:pt x="8590321" y="6858456"/>
                </a:cubicBezTo>
                <a:lnTo>
                  <a:pt x="8546671" y="6858456"/>
                </a:lnTo>
                <a:cubicBezTo>
                  <a:pt x="8362557" y="6819992"/>
                  <a:pt x="8186222" y="6779798"/>
                  <a:pt x="8018964" y="6737876"/>
                </a:cubicBezTo>
                <a:cubicBezTo>
                  <a:pt x="7560409" y="6624641"/>
                  <a:pt x="7122165" y="6484179"/>
                  <a:pt x="6717202" y="6322971"/>
                </a:cubicBezTo>
                <a:cubicBezTo>
                  <a:pt x="6566798" y="6262896"/>
                  <a:pt x="6419421" y="6198932"/>
                  <a:pt x="6275502" y="6134968"/>
                </a:cubicBezTo>
                <a:cubicBezTo>
                  <a:pt x="5696365" y="5866576"/>
                  <a:pt x="5221385" y="5564906"/>
                  <a:pt x="4866555" y="5242923"/>
                </a:cubicBezTo>
                <a:cubicBezTo>
                  <a:pt x="4752457" y="5139629"/>
                  <a:pt x="4652188" y="5032013"/>
                  <a:pt x="4561860" y="4922669"/>
                </a:cubicBezTo>
                <a:cubicBezTo>
                  <a:pt x="4117134" y="4383293"/>
                  <a:pt x="3959817" y="3784706"/>
                  <a:pt x="3875971" y="3326151"/>
                </a:cubicBezTo>
                <a:cubicBezTo>
                  <a:pt x="3819355" y="3030964"/>
                  <a:pt x="3765762" y="2644584"/>
                  <a:pt x="3839235" y="2262526"/>
                </a:cubicBezTo>
                <a:cubicBezTo>
                  <a:pt x="3885911" y="2012287"/>
                  <a:pt x="3986180" y="1764641"/>
                  <a:pt x="4083423" y="1523045"/>
                </a:cubicBezTo>
                <a:cubicBezTo>
                  <a:pt x="4130100" y="1405489"/>
                  <a:pt x="4180235" y="1283611"/>
                  <a:pt x="4223886" y="1161733"/>
                </a:cubicBezTo>
                <a:cubicBezTo>
                  <a:pt x="4357866" y="779675"/>
                  <a:pt x="4428313" y="391567"/>
                  <a:pt x="4438253" y="1297"/>
                </a:cubicBezTo>
                <a:close/>
                <a:moveTo>
                  <a:pt x="3715197" y="1297"/>
                </a:moveTo>
                <a:lnTo>
                  <a:pt x="3728595" y="1297"/>
                </a:lnTo>
                <a:cubicBezTo>
                  <a:pt x="3738534" y="453370"/>
                  <a:pt x="3671545" y="907604"/>
                  <a:pt x="3531083" y="1357948"/>
                </a:cubicBezTo>
                <a:cubicBezTo>
                  <a:pt x="3494347" y="1473776"/>
                  <a:pt x="3450694" y="1591332"/>
                  <a:pt x="3410501" y="1704998"/>
                </a:cubicBezTo>
                <a:cubicBezTo>
                  <a:pt x="3320173" y="1956967"/>
                  <a:pt x="3226388" y="2217146"/>
                  <a:pt x="3186194" y="2479486"/>
                </a:cubicBezTo>
                <a:cubicBezTo>
                  <a:pt x="3142542" y="2782886"/>
                  <a:pt x="3162423" y="3121725"/>
                  <a:pt x="3259665" y="3549162"/>
                </a:cubicBezTo>
                <a:cubicBezTo>
                  <a:pt x="3410070" y="4230297"/>
                  <a:pt x="3641292" y="4723861"/>
                  <a:pt x="4012544" y="5147409"/>
                </a:cubicBezTo>
                <a:cubicBezTo>
                  <a:pt x="4106330" y="5254592"/>
                  <a:pt x="4213513" y="5362207"/>
                  <a:pt x="4330638" y="5463341"/>
                </a:cubicBezTo>
                <a:cubicBezTo>
                  <a:pt x="4691950" y="5774951"/>
                  <a:pt x="5177302" y="6072299"/>
                  <a:pt x="5776320" y="6347174"/>
                </a:cubicBezTo>
                <a:cubicBezTo>
                  <a:pt x="5923697" y="6415028"/>
                  <a:pt x="6071074" y="6478992"/>
                  <a:pt x="6221478" y="6539067"/>
                </a:cubicBezTo>
                <a:cubicBezTo>
                  <a:pt x="6514504" y="6655326"/>
                  <a:pt x="6818767" y="6762510"/>
                  <a:pt x="7132106" y="6858889"/>
                </a:cubicBezTo>
                <a:lnTo>
                  <a:pt x="7102285" y="6858889"/>
                </a:lnTo>
                <a:cubicBezTo>
                  <a:pt x="6797589" y="6765103"/>
                  <a:pt x="6500242" y="6660513"/>
                  <a:pt x="6214995" y="6546414"/>
                </a:cubicBezTo>
                <a:cubicBezTo>
                  <a:pt x="6064159" y="6486339"/>
                  <a:pt x="5913757" y="6422375"/>
                  <a:pt x="5769837" y="6356249"/>
                </a:cubicBezTo>
                <a:cubicBezTo>
                  <a:pt x="5167361" y="6079214"/>
                  <a:pt x="4682010" y="5781866"/>
                  <a:pt x="4320697" y="5468095"/>
                </a:cubicBezTo>
                <a:cubicBezTo>
                  <a:pt x="4203573" y="5366962"/>
                  <a:pt x="4096821" y="5259346"/>
                  <a:pt x="3999578" y="5152162"/>
                </a:cubicBezTo>
                <a:cubicBezTo>
                  <a:pt x="3627894" y="4726885"/>
                  <a:pt x="3397102" y="4233322"/>
                  <a:pt x="3243243" y="3549594"/>
                </a:cubicBezTo>
                <a:cubicBezTo>
                  <a:pt x="3186194" y="3281203"/>
                  <a:pt x="3112721" y="2878400"/>
                  <a:pt x="3172796" y="2477758"/>
                </a:cubicBezTo>
                <a:cubicBezTo>
                  <a:pt x="3212988" y="2215417"/>
                  <a:pt x="3306775" y="1955237"/>
                  <a:pt x="3397102" y="1703270"/>
                </a:cubicBezTo>
                <a:cubicBezTo>
                  <a:pt x="3437296" y="1589603"/>
                  <a:pt x="3477491" y="1472047"/>
                  <a:pt x="3514226" y="1356220"/>
                </a:cubicBezTo>
                <a:cubicBezTo>
                  <a:pt x="3658147" y="908036"/>
                  <a:pt x="3725137" y="453370"/>
                  <a:pt x="3715197" y="1297"/>
                </a:cubicBezTo>
                <a:close/>
                <a:moveTo>
                  <a:pt x="3566955" y="1297"/>
                </a:moveTo>
                <a:lnTo>
                  <a:pt x="3583809" y="1297"/>
                </a:lnTo>
                <a:cubicBezTo>
                  <a:pt x="3593751" y="465903"/>
                  <a:pt x="3530218" y="932671"/>
                  <a:pt x="3386299" y="1395117"/>
                </a:cubicBezTo>
                <a:cubicBezTo>
                  <a:pt x="3353019" y="1510944"/>
                  <a:pt x="3312826" y="1628500"/>
                  <a:pt x="3272631" y="1740006"/>
                </a:cubicBezTo>
                <a:cubicBezTo>
                  <a:pt x="3182303" y="1994135"/>
                  <a:pt x="3091976" y="2258205"/>
                  <a:pt x="3055239" y="2520545"/>
                </a:cubicBezTo>
                <a:cubicBezTo>
                  <a:pt x="3011588" y="2826105"/>
                  <a:pt x="3034926" y="3167104"/>
                  <a:pt x="3132169" y="3592381"/>
                </a:cubicBezTo>
                <a:cubicBezTo>
                  <a:pt x="3228980" y="4015497"/>
                  <a:pt x="3413094" y="4643472"/>
                  <a:pt x="3898445" y="5192789"/>
                </a:cubicBezTo>
                <a:cubicBezTo>
                  <a:pt x="3995256" y="5299972"/>
                  <a:pt x="4102439" y="5407588"/>
                  <a:pt x="4223022" y="5508721"/>
                </a:cubicBezTo>
                <a:cubicBezTo>
                  <a:pt x="4587792" y="5822492"/>
                  <a:pt x="5063203" y="6111629"/>
                  <a:pt x="5675619" y="6392554"/>
                </a:cubicBezTo>
                <a:cubicBezTo>
                  <a:pt x="5822996" y="6458678"/>
                  <a:pt x="5973400" y="6522644"/>
                  <a:pt x="6120777" y="6584447"/>
                </a:cubicBezTo>
                <a:cubicBezTo>
                  <a:pt x="6369287" y="6682122"/>
                  <a:pt x="6624280" y="6773747"/>
                  <a:pt x="6884460" y="6858024"/>
                </a:cubicBezTo>
                <a:lnTo>
                  <a:pt x="6853343" y="6858024"/>
                </a:lnTo>
                <a:cubicBezTo>
                  <a:pt x="6600943" y="6775908"/>
                  <a:pt x="6353296" y="6686444"/>
                  <a:pt x="6113862" y="6590931"/>
                </a:cubicBezTo>
                <a:cubicBezTo>
                  <a:pt x="5963026" y="6531288"/>
                  <a:pt x="5812624" y="6467323"/>
                  <a:pt x="5665247" y="6399037"/>
                </a:cubicBezTo>
                <a:cubicBezTo>
                  <a:pt x="5052831" y="6118112"/>
                  <a:pt x="4577851" y="5828975"/>
                  <a:pt x="4209623" y="5513043"/>
                </a:cubicBezTo>
                <a:cubicBezTo>
                  <a:pt x="4092499" y="5411910"/>
                  <a:pt x="3982290" y="5304294"/>
                  <a:pt x="3888505" y="5197111"/>
                </a:cubicBezTo>
                <a:cubicBezTo>
                  <a:pt x="3399696" y="4645633"/>
                  <a:pt x="3216015" y="4018091"/>
                  <a:pt x="3118771" y="3594543"/>
                </a:cubicBezTo>
                <a:cubicBezTo>
                  <a:pt x="3021528" y="3168832"/>
                  <a:pt x="2994731" y="2826105"/>
                  <a:pt x="3038384" y="2520545"/>
                </a:cubicBezTo>
                <a:cubicBezTo>
                  <a:pt x="3078578" y="2256043"/>
                  <a:pt x="3168906" y="1994135"/>
                  <a:pt x="3259234" y="1737845"/>
                </a:cubicBezTo>
                <a:cubicBezTo>
                  <a:pt x="3295971" y="1626340"/>
                  <a:pt x="3339622" y="1510944"/>
                  <a:pt x="3372899" y="1395117"/>
                </a:cubicBezTo>
                <a:cubicBezTo>
                  <a:pt x="3516821" y="932671"/>
                  <a:pt x="3580353" y="465903"/>
                  <a:pt x="3566955" y="1297"/>
                </a:cubicBezTo>
                <a:close/>
                <a:moveTo>
                  <a:pt x="3423467" y="1297"/>
                </a:moveTo>
                <a:lnTo>
                  <a:pt x="3436865" y="1297"/>
                </a:lnTo>
                <a:cubicBezTo>
                  <a:pt x="3453720" y="478437"/>
                  <a:pt x="3390188" y="959467"/>
                  <a:pt x="3246268" y="1434446"/>
                </a:cubicBezTo>
                <a:cubicBezTo>
                  <a:pt x="3212557" y="1549842"/>
                  <a:pt x="3172364" y="1663508"/>
                  <a:pt x="3135627" y="1775013"/>
                </a:cubicBezTo>
                <a:cubicBezTo>
                  <a:pt x="3048324" y="2033033"/>
                  <a:pt x="2957995" y="2297534"/>
                  <a:pt x="2921258" y="2563764"/>
                </a:cubicBezTo>
                <a:cubicBezTo>
                  <a:pt x="2878041" y="2871485"/>
                  <a:pt x="2907861" y="3212484"/>
                  <a:pt x="3005104" y="3637761"/>
                </a:cubicBezTo>
                <a:cubicBezTo>
                  <a:pt x="3165880" y="4311116"/>
                  <a:pt x="3413525" y="4818942"/>
                  <a:pt x="3788238" y="5238168"/>
                </a:cubicBezTo>
                <a:cubicBezTo>
                  <a:pt x="3885047" y="5345352"/>
                  <a:pt x="3992231" y="5452968"/>
                  <a:pt x="4112813" y="5554101"/>
                </a:cubicBezTo>
                <a:cubicBezTo>
                  <a:pt x="4481040" y="5865712"/>
                  <a:pt x="4956451" y="6154848"/>
                  <a:pt x="5575351" y="6435773"/>
                </a:cubicBezTo>
                <a:cubicBezTo>
                  <a:pt x="5722728" y="6503627"/>
                  <a:pt x="5873131" y="6567592"/>
                  <a:pt x="6020509" y="6627666"/>
                </a:cubicBezTo>
                <a:cubicBezTo>
                  <a:pt x="6223206" y="6709783"/>
                  <a:pt x="6432387" y="6786281"/>
                  <a:pt x="6644161" y="6857592"/>
                </a:cubicBezTo>
                <a:lnTo>
                  <a:pt x="6615637" y="6857592"/>
                </a:lnTo>
                <a:cubicBezTo>
                  <a:pt x="6411209" y="6788009"/>
                  <a:pt x="6210240" y="6714537"/>
                  <a:pt x="6014025" y="6635877"/>
                </a:cubicBezTo>
                <a:cubicBezTo>
                  <a:pt x="5863191" y="6574074"/>
                  <a:pt x="5712788" y="6510110"/>
                  <a:pt x="5565410" y="6443985"/>
                </a:cubicBezTo>
                <a:cubicBezTo>
                  <a:pt x="4949536" y="6160899"/>
                  <a:pt x="4467642" y="5871762"/>
                  <a:pt x="4102871" y="5557991"/>
                </a:cubicBezTo>
                <a:cubicBezTo>
                  <a:pt x="3982290" y="5456858"/>
                  <a:pt x="3872082" y="5349242"/>
                  <a:pt x="3774838" y="5242058"/>
                </a:cubicBezTo>
                <a:cubicBezTo>
                  <a:pt x="3400127" y="4822832"/>
                  <a:pt x="3149025" y="4312846"/>
                  <a:pt x="2991707" y="3639491"/>
                </a:cubicBezTo>
                <a:cubicBezTo>
                  <a:pt x="2891006" y="3214213"/>
                  <a:pt x="2864210" y="2871485"/>
                  <a:pt x="2907861" y="2563764"/>
                </a:cubicBezTo>
                <a:cubicBezTo>
                  <a:pt x="2941572" y="2297534"/>
                  <a:pt x="3031900" y="2031303"/>
                  <a:pt x="3122227" y="1775013"/>
                </a:cubicBezTo>
                <a:cubicBezTo>
                  <a:pt x="3159398" y="1663508"/>
                  <a:pt x="3199590" y="1548113"/>
                  <a:pt x="3232870" y="1432286"/>
                </a:cubicBezTo>
                <a:cubicBezTo>
                  <a:pt x="3376790" y="957306"/>
                  <a:pt x="3440323" y="476276"/>
                  <a:pt x="3423467" y="1297"/>
                </a:cubicBezTo>
                <a:close/>
                <a:moveTo>
                  <a:pt x="3276521" y="1297"/>
                </a:moveTo>
                <a:lnTo>
                  <a:pt x="3293377" y="1297"/>
                </a:lnTo>
                <a:cubicBezTo>
                  <a:pt x="3313258" y="490971"/>
                  <a:pt x="3249726" y="984535"/>
                  <a:pt x="3105805" y="1473776"/>
                </a:cubicBezTo>
                <a:cubicBezTo>
                  <a:pt x="3072095" y="1587442"/>
                  <a:pt x="3035357" y="1701108"/>
                  <a:pt x="2998622" y="1812614"/>
                </a:cubicBezTo>
                <a:cubicBezTo>
                  <a:pt x="2911319" y="2071065"/>
                  <a:pt x="2820991" y="2339456"/>
                  <a:pt x="2787713" y="2607848"/>
                </a:cubicBezTo>
                <a:cubicBezTo>
                  <a:pt x="2747519" y="2917297"/>
                  <a:pt x="2777772" y="3258297"/>
                  <a:pt x="2881497" y="3683573"/>
                </a:cubicBezTo>
                <a:cubicBezTo>
                  <a:pt x="3042273" y="4356929"/>
                  <a:pt x="3296402" y="4864755"/>
                  <a:pt x="3674571" y="5283981"/>
                </a:cubicBezTo>
                <a:cubicBezTo>
                  <a:pt x="3771814" y="5391164"/>
                  <a:pt x="3882022" y="5498780"/>
                  <a:pt x="4002604" y="5599913"/>
                </a:cubicBezTo>
                <a:cubicBezTo>
                  <a:pt x="4370831" y="5909363"/>
                  <a:pt x="4852726" y="6196771"/>
                  <a:pt x="5471625" y="6481585"/>
                </a:cubicBezTo>
                <a:cubicBezTo>
                  <a:pt x="5619002" y="6547711"/>
                  <a:pt x="5769837" y="6611675"/>
                  <a:pt x="5920240" y="6673478"/>
                </a:cubicBezTo>
                <a:cubicBezTo>
                  <a:pt x="6081880" y="6737876"/>
                  <a:pt x="6244384" y="6799679"/>
                  <a:pt x="6409913" y="6858024"/>
                </a:cubicBezTo>
                <a:lnTo>
                  <a:pt x="6380956" y="6858024"/>
                </a:lnTo>
                <a:cubicBezTo>
                  <a:pt x="6222774" y="6801840"/>
                  <a:pt x="6066753" y="6742629"/>
                  <a:pt x="5913757" y="6679961"/>
                </a:cubicBezTo>
                <a:cubicBezTo>
                  <a:pt x="5762922" y="6620318"/>
                  <a:pt x="5612519" y="6556355"/>
                  <a:pt x="5465142" y="6488068"/>
                </a:cubicBezTo>
                <a:cubicBezTo>
                  <a:pt x="4842785" y="6203253"/>
                  <a:pt x="4360891" y="5916278"/>
                  <a:pt x="3992663" y="5604236"/>
                </a:cubicBezTo>
                <a:cubicBezTo>
                  <a:pt x="3872082" y="5503103"/>
                  <a:pt x="3761872" y="5395487"/>
                  <a:pt x="3664629" y="5288303"/>
                </a:cubicBezTo>
                <a:cubicBezTo>
                  <a:pt x="3283004" y="4869077"/>
                  <a:pt x="3028443" y="4359091"/>
                  <a:pt x="2864642" y="3685734"/>
                </a:cubicBezTo>
                <a:cubicBezTo>
                  <a:pt x="2764374" y="3260457"/>
                  <a:pt x="2734121" y="2917730"/>
                  <a:pt x="2774314" y="2605687"/>
                </a:cubicBezTo>
                <a:cubicBezTo>
                  <a:pt x="2807594" y="2336863"/>
                  <a:pt x="2897921" y="2068472"/>
                  <a:pt x="2981766" y="1810454"/>
                </a:cubicBezTo>
                <a:cubicBezTo>
                  <a:pt x="3018935" y="1698947"/>
                  <a:pt x="3059128" y="1585281"/>
                  <a:pt x="3092408" y="1471615"/>
                </a:cubicBezTo>
                <a:cubicBezTo>
                  <a:pt x="3236328" y="982373"/>
                  <a:pt x="3296402" y="488809"/>
                  <a:pt x="3276521" y="1297"/>
                </a:cubicBezTo>
                <a:close/>
                <a:moveTo>
                  <a:pt x="3132169" y="1297"/>
                </a:moveTo>
                <a:lnTo>
                  <a:pt x="3145566" y="1297"/>
                </a:lnTo>
                <a:cubicBezTo>
                  <a:pt x="3168906" y="501343"/>
                  <a:pt x="3108830" y="1009169"/>
                  <a:pt x="2964911" y="1513105"/>
                </a:cubicBezTo>
                <a:cubicBezTo>
                  <a:pt x="2931201" y="1624611"/>
                  <a:pt x="2894463" y="1738277"/>
                  <a:pt x="2857726" y="1845461"/>
                </a:cubicBezTo>
                <a:cubicBezTo>
                  <a:pt x="2774314" y="2107801"/>
                  <a:pt x="2687012" y="2378353"/>
                  <a:pt x="2653732" y="2651066"/>
                </a:cubicBezTo>
                <a:cubicBezTo>
                  <a:pt x="2616996" y="2960516"/>
                  <a:pt x="2650275" y="3303677"/>
                  <a:pt x="2754001" y="3728954"/>
                </a:cubicBezTo>
                <a:cubicBezTo>
                  <a:pt x="2921258" y="4400148"/>
                  <a:pt x="3179278" y="4910135"/>
                  <a:pt x="3563930" y="5329361"/>
                </a:cubicBezTo>
                <a:cubicBezTo>
                  <a:pt x="3661173" y="5436545"/>
                  <a:pt x="3774838" y="5544161"/>
                  <a:pt x="3895420" y="5643133"/>
                </a:cubicBezTo>
                <a:cubicBezTo>
                  <a:pt x="4263647" y="5950854"/>
                  <a:pt x="4745542" y="6239990"/>
                  <a:pt x="5371356" y="6524804"/>
                </a:cubicBezTo>
                <a:cubicBezTo>
                  <a:pt x="5518733" y="6593091"/>
                  <a:pt x="5672594" y="6657055"/>
                  <a:pt x="5819971" y="6718859"/>
                </a:cubicBezTo>
                <a:cubicBezTo>
                  <a:pt x="5940552" y="6766400"/>
                  <a:pt x="6061566" y="6813076"/>
                  <a:pt x="6183877" y="6858024"/>
                </a:cubicBezTo>
                <a:lnTo>
                  <a:pt x="6156648" y="6858024"/>
                </a:lnTo>
                <a:cubicBezTo>
                  <a:pt x="6040821" y="6815238"/>
                  <a:pt x="5925858" y="6771154"/>
                  <a:pt x="5813056" y="6725342"/>
                </a:cubicBezTo>
                <a:cubicBezTo>
                  <a:pt x="5662221" y="6665699"/>
                  <a:pt x="5511818" y="6599574"/>
                  <a:pt x="5364441" y="6531288"/>
                </a:cubicBezTo>
                <a:cubicBezTo>
                  <a:pt x="4735169" y="6246473"/>
                  <a:pt x="4253275" y="5957337"/>
                  <a:pt x="3882022" y="5649616"/>
                </a:cubicBezTo>
                <a:cubicBezTo>
                  <a:pt x="3761440" y="5548483"/>
                  <a:pt x="3650800" y="5443028"/>
                  <a:pt x="3550532" y="5333683"/>
                </a:cubicBezTo>
                <a:cubicBezTo>
                  <a:pt x="3165448" y="4912296"/>
                  <a:pt x="2907861" y="4404038"/>
                  <a:pt x="2740603" y="3728954"/>
                </a:cubicBezTo>
                <a:cubicBezTo>
                  <a:pt x="2633852" y="3303677"/>
                  <a:pt x="2603598" y="2960948"/>
                  <a:pt x="2640334" y="2648906"/>
                </a:cubicBezTo>
                <a:cubicBezTo>
                  <a:pt x="2673614" y="2378353"/>
                  <a:pt x="2760485" y="2105641"/>
                  <a:pt x="2844328" y="1845461"/>
                </a:cubicBezTo>
                <a:cubicBezTo>
                  <a:pt x="2881065" y="1736116"/>
                  <a:pt x="2917801" y="1622449"/>
                  <a:pt x="2948056" y="1510944"/>
                </a:cubicBezTo>
                <a:cubicBezTo>
                  <a:pt x="3095432" y="1007009"/>
                  <a:pt x="3155507" y="500911"/>
                  <a:pt x="3132169" y="1297"/>
                </a:cubicBezTo>
                <a:close/>
                <a:moveTo>
                  <a:pt x="1666605" y="1297"/>
                </a:moveTo>
                <a:lnTo>
                  <a:pt x="1680003" y="1297"/>
                </a:lnTo>
                <a:cubicBezTo>
                  <a:pt x="1680003" y="7348"/>
                  <a:pt x="1680003" y="13831"/>
                  <a:pt x="1680003" y="19882"/>
                </a:cubicBezTo>
                <a:cubicBezTo>
                  <a:pt x="1737053" y="624950"/>
                  <a:pt x="1693402" y="1256815"/>
                  <a:pt x="1549482" y="1899053"/>
                </a:cubicBezTo>
                <a:cubicBezTo>
                  <a:pt x="1529168" y="1995864"/>
                  <a:pt x="1505831" y="2093107"/>
                  <a:pt x="1482491" y="2186028"/>
                </a:cubicBezTo>
                <a:cubicBezTo>
                  <a:pt x="1408587" y="2477326"/>
                  <a:pt x="1335114" y="2778564"/>
                  <a:pt x="1321715" y="3078073"/>
                </a:cubicBezTo>
                <a:cubicBezTo>
                  <a:pt x="1308318" y="3402217"/>
                  <a:pt x="1365367" y="3761800"/>
                  <a:pt x="1495889" y="4176705"/>
                </a:cubicBezTo>
                <a:cubicBezTo>
                  <a:pt x="1706800" y="4847899"/>
                  <a:pt x="2008038" y="5360047"/>
                  <a:pt x="2439797" y="5785324"/>
                </a:cubicBezTo>
                <a:cubicBezTo>
                  <a:pt x="2550006" y="5892940"/>
                  <a:pt x="2670587" y="5996234"/>
                  <a:pt x="2801111" y="6095205"/>
                </a:cubicBezTo>
                <a:cubicBezTo>
                  <a:pt x="3137787" y="6352360"/>
                  <a:pt x="3550964" y="6591363"/>
                  <a:pt x="4120160" y="6858024"/>
                </a:cubicBezTo>
                <a:lnTo>
                  <a:pt x="4095092" y="6858024"/>
                </a:lnTo>
                <a:cubicBezTo>
                  <a:pt x="3533675" y="6593955"/>
                  <a:pt x="3123958" y="6356681"/>
                  <a:pt x="2790738" y="6101688"/>
                </a:cubicBezTo>
                <a:cubicBezTo>
                  <a:pt x="2660216" y="6002284"/>
                  <a:pt x="2536609" y="5896829"/>
                  <a:pt x="2425967" y="5789646"/>
                </a:cubicBezTo>
                <a:cubicBezTo>
                  <a:pt x="1994207" y="5364369"/>
                  <a:pt x="1693402" y="4852221"/>
                  <a:pt x="1479034" y="4178866"/>
                </a:cubicBezTo>
                <a:cubicBezTo>
                  <a:pt x="1348512" y="3763530"/>
                  <a:pt x="1294921" y="3404378"/>
                  <a:pt x="1308318" y="3078073"/>
                </a:cubicBezTo>
                <a:cubicBezTo>
                  <a:pt x="1321715" y="2776403"/>
                  <a:pt x="1395622" y="2475165"/>
                  <a:pt x="1469093" y="2183867"/>
                </a:cubicBezTo>
                <a:cubicBezTo>
                  <a:pt x="1489406" y="2090946"/>
                  <a:pt x="1512745" y="1994135"/>
                  <a:pt x="1536083" y="1899053"/>
                </a:cubicBezTo>
                <a:cubicBezTo>
                  <a:pt x="1680003" y="1256815"/>
                  <a:pt x="1723655" y="624950"/>
                  <a:pt x="1666605" y="19882"/>
                </a:cubicBezTo>
                <a:cubicBezTo>
                  <a:pt x="1666605" y="13831"/>
                  <a:pt x="1666605" y="7348"/>
                  <a:pt x="1666605" y="1297"/>
                </a:cubicBezTo>
                <a:close/>
                <a:moveTo>
                  <a:pt x="5716245" y="865"/>
                </a:moveTo>
                <a:lnTo>
                  <a:pt x="5729643" y="865"/>
                </a:lnTo>
                <a:cubicBezTo>
                  <a:pt x="5692906" y="275739"/>
                  <a:pt x="5619434" y="548452"/>
                  <a:pt x="5508793" y="814683"/>
                </a:cubicBezTo>
                <a:cubicBezTo>
                  <a:pt x="5455201" y="942611"/>
                  <a:pt x="5394694" y="1070541"/>
                  <a:pt x="5334619" y="1194580"/>
                </a:cubicBezTo>
                <a:cubicBezTo>
                  <a:pt x="5223979" y="1415429"/>
                  <a:pt x="5113769" y="1644491"/>
                  <a:pt x="5053695" y="1878739"/>
                </a:cubicBezTo>
                <a:cubicBezTo>
                  <a:pt x="4956451" y="2237891"/>
                  <a:pt x="4983248" y="2607416"/>
                  <a:pt x="5023441" y="2919458"/>
                </a:cubicBezTo>
                <a:cubicBezTo>
                  <a:pt x="5077033" y="3379743"/>
                  <a:pt x="5194157" y="3976600"/>
                  <a:pt x="5585723" y="4509493"/>
                </a:cubicBezTo>
                <a:cubicBezTo>
                  <a:pt x="5990687" y="5060537"/>
                  <a:pt x="6716769" y="5560584"/>
                  <a:pt x="7626966" y="5911524"/>
                </a:cubicBezTo>
                <a:cubicBezTo>
                  <a:pt x="8232035" y="6146204"/>
                  <a:pt x="8915763" y="6321675"/>
                  <a:pt x="9666913" y="6434908"/>
                </a:cubicBezTo>
                <a:lnTo>
                  <a:pt x="9666913" y="6443985"/>
                </a:lnTo>
                <a:cubicBezTo>
                  <a:pt x="8913170" y="6330750"/>
                  <a:pt x="8225552" y="6154848"/>
                  <a:pt x="7617025" y="5919736"/>
                </a:cubicBezTo>
                <a:cubicBezTo>
                  <a:pt x="7171868" y="5746426"/>
                  <a:pt x="6770362" y="5539838"/>
                  <a:pt x="6425472" y="5306455"/>
                </a:cubicBezTo>
                <a:cubicBezTo>
                  <a:pt x="6067617" y="5062699"/>
                  <a:pt x="5779778" y="4796468"/>
                  <a:pt x="5572325" y="4513383"/>
                </a:cubicBezTo>
                <a:cubicBezTo>
                  <a:pt x="5180759" y="3980490"/>
                  <a:pt x="5063635" y="3381904"/>
                  <a:pt x="5006586" y="2921188"/>
                </a:cubicBezTo>
                <a:cubicBezTo>
                  <a:pt x="4969849" y="2607416"/>
                  <a:pt x="4943053" y="2237459"/>
                  <a:pt x="5036839" y="1876146"/>
                </a:cubicBezTo>
                <a:cubicBezTo>
                  <a:pt x="5100372" y="1642763"/>
                  <a:pt x="5210581" y="1413269"/>
                  <a:pt x="5321221" y="1192419"/>
                </a:cubicBezTo>
                <a:cubicBezTo>
                  <a:pt x="5381728" y="1068812"/>
                  <a:pt x="5441803" y="940451"/>
                  <a:pt x="5495395" y="812521"/>
                </a:cubicBezTo>
                <a:cubicBezTo>
                  <a:pt x="5605604" y="545859"/>
                  <a:pt x="5679509" y="273579"/>
                  <a:pt x="5716245" y="865"/>
                </a:cubicBezTo>
                <a:close/>
                <a:moveTo>
                  <a:pt x="4726525" y="865"/>
                </a:moveTo>
                <a:lnTo>
                  <a:pt x="4739923" y="865"/>
                </a:lnTo>
                <a:cubicBezTo>
                  <a:pt x="4723068" y="366500"/>
                  <a:pt x="4649595" y="727812"/>
                  <a:pt x="4519073" y="1085235"/>
                </a:cubicBezTo>
                <a:cubicBezTo>
                  <a:pt x="4475422" y="1209274"/>
                  <a:pt x="4421830" y="1333313"/>
                  <a:pt x="4371695" y="1453030"/>
                </a:cubicBezTo>
                <a:cubicBezTo>
                  <a:pt x="4274453" y="1688575"/>
                  <a:pt x="4170726" y="1931899"/>
                  <a:pt x="4120592" y="2177816"/>
                </a:cubicBezTo>
                <a:cubicBezTo>
                  <a:pt x="4043230" y="2555552"/>
                  <a:pt x="4090338" y="2939771"/>
                  <a:pt x="4140473" y="3234958"/>
                </a:cubicBezTo>
                <a:cubicBezTo>
                  <a:pt x="4220429" y="3693514"/>
                  <a:pt x="4367806" y="4290372"/>
                  <a:pt x="4799566" y="4827154"/>
                </a:cubicBezTo>
                <a:cubicBezTo>
                  <a:pt x="4886436" y="4936498"/>
                  <a:pt x="4986705" y="5044114"/>
                  <a:pt x="5097346" y="5145247"/>
                </a:cubicBezTo>
                <a:cubicBezTo>
                  <a:pt x="5448718" y="5473714"/>
                  <a:pt x="5913757" y="5772791"/>
                  <a:pt x="6485979" y="6037292"/>
                </a:cubicBezTo>
                <a:cubicBezTo>
                  <a:pt x="6626441" y="6103417"/>
                  <a:pt x="6773819" y="6167382"/>
                  <a:pt x="6924221" y="6225295"/>
                </a:cubicBezTo>
                <a:cubicBezTo>
                  <a:pt x="7325729" y="6384342"/>
                  <a:pt x="7763970" y="6520482"/>
                  <a:pt x="8222527" y="6631988"/>
                </a:cubicBezTo>
                <a:cubicBezTo>
                  <a:pt x="8573466" y="6718427"/>
                  <a:pt x="8955524" y="6793628"/>
                  <a:pt x="9362217" y="6858024"/>
                </a:cubicBezTo>
                <a:lnTo>
                  <a:pt x="9306465" y="6858024"/>
                </a:lnTo>
                <a:cubicBezTo>
                  <a:pt x="8917924" y="6795789"/>
                  <a:pt x="8552290" y="6723181"/>
                  <a:pt x="8216044" y="6640632"/>
                </a:cubicBezTo>
                <a:cubicBezTo>
                  <a:pt x="7757921" y="6529127"/>
                  <a:pt x="7319246" y="6392986"/>
                  <a:pt x="6917738" y="6233939"/>
                </a:cubicBezTo>
                <a:cubicBezTo>
                  <a:pt x="6767336" y="6173865"/>
                  <a:pt x="6619958" y="6112061"/>
                  <a:pt x="6479496" y="6045935"/>
                </a:cubicBezTo>
                <a:cubicBezTo>
                  <a:pt x="5903817" y="5779706"/>
                  <a:pt x="5435320" y="5478035"/>
                  <a:pt x="5083948" y="5151730"/>
                </a:cubicBezTo>
                <a:cubicBezTo>
                  <a:pt x="4973739" y="5048437"/>
                  <a:pt x="4873038" y="4940821"/>
                  <a:pt x="4786168" y="4831476"/>
                </a:cubicBezTo>
                <a:cubicBezTo>
                  <a:pt x="4354840" y="4294261"/>
                  <a:pt x="4207463" y="3695676"/>
                  <a:pt x="4127075" y="3234958"/>
                </a:cubicBezTo>
                <a:cubicBezTo>
                  <a:pt x="4076940" y="2939771"/>
                  <a:pt x="4026807" y="2553824"/>
                  <a:pt x="4107194" y="2177816"/>
                </a:cubicBezTo>
                <a:cubicBezTo>
                  <a:pt x="4157329" y="1930170"/>
                  <a:pt x="4261054" y="1686415"/>
                  <a:pt x="4358298" y="1450869"/>
                </a:cubicBezTo>
                <a:cubicBezTo>
                  <a:pt x="4408432" y="1330721"/>
                  <a:pt x="4462023" y="1207113"/>
                  <a:pt x="4505676" y="1083075"/>
                </a:cubicBezTo>
                <a:cubicBezTo>
                  <a:pt x="4636198" y="727812"/>
                  <a:pt x="4709670" y="364338"/>
                  <a:pt x="4726525" y="865"/>
                </a:cubicBezTo>
                <a:close/>
                <a:moveTo>
                  <a:pt x="4581741" y="865"/>
                </a:moveTo>
                <a:lnTo>
                  <a:pt x="4595139" y="865"/>
                </a:lnTo>
                <a:cubicBezTo>
                  <a:pt x="4581741" y="378601"/>
                  <a:pt x="4511725" y="754608"/>
                  <a:pt x="4377746" y="1124132"/>
                </a:cubicBezTo>
                <a:cubicBezTo>
                  <a:pt x="4334094" y="1246011"/>
                  <a:pt x="4283961" y="1370050"/>
                  <a:pt x="4233826" y="1489767"/>
                </a:cubicBezTo>
                <a:cubicBezTo>
                  <a:pt x="4136583" y="1727473"/>
                  <a:pt x="4036314" y="1973390"/>
                  <a:pt x="3986180" y="2221036"/>
                </a:cubicBezTo>
                <a:cubicBezTo>
                  <a:pt x="3912708" y="2598772"/>
                  <a:pt x="3962841" y="2984720"/>
                  <a:pt x="4012976" y="3278178"/>
                </a:cubicBezTo>
                <a:cubicBezTo>
                  <a:pt x="4096389" y="3738894"/>
                  <a:pt x="4247224" y="4335752"/>
                  <a:pt x="4685467" y="4872534"/>
                </a:cubicBezTo>
                <a:cubicBezTo>
                  <a:pt x="4775796" y="4981879"/>
                  <a:pt x="4876064" y="5089495"/>
                  <a:pt x="4986705" y="5190628"/>
                </a:cubicBezTo>
                <a:cubicBezTo>
                  <a:pt x="5341534" y="5516933"/>
                  <a:pt x="5810031" y="5816441"/>
                  <a:pt x="6385711" y="6082672"/>
                </a:cubicBezTo>
                <a:cubicBezTo>
                  <a:pt x="6526173" y="6148797"/>
                  <a:pt x="6673550" y="6210601"/>
                  <a:pt x="6823953" y="6270675"/>
                </a:cubicBezTo>
                <a:cubicBezTo>
                  <a:pt x="7228916" y="6429723"/>
                  <a:pt x="7663702" y="6568024"/>
                  <a:pt x="8122259" y="6681690"/>
                </a:cubicBezTo>
                <a:cubicBezTo>
                  <a:pt x="8381573" y="6745655"/>
                  <a:pt x="8658608" y="6804432"/>
                  <a:pt x="8951634" y="6858456"/>
                </a:cubicBezTo>
                <a:lnTo>
                  <a:pt x="8900205" y="6858456"/>
                </a:lnTo>
                <a:cubicBezTo>
                  <a:pt x="8623169" y="6807459"/>
                  <a:pt x="8360829" y="6751273"/>
                  <a:pt x="8115776" y="6690766"/>
                </a:cubicBezTo>
                <a:cubicBezTo>
                  <a:pt x="7657652" y="6577100"/>
                  <a:pt x="7222433" y="6438798"/>
                  <a:pt x="6817470" y="6277591"/>
                </a:cubicBezTo>
                <a:cubicBezTo>
                  <a:pt x="6667067" y="6219676"/>
                  <a:pt x="6519690" y="6155712"/>
                  <a:pt x="6375770" y="6089588"/>
                </a:cubicBezTo>
                <a:cubicBezTo>
                  <a:pt x="5800090" y="5823356"/>
                  <a:pt x="5328136" y="5521687"/>
                  <a:pt x="4976765" y="5197543"/>
                </a:cubicBezTo>
                <a:cubicBezTo>
                  <a:pt x="4863098" y="5094249"/>
                  <a:pt x="4762397" y="4986633"/>
                  <a:pt x="4675527" y="4877289"/>
                </a:cubicBezTo>
                <a:cubicBezTo>
                  <a:pt x="4233826" y="4337913"/>
                  <a:pt x="4083423" y="3741488"/>
                  <a:pt x="3999578" y="3280771"/>
                </a:cubicBezTo>
                <a:cubicBezTo>
                  <a:pt x="3945986" y="2985584"/>
                  <a:pt x="3895852" y="2599204"/>
                  <a:pt x="3972783" y="2219307"/>
                </a:cubicBezTo>
                <a:cubicBezTo>
                  <a:pt x="4022916" y="1971229"/>
                  <a:pt x="4123185" y="1725312"/>
                  <a:pt x="4220429" y="1488038"/>
                </a:cubicBezTo>
                <a:cubicBezTo>
                  <a:pt x="4270562" y="1368320"/>
                  <a:pt x="4320697" y="1244281"/>
                  <a:pt x="4364348" y="1122404"/>
                </a:cubicBezTo>
                <a:cubicBezTo>
                  <a:pt x="4494870" y="752447"/>
                  <a:pt x="4568343" y="376872"/>
                  <a:pt x="4581741" y="865"/>
                </a:cubicBezTo>
                <a:close/>
                <a:moveTo>
                  <a:pt x="4293901" y="865"/>
                </a:moveTo>
                <a:lnTo>
                  <a:pt x="4307299" y="865"/>
                </a:lnTo>
                <a:cubicBezTo>
                  <a:pt x="4300384" y="403668"/>
                  <a:pt x="4230369" y="806471"/>
                  <a:pt x="4096389" y="1202791"/>
                </a:cubicBezTo>
                <a:cubicBezTo>
                  <a:pt x="4053170" y="1322508"/>
                  <a:pt x="4006061" y="1444386"/>
                  <a:pt x="3959384" y="1561942"/>
                </a:cubicBezTo>
                <a:cubicBezTo>
                  <a:pt x="3865599" y="1803538"/>
                  <a:pt x="3765330" y="2053345"/>
                  <a:pt x="3721679" y="2305314"/>
                </a:cubicBezTo>
                <a:cubicBezTo>
                  <a:pt x="3648207" y="2689532"/>
                  <a:pt x="3704824" y="3075480"/>
                  <a:pt x="3761872" y="3368937"/>
                </a:cubicBezTo>
                <a:cubicBezTo>
                  <a:pt x="3895420" y="4050505"/>
                  <a:pt x="4109787" y="4544068"/>
                  <a:pt x="4461159" y="4965455"/>
                </a:cubicBezTo>
                <a:cubicBezTo>
                  <a:pt x="4551488" y="5072639"/>
                  <a:pt x="4655214" y="5180255"/>
                  <a:pt x="4768880" y="5281388"/>
                </a:cubicBezTo>
                <a:cubicBezTo>
                  <a:pt x="5123710" y="5603372"/>
                  <a:pt x="5599121" y="5900719"/>
                  <a:pt x="6181283" y="6171271"/>
                </a:cubicBezTo>
                <a:cubicBezTo>
                  <a:pt x="6325203" y="6237397"/>
                  <a:pt x="6472580" y="6299201"/>
                  <a:pt x="6622984" y="6359275"/>
                </a:cubicBezTo>
                <a:cubicBezTo>
                  <a:pt x="7030974" y="6520050"/>
                  <a:pt x="7466191" y="6660513"/>
                  <a:pt x="7921289" y="6776340"/>
                </a:cubicBezTo>
                <a:cubicBezTo>
                  <a:pt x="8031066" y="6804865"/>
                  <a:pt x="8143003" y="6831661"/>
                  <a:pt x="8257533" y="6857592"/>
                </a:cubicBezTo>
                <a:lnTo>
                  <a:pt x="8219501" y="6857592"/>
                </a:lnTo>
                <a:cubicBezTo>
                  <a:pt x="8116640" y="6833822"/>
                  <a:pt x="8015939" y="6809619"/>
                  <a:pt x="7917399" y="6784552"/>
                </a:cubicBezTo>
                <a:cubicBezTo>
                  <a:pt x="7458844" y="6669157"/>
                  <a:pt x="7024058" y="6528695"/>
                  <a:pt x="6615637" y="6367487"/>
                </a:cubicBezTo>
                <a:cubicBezTo>
                  <a:pt x="6465233" y="6307412"/>
                  <a:pt x="6317856" y="6243448"/>
                  <a:pt x="6173937" y="6177322"/>
                </a:cubicBezTo>
                <a:cubicBezTo>
                  <a:pt x="5588317" y="5906770"/>
                  <a:pt x="5113337" y="5607693"/>
                  <a:pt x="4755050" y="5287439"/>
                </a:cubicBezTo>
                <a:cubicBezTo>
                  <a:pt x="4644841" y="5184144"/>
                  <a:pt x="4541115" y="5076528"/>
                  <a:pt x="4447329" y="4967184"/>
                </a:cubicBezTo>
                <a:cubicBezTo>
                  <a:pt x="4095957" y="4546229"/>
                  <a:pt x="3882022" y="4052666"/>
                  <a:pt x="3748043" y="3368937"/>
                </a:cubicBezTo>
                <a:cubicBezTo>
                  <a:pt x="3690994" y="3075480"/>
                  <a:pt x="3633944" y="2689532"/>
                  <a:pt x="3704392" y="2305314"/>
                </a:cubicBezTo>
                <a:cubicBezTo>
                  <a:pt x="3751501" y="2053345"/>
                  <a:pt x="3848311" y="1801378"/>
                  <a:pt x="3945554" y="1559782"/>
                </a:cubicBezTo>
                <a:cubicBezTo>
                  <a:pt x="3992663" y="1442226"/>
                  <a:pt x="4039340" y="1320347"/>
                  <a:pt x="4079533" y="1200631"/>
                </a:cubicBezTo>
                <a:cubicBezTo>
                  <a:pt x="4216971" y="804310"/>
                  <a:pt x="4287418" y="403668"/>
                  <a:pt x="4293901" y="865"/>
                </a:cubicBezTo>
                <a:close/>
                <a:moveTo>
                  <a:pt x="3858684" y="865"/>
                </a:moveTo>
                <a:lnTo>
                  <a:pt x="3872082" y="865"/>
                </a:lnTo>
                <a:cubicBezTo>
                  <a:pt x="3878564" y="440836"/>
                  <a:pt x="3811575" y="882969"/>
                  <a:pt x="3671113" y="1318619"/>
                </a:cubicBezTo>
                <a:cubicBezTo>
                  <a:pt x="3631351" y="1436175"/>
                  <a:pt x="3591157" y="1553731"/>
                  <a:pt x="3547506" y="1669558"/>
                </a:cubicBezTo>
                <a:cubicBezTo>
                  <a:pt x="3456745" y="1919366"/>
                  <a:pt x="3363393" y="2175656"/>
                  <a:pt x="3319740" y="2435835"/>
                </a:cubicBezTo>
                <a:cubicBezTo>
                  <a:pt x="3272631" y="2741395"/>
                  <a:pt x="3292945" y="3071590"/>
                  <a:pt x="3383272" y="3503350"/>
                </a:cubicBezTo>
                <a:cubicBezTo>
                  <a:pt x="3530650" y="4184484"/>
                  <a:pt x="3757983" y="4678048"/>
                  <a:pt x="4126211" y="5101596"/>
                </a:cubicBezTo>
                <a:cubicBezTo>
                  <a:pt x="4219996" y="5208780"/>
                  <a:pt x="4323722" y="5316396"/>
                  <a:pt x="4440846" y="5417529"/>
                </a:cubicBezTo>
                <a:cubicBezTo>
                  <a:pt x="4799134" y="5731300"/>
                  <a:pt x="5284053" y="6030809"/>
                  <a:pt x="5876588" y="6303522"/>
                </a:cubicBezTo>
                <a:cubicBezTo>
                  <a:pt x="6023965" y="6369648"/>
                  <a:pt x="6171343" y="6433612"/>
                  <a:pt x="6321746" y="6493687"/>
                </a:cubicBezTo>
                <a:cubicBezTo>
                  <a:pt x="6662314" y="6630260"/>
                  <a:pt x="7021033" y="6753003"/>
                  <a:pt x="7390557" y="6857592"/>
                </a:cubicBezTo>
                <a:lnTo>
                  <a:pt x="7359439" y="6857592"/>
                </a:lnTo>
                <a:cubicBezTo>
                  <a:pt x="6997262" y="6753867"/>
                  <a:pt x="6647187" y="6635445"/>
                  <a:pt x="6314831" y="6501898"/>
                </a:cubicBezTo>
                <a:cubicBezTo>
                  <a:pt x="6163995" y="6442256"/>
                  <a:pt x="6013593" y="6378291"/>
                  <a:pt x="5869673" y="6310005"/>
                </a:cubicBezTo>
                <a:cubicBezTo>
                  <a:pt x="5274112" y="6037292"/>
                  <a:pt x="4788761" y="5737783"/>
                  <a:pt x="4427449" y="5421850"/>
                </a:cubicBezTo>
                <a:cubicBezTo>
                  <a:pt x="4313782" y="5320717"/>
                  <a:pt x="4206598" y="5213101"/>
                  <a:pt x="4112813" y="5105917"/>
                </a:cubicBezTo>
                <a:cubicBezTo>
                  <a:pt x="3744585" y="4682803"/>
                  <a:pt x="3517253" y="4189238"/>
                  <a:pt x="3369875" y="3505511"/>
                </a:cubicBezTo>
                <a:cubicBezTo>
                  <a:pt x="3276089" y="3071590"/>
                  <a:pt x="3259665" y="2741395"/>
                  <a:pt x="3306342" y="2433674"/>
                </a:cubicBezTo>
                <a:cubicBezTo>
                  <a:pt x="3346536" y="2175224"/>
                  <a:pt x="3443780" y="1917204"/>
                  <a:pt x="3534108" y="1667398"/>
                </a:cubicBezTo>
                <a:cubicBezTo>
                  <a:pt x="3573869" y="1552002"/>
                  <a:pt x="3617522" y="1434014"/>
                  <a:pt x="3657715" y="1316458"/>
                </a:cubicBezTo>
                <a:cubicBezTo>
                  <a:pt x="3798609" y="880808"/>
                  <a:pt x="3865167" y="440836"/>
                  <a:pt x="3858684" y="865"/>
                </a:cubicBezTo>
                <a:close/>
                <a:moveTo>
                  <a:pt x="2985225" y="865"/>
                </a:moveTo>
                <a:lnTo>
                  <a:pt x="2998622" y="865"/>
                </a:lnTo>
                <a:cubicBezTo>
                  <a:pt x="3028875" y="513013"/>
                  <a:pt x="2968801" y="1033372"/>
                  <a:pt x="2821423" y="1551570"/>
                </a:cubicBezTo>
                <a:cubicBezTo>
                  <a:pt x="2791602" y="1661347"/>
                  <a:pt x="2757890" y="1772853"/>
                  <a:pt x="2721154" y="1880037"/>
                </a:cubicBezTo>
                <a:cubicBezTo>
                  <a:pt x="2637310" y="2144538"/>
                  <a:pt x="2553464" y="2418979"/>
                  <a:pt x="2520184" y="2691693"/>
                </a:cubicBezTo>
                <a:cubicBezTo>
                  <a:pt x="2486906" y="3005464"/>
                  <a:pt x="2520184" y="3348193"/>
                  <a:pt x="2627369" y="3771741"/>
                </a:cubicBezTo>
                <a:cubicBezTo>
                  <a:pt x="2801543" y="4445097"/>
                  <a:pt x="3062587" y="4955083"/>
                  <a:pt x="3450694" y="5374309"/>
                </a:cubicBezTo>
                <a:cubicBezTo>
                  <a:pt x="3550964" y="5481493"/>
                  <a:pt x="3664629" y="5589109"/>
                  <a:pt x="3785211" y="5688081"/>
                </a:cubicBezTo>
                <a:cubicBezTo>
                  <a:pt x="4153439" y="5994072"/>
                  <a:pt x="4641816" y="6283209"/>
                  <a:pt x="5271088" y="6568024"/>
                </a:cubicBezTo>
                <a:cubicBezTo>
                  <a:pt x="5418033" y="6636310"/>
                  <a:pt x="5572325" y="6702003"/>
                  <a:pt x="5722728" y="6762078"/>
                </a:cubicBezTo>
                <a:cubicBezTo>
                  <a:pt x="5802252" y="6794493"/>
                  <a:pt x="5882639" y="6826475"/>
                  <a:pt x="5963890" y="6858024"/>
                </a:cubicBezTo>
                <a:lnTo>
                  <a:pt x="5935798" y="6858024"/>
                </a:lnTo>
                <a:cubicBezTo>
                  <a:pt x="5861029" y="6829499"/>
                  <a:pt x="5787125" y="6800544"/>
                  <a:pt x="5712788" y="6770722"/>
                </a:cubicBezTo>
                <a:cubicBezTo>
                  <a:pt x="5562385" y="6708918"/>
                  <a:pt x="5411550" y="6644955"/>
                  <a:pt x="5261147" y="6576668"/>
                </a:cubicBezTo>
                <a:cubicBezTo>
                  <a:pt x="4631875" y="6289692"/>
                  <a:pt x="4143498" y="6000555"/>
                  <a:pt x="3775272" y="5694996"/>
                </a:cubicBezTo>
                <a:cubicBezTo>
                  <a:pt x="3651663" y="5593862"/>
                  <a:pt x="3537566" y="5488408"/>
                  <a:pt x="3437296" y="5379064"/>
                </a:cubicBezTo>
                <a:cubicBezTo>
                  <a:pt x="3049189" y="4957676"/>
                  <a:pt x="2788145" y="4447689"/>
                  <a:pt x="2613972" y="3774334"/>
                </a:cubicBezTo>
                <a:cubicBezTo>
                  <a:pt x="2506787" y="3348625"/>
                  <a:pt x="2473508" y="3005897"/>
                  <a:pt x="2506787" y="2692125"/>
                </a:cubicBezTo>
                <a:cubicBezTo>
                  <a:pt x="2537042" y="2417251"/>
                  <a:pt x="2623912" y="2144538"/>
                  <a:pt x="2707756" y="1878307"/>
                </a:cubicBezTo>
                <a:cubicBezTo>
                  <a:pt x="2741035" y="1770692"/>
                  <a:pt x="2777772" y="1659186"/>
                  <a:pt x="2808025" y="1549842"/>
                </a:cubicBezTo>
                <a:cubicBezTo>
                  <a:pt x="2954970" y="1031211"/>
                  <a:pt x="3012020" y="513013"/>
                  <a:pt x="2985225" y="865"/>
                </a:cubicBezTo>
                <a:close/>
                <a:moveTo>
                  <a:pt x="2838710" y="865"/>
                </a:moveTo>
                <a:lnTo>
                  <a:pt x="2855567" y="865"/>
                </a:lnTo>
                <a:cubicBezTo>
                  <a:pt x="2885387" y="525114"/>
                  <a:pt x="2828770" y="1058007"/>
                  <a:pt x="2681392" y="1588739"/>
                </a:cubicBezTo>
                <a:cubicBezTo>
                  <a:pt x="2651139" y="1698083"/>
                  <a:pt x="2617428" y="1807860"/>
                  <a:pt x="2584149" y="1915044"/>
                </a:cubicBezTo>
                <a:cubicBezTo>
                  <a:pt x="2503762" y="2181274"/>
                  <a:pt x="2416891" y="2458309"/>
                  <a:pt x="2390096" y="2734912"/>
                </a:cubicBezTo>
                <a:cubicBezTo>
                  <a:pt x="2356383" y="3050844"/>
                  <a:pt x="2393120" y="3393572"/>
                  <a:pt x="2503762" y="3817122"/>
                </a:cubicBezTo>
                <a:cubicBezTo>
                  <a:pt x="2677936" y="4490477"/>
                  <a:pt x="2945462" y="4998302"/>
                  <a:pt x="3340485" y="5419690"/>
                </a:cubicBezTo>
                <a:cubicBezTo>
                  <a:pt x="3440755" y="5526873"/>
                  <a:pt x="3554421" y="5634489"/>
                  <a:pt x="3675002" y="5733461"/>
                </a:cubicBezTo>
                <a:cubicBezTo>
                  <a:pt x="4046255" y="6037292"/>
                  <a:pt x="4535064" y="6324267"/>
                  <a:pt x="5170819" y="6613403"/>
                </a:cubicBezTo>
                <a:cubicBezTo>
                  <a:pt x="5317764" y="6681690"/>
                  <a:pt x="5472057" y="6745655"/>
                  <a:pt x="5622459" y="6807459"/>
                </a:cubicBezTo>
                <a:cubicBezTo>
                  <a:pt x="5663518" y="6824314"/>
                  <a:pt x="5705440" y="6841169"/>
                  <a:pt x="5747363" y="6858024"/>
                </a:cubicBezTo>
                <a:lnTo>
                  <a:pt x="5722728" y="6858024"/>
                </a:lnTo>
                <a:cubicBezTo>
                  <a:pt x="5685992" y="6843330"/>
                  <a:pt x="5649256" y="6828635"/>
                  <a:pt x="5612519" y="6813941"/>
                </a:cubicBezTo>
                <a:cubicBezTo>
                  <a:pt x="5462117" y="6754299"/>
                  <a:pt x="5311281" y="6688173"/>
                  <a:pt x="5160879" y="6619886"/>
                </a:cubicBezTo>
                <a:cubicBezTo>
                  <a:pt x="4525124" y="6330750"/>
                  <a:pt x="4036314" y="6043343"/>
                  <a:pt x="3665063" y="5739943"/>
                </a:cubicBezTo>
                <a:cubicBezTo>
                  <a:pt x="3541456" y="5638810"/>
                  <a:pt x="3427357" y="5533356"/>
                  <a:pt x="3327087" y="5424011"/>
                </a:cubicBezTo>
                <a:cubicBezTo>
                  <a:pt x="2932064" y="5002624"/>
                  <a:pt x="2664538" y="4492638"/>
                  <a:pt x="2490364" y="3819282"/>
                </a:cubicBezTo>
                <a:cubicBezTo>
                  <a:pt x="2376698" y="3393572"/>
                  <a:pt x="2342986" y="3050844"/>
                  <a:pt x="2373240" y="2734912"/>
                </a:cubicBezTo>
                <a:cubicBezTo>
                  <a:pt x="2403493" y="2457877"/>
                  <a:pt x="2490364" y="2181274"/>
                  <a:pt x="2570751" y="1912883"/>
                </a:cubicBezTo>
                <a:cubicBezTo>
                  <a:pt x="2604462" y="1807428"/>
                  <a:pt x="2637742" y="1695923"/>
                  <a:pt x="2667995" y="1588739"/>
                </a:cubicBezTo>
                <a:cubicBezTo>
                  <a:pt x="2815373" y="1056278"/>
                  <a:pt x="2871989" y="523385"/>
                  <a:pt x="2838710" y="865"/>
                </a:cubicBezTo>
                <a:close/>
                <a:moveTo>
                  <a:pt x="2693495" y="865"/>
                </a:moveTo>
                <a:lnTo>
                  <a:pt x="2706893" y="865"/>
                </a:lnTo>
                <a:cubicBezTo>
                  <a:pt x="2740603" y="535486"/>
                  <a:pt x="2687012" y="1083075"/>
                  <a:pt x="2539633" y="1628068"/>
                </a:cubicBezTo>
                <a:cubicBezTo>
                  <a:pt x="2509381" y="1735252"/>
                  <a:pt x="2476102" y="1844596"/>
                  <a:pt x="2445847" y="1950052"/>
                </a:cubicBezTo>
                <a:cubicBezTo>
                  <a:pt x="2365893" y="2218443"/>
                  <a:pt x="2282048" y="2499368"/>
                  <a:pt x="2255252" y="2778131"/>
                </a:cubicBezTo>
                <a:cubicBezTo>
                  <a:pt x="2225430" y="3094064"/>
                  <a:pt x="2262167" y="3438954"/>
                  <a:pt x="2375833" y="3862501"/>
                </a:cubicBezTo>
                <a:cubicBezTo>
                  <a:pt x="2556490" y="4533696"/>
                  <a:pt x="2827906" y="5043682"/>
                  <a:pt x="3225955" y="5465070"/>
                </a:cubicBezTo>
                <a:cubicBezTo>
                  <a:pt x="3326224" y="5572253"/>
                  <a:pt x="3443780" y="5679869"/>
                  <a:pt x="3567387" y="5778841"/>
                </a:cubicBezTo>
                <a:cubicBezTo>
                  <a:pt x="3935614" y="6080510"/>
                  <a:pt x="4427449" y="6367487"/>
                  <a:pt x="5066660" y="6656623"/>
                </a:cubicBezTo>
                <a:cubicBezTo>
                  <a:pt x="5217064" y="6724910"/>
                  <a:pt x="5371356" y="6791034"/>
                  <a:pt x="5521759" y="6852838"/>
                </a:cubicBezTo>
                <a:cubicBezTo>
                  <a:pt x="5526081" y="6854568"/>
                  <a:pt x="5529970" y="6856296"/>
                  <a:pt x="5533428" y="6857592"/>
                </a:cubicBezTo>
                <a:lnTo>
                  <a:pt x="5507928" y="6857592"/>
                </a:lnTo>
                <a:cubicBezTo>
                  <a:pt x="5358390" y="6795789"/>
                  <a:pt x="5209284" y="6732257"/>
                  <a:pt x="5059745" y="6664835"/>
                </a:cubicBezTo>
                <a:cubicBezTo>
                  <a:pt x="4417508" y="6373537"/>
                  <a:pt x="3925241" y="6086561"/>
                  <a:pt x="3553989" y="5784892"/>
                </a:cubicBezTo>
                <a:cubicBezTo>
                  <a:pt x="3429949" y="5683759"/>
                  <a:pt x="3316284" y="5578303"/>
                  <a:pt x="3212557" y="5468959"/>
                </a:cubicBezTo>
                <a:cubicBezTo>
                  <a:pt x="2814076" y="5048005"/>
                  <a:pt x="2543090" y="4537585"/>
                  <a:pt x="2362435" y="3862501"/>
                </a:cubicBezTo>
                <a:cubicBezTo>
                  <a:pt x="2248336" y="3438954"/>
                  <a:pt x="2208575" y="3094064"/>
                  <a:pt x="2241852" y="2778131"/>
                </a:cubicBezTo>
                <a:cubicBezTo>
                  <a:pt x="2268650" y="2497207"/>
                  <a:pt x="2352062" y="2218443"/>
                  <a:pt x="2432449" y="1947890"/>
                </a:cubicBezTo>
                <a:cubicBezTo>
                  <a:pt x="2462704" y="1842868"/>
                  <a:pt x="2495983" y="1733091"/>
                  <a:pt x="2526235" y="1625908"/>
                </a:cubicBezTo>
                <a:cubicBezTo>
                  <a:pt x="2670155" y="1080913"/>
                  <a:pt x="2726772" y="535919"/>
                  <a:pt x="2693495" y="865"/>
                </a:cubicBezTo>
                <a:close/>
                <a:moveTo>
                  <a:pt x="2546980" y="865"/>
                </a:moveTo>
                <a:lnTo>
                  <a:pt x="2560380" y="865"/>
                </a:lnTo>
                <a:cubicBezTo>
                  <a:pt x="2600573" y="548020"/>
                  <a:pt x="2543525" y="1107709"/>
                  <a:pt x="2399604" y="1667398"/>
                </a:cubicBezTo>
                <a:cubicBezTo>
                  <a:pt x="2369351" y="1772853"/>
                  <a:pt x="2339529" y="1880037"/>
                  <a:pt x="2309276" y="1983330"/>
                </a:cubicBezTo>
                <a:cubicBezTo>
                  <a:pt x="2228887" y="2256043"/>
                  <a:pt x="2148500" y="2538697"/>
                  <a:pt x="2121704" y="2821783"/>
                </a:cubicBezTo>
                <a:cubicBezTo>
                  <a:pt x="2094908" y="3139444"/>
                  <a:pt x="2135103" y="3484333"/>
                  <a:pt x="2248768" y="3907881"/>
                </a:cubicBezTo>
                <a:cubicBezTo>
                  <a:pt x="2436341" y="4579076"/>
                  <a:pt x="2710782" y="5089063"/>
                  <a:pt x="3112289" y="5510450"/>
                </a:cubicBezTo>
                <a:cubicBezTo>
                  <a:pt x="3216015" y="5617634"/>
                  <a:pt x="3333571" y="5723088"/>
                  <a:pt x="3457178" y="5824221"/>
                </a:cubicBezTo>
                <a:cubicBezTo>
                  <a:pt x="3828431" y="6121569"/>
                  <a:pt x="4320697" y="6408545"/>
                  <a:pt x="4966392" y="6702003"/>
                </a:cubicBezTo>
                <a:cubicBezTo>
                  <a:pt x="5086109" y="6756459"/>
                  <a:pt x="5207555" y="6807891"/>
                  <a:pt x="5328136" y="6857160"/>
                </a:cubicBezTo>
                <a:lnTo>
                  <a:pt x="5299612" y="6857160"/>
                </a:lnTo>
                <a:cubicBezTo>
                  <a:pt x="5186378" y="6809187"/>
                  <a:pt x="5073143" y="6759485"/>
                  <a:pt x="4959910" y="6708054"/>
                </a:cubicBezTo>
                <a:cubicBezTo>
                  <a:pt x="4313782" y="6416756"/>
                  <a:pt x="3818491" y="6127620"/>
                  <a:pt x="3447237" y="5830272"/>
                </a:cubicBezTo>
                <a:cubicBezTo>
                  <a:pt x="3319740" y="5729139"/>
                  <a:pt x="3206074" y="5623684"/>
                  <a:pt x="3102348" y="5514339"/>
                </a:cubicBezTo>
                <a:cubicBezTo>
                  <a:pt x="2697816" y="5093385"/>
                  <a:pt x="2423375" y="4581237"/>
                  <a:pt x="2235803" y="3907881"/>
                </a:cubicBezTo>
                <a:cubicBezTo>
                  <a:pt x="2118679" y="3484765"/>
                  <a:pt x="2078484" y="3139876"/>
                  <a:pt x="2108737" y="2819622"/>
                </a:cubicBezTo>
                <a:cubicBezTo>
                  <a:pt x="2132508" y="2536968"/>
                  <a:pt x="2215922" y="2256043"/>
                  <a:pt x="2296308" y="1983330"/>
                </a:cubicBezTo>
                <a:cubicBezTo>
                  <a:pt x="2326131" y="1877875"/>
                  <a:pt x="2356383" y="1770692"/>
                  <a:pt x="2383181" y="1665237"/>
                </a:cubicBezTo>
                <a:cubicBezTo>
                  <a:pt x="2530125" y="1105548"/>
                  <a:pt x="2583717" y="545859"/>
                  <a:pt x="2546980" y="865"/>
                </a:cubicBezTo>
                <a:close/>
                <a:moveTo>
                  <a:pt x="2400036" y="865"/>
                </a:moveTo>
                <a:lnTo>
                  <a:pt x="2413434" y="865"/>
                </a:lnTo>
                <a:cubicBezTo>
                  <a:pt x="2457084" y="558392"/>
                  <a:pt x="2403493" y="1130616"/>
                  <a:pt x="2256115" y="1706727"/>
                </a:cubicBezTo>
                <a:cubicBezTo>
                  <a:pt x="2229320" y="1810022"/>
                  <a:pt x="2199067" y="1915476"/>
                  <a:pt x="2172271" y="2018770"/>
                </a:cubicBezTo>
                <a:cubicBezTo>
                  <a:pt x="2091882" y="2293212"/>
                  <a:pt x="2011496" y="2578459"/>
                  <a:pt x="1988157" y="2863273"/>
                </a:cubicBezTo>
                <a:cubicBezTo>
                  <a:pt x="1961361" y="3183095"/>
                  <a:pt x="2004581" y="3530145"/>
                  <a:pt x="2125161" y="3951533"/>
                </a:cubicBezTo>
                <a:cubicBezTo>
                  <a:pt x="2316190" y="4624888"/>
                  <a:pt x="2593657" y="5134875"/>
                  <a:pt x="3002080" y="5556263"/>
                </a:cubicBezTo>
                <a:cubicBezTo>
                  <a:pt x="3105805" y="5663445"/>
                  <a:pt x="3223362" y="5768900"/>
                  <a:pt x="3346969" y="5870033"/>
                </a:cubicBezTo>
                <a:cubicBezTo>
                  <a:pt x="3725137" y="6169543"/>
                  <a:pt x="4207030" y="6448307"/>
                  <a:pt x="4866123" y="6745655"/>
                </a:cubicBezTo>
                <a:cubicBezTo>
                  <a:pt x="4950400" y="6783688"/>
                  <a:pt x="5035542" y="6821288"/>
                  <a:pt x="5120684" y="6857592"/>
                </a:cubicBezTo>
                <a:lnTo>
                  <a:pt x="5091296" y="6857592"/>
                </a:lnTo>
                <a:cubicBezTo>
                  <a:pt x="5012636" y="6823881"/>
                  <a:pt x="4933545" y="6789306"/>
                  <a:pt x="4855751" y="6753867"/>
                </a:cubicBezTo>
                <a:cubicBezTo>
                  <a:pt x="4196658" y="6454357"/>
                  <a:pt x="3714765" y="6175593"/>
                  <a:pt x="3336595" y="5876084"/>
                </a:cubicBezTo>
                <a:cubicBezTo>
                  <a:pt x="3209531" y="5774951"/>
                  <a:pt x="3092408" y="5669496"/>
                  <a:pt x="2988682" y="5562313"/>
                </a:cubicBezTo>
                <a:cubicBezTo>
                  <a:pt x="2580259" y="5139197"/>
                  <a:pt x="2302360" y="4627049"/>
                  <a:pt x="2111764" y="3953694"/>
                </a:cubicBezTo>
                <a:cubicBezTo>
                  <a:pt x="1991614" y="3530145"/>
                  <a:pt x="1947963" y="3185257"/>
                  <a:pt x="1974759" y="2863273"/>
                </a:cubicBezTo>
                <a:cubicBezTo>
                  <a:pt x="1998098" y="2578459"/>
                  <a:pt x="2078484" y="2293212"/>
                  <a:pt x="2158874" y="2016609"/>
                </a:cubicBezTo>
                <a:cubicBezTo>
                  <a:pt x="2185669" y="1915044"/>
                  <a:pt x="2215922" y="1810022"/>
                  <a:pt x="2242718" y="1704566"/>
                </a:cubicBezTo>
                <a:cubicBezTo>
                  <a:pt x="2390096" y="1130616"/>
                  <a:pt x="2443687" y="558392"/>
                  <a:pt x="2400036" y="865"/>
                </a:cubicBezTo>
                <a:close/>
                <a:moveTo>
                  <a:pt x="2252226" y="865"/>
                </a:moveTo>
                <a:lnTo>
                  <a:pt x="2265624" y="865"/>
                </a:lnTo>
                <a:cubicBezTo>
                  <a:pt x="2312734" y="568766"/>
                  <a:pt x="2262599" y="1155250"/>
                  <a:pt x="2115221" y="1743896"/>
                </a:cubicBezTo>
                <a:cubicBezTo>
                  <a:pt x="2088426" y="1847189"/>
                  <a:pt x="2061629" y="1952644"/>
                  <a:pt x="2034834" y="2051617"/>
                </a:cubicBezTo>
                <a:cubicBezTo>
                  <a:pt x="1957904" y="2330380"/>
                  <a:pt x="1877515" y="2619518"/>
                  <a:pt x="1854176" y="2906493"/>
                </a:cubicBezTo>
                <a:cubicBezTo>
                  <a:pt x="1830839" y="3228475"/>
                  <a:pt x="1877515" y="3575525"/>
                  <a:pt x="1998098" y="3996913"/>
                </a:cubicBezTo>
                <a:cubicBezTo>
                  <a:pt x="2192151" y="4670269"/>
                  <a:pt x="2476966" y="5180255"/>
                  <a:pt x="2888413" y="5601642"/>
                </a:cubicBezTo>
                <a:cubicBezTo>
                  <a:pt x="2995596" y="5710987"/>
                  <a:pt x="3112721" y="5814281"/>
                  <a:pt x="3239786" y="5915414"/>
                </a:cubicBezTo>
                <a:cubicBezTo>
                  <a:pt x="3614496" y="6212762"/>
                  <a:pt x="4099847" y="6489365"/>
                  <a:pt x="4765854" y="6791034"/>
                </a:cubicBezTo>
                <a:cubicBezTo>
                  <a:pt x="4815125" y="6813509"/>
                  <a:pt x="4865259" y="6835982"/>
                  <a:pt x="4915393" y="6858024"/>
                </a:cubicBezTo>
                <a:lnTo>
                  <a:pt x="4892055" y="6858024"/>
                </a:lnTo>
                <a:cubicBezTo>
                  <a:pt x="4846243" y="6838144"/>
                  <a:pt x="4800862" y="6817831"/>
                  <a:pt x="4755482" y="6797517"/>
                </a:cubicBezTo>
                <a:cubicBezTo>
                  <a:pt x="4089474" y="6498009"/>
                  <a:pt x="3604123" y="6219244"/>
                  <a:pt x="3225955" y="5919736"/>
                </a:cubicBezTo>
                <a:cubicBezTo>
                  <a:pt x="3098891" y="5820332"/>
                  <a:pt x="2981766" y="5714876"/>
                  <a:pt x="2878041" y="5607693"/>
                </a:cubicBezTo>
                <a:cubicBezTo>
                  <a:pt x="2463136" y="5182416"/>
                  <a:pt x="2178753" y="4672429"/>
                  <a:pt x="1984699" y="3999074"/>
                </a:cubicBezTo>
                <a:cubicBezTo>
                  <a:pt x="1864118" y="3575525"/>
                  <a:pt x="1817441" y="3228475"/>
                  <a:pt x="1840778" y="2906493"/>
                </a:cubicBezTo>
                <a:cubicBezTo>
                  <a:pt x="1864118" y="2617356"/>
                  <a:pt x="1941048" y="2330380"/>
                  <a:pt x="2017978" y="2051617"/>
                </a:cubicBezTo>
                <a:cubicBezTo>
                  <a:pt x="2048231" y="1950484"/>
                  <a:pt x="2075028" y="1847189"/>
                  <a:pt x="2101823" y="1743896"/>
                </a:cubicBezTo>
                <a:cubicBezTo>
                  <a:pt x="2248768" y="1155250"/>
                  <a:pt x="2298903" y="568766"/>
                  <a:pt x="2252226" y="865"/>
                </a:cubicBezTo>
                <a:close/>
                <a:moveTo>
                  <a:pt x="2105282" y="865"/>
                </a:moveTo>
                <a:lnTo>
                  <a:pt x="2122137" y="865"/>
                </a:lnTo>
                <a:cubicBezTo>
                  <a:pt x="2168812" y="581299"/>
                  <a:pt x="2122137" y="1180317"/>
                  <a:pt x="1974759" y="1783225"/>
                </a:cubicBezTo>
                <a:cubicBezTo>
                  <a:pt x="1947963" y="1884358"/>
                  <a:pt x="1921168" y="1987652"/>
                  <a:pt x="1894371" y="2086624"/>
                </a:cubicBezTo>
                <a:cubicBezTo>
                  <a:pt x="1820899" y="2367549"/>
                  <a:pt x="1743537" y="2658415"/>
                  <a:pt x="1723655" y="2949711"/>
                </a:cubicBezTo>
                <a:cubicBezTo>
                  <a:pt x="1699884" y="3273856"/>
                  <a:pt x="1746993" y="3620906"/>
                  <a:pt x="1874058" y="4042292"/>
                </a:cubicBezTo>
                <a:cubicBezTo>
                  <a:pt x="2071570" y="4713055"/>
                  <a:pt x="2359410" y="5223475"/>
                  <a:pt x="2777772" y="5648752"/>
                </a:cubicBezTo>
                <a:cubicBezTo>
                  <a:pt x="2881497" y="5756367"/>
                  <a:pt x="3002080" y="5859661"/>
                  <a:pt x="3129144" y="5960794"/>
                </a:cubicBezTo>
                <a:cubicBezTo>
                  <a:pt x="3507312" y="6253820"/>
                  <a:pt x="3992231" y="6532584"/>
                  <a:pt x="4661697" y="6834254"/>
                </a:cubicBezTo>
                <a:cubicBezTo>
                  <a:pt x="4678984" y="6842033"/>
                  <a:pt x="4695840" y="6849813"/>
                  <a:pt x="4712694" y="6858024"/>
                </a:cubicBezTo>
                <a:lnTo>
                  <a:pt x="4691518" y="6858024"/>
                </a:lnTo>
                <a:cubicBezTo>
                  <a:pt x="4678984" y="6852406"/>
                  <a:pt x="4666883" y="6846356"/>
                  <a:pt x="4654782" y="6840737"/>
                </a:cubicBezTo>
                <a:cubicBezTo>
                  <a:pt x="3982290" y="6539067"/>
                  <a:pt x="3493482" y="6260303"/>
                  <a:pt x="3118771" y="5965116"/>
                </a:cubicBezTo>
                <a:cubicBezTo>
                  <a:pt x="2988249" y="5865712"/>
                  <a:pt x="2871126" y="5760257"/>
                  <a:pt x="2763942" y="5653073"/>
                </a:cubicBezTo>
                <a:cubicBezTo>
                  <a:pt x="2345580" y="5227796"/>
                  <a:pt x="2058173" y="4717377"/>
                  <a:pt x="1857203" y="4042292"/>
                </a:cubicBezTo>
                <a:cubicBezTo>
                  <a:pt x="1733596" y="3620906"/>
                  <a:pt x="1686919" y="3273856"/>
                  <a:pt x="1706800" y="2949711"/>
                </a:cubicBezTo>
                <a:cubicBezTo>
                  <a:pt x="1727112" y="2658415"/>
                  <a:pt x="1807501" y="2365387"/>
                  <a:pt x="1880974" y="2084463"/>
                </a:cubicBezTo>
                <a:cubicBezTo>
                  <a:pt x="1907769" y="1985491"/>
                  <a:pt x="1934566" y="1882197"/>
                  <a:pt x="1961361" y="1781064"/>
                </a:cubicBezTo>
                <a:cubicBezTo>
                  <a:pt x="2105282" y="1178156"/>
                  <a:pt x="2155414" y="579138"/>
                  <a:pt x="2105282" y="865"/>
                </a:cubicBezTo>
                <a:close/>
                <a:moveTo>
                  <a:pt x="1957472" y="865"/>
                </a:moveTo>
                <a:lnTo>
                  <a:pt x="1974327" y="865"/>
                </a:lnTo>
                <a:cubicBezTo>
                  <a:pt x="2024460" y="591240"/>
                  <a:pt x="1977783" y="1202791"/>
                  <a:pt x="1833865" y="1822122"/>
                </a:cubicBezTo>
                <a:cubicBezTo>
                  <a:pt x="1810526" y="1921094"/>
                  <a:pt x="1783730" y="2022227"/>
                  <a:pt x="1756935" y="2119471"/>
                </a:cubicBezTo>
                <a:cubicBezTo>
                  <a:pt x="1683462" y="2404286"/>
                  <a:pt x="1606530" y="2697743"/>
                  <a:pt x="1589675" y="2992931"/>
                </a:cubicBezTo>
                <a:cubicBezTo>
                  <a:pt x="1569795" y="3313185"/>
                  <a:pt x="1619928" y="3670607"/>
                  <a:pt x="1746993" y="4085512"/>
                </a:cubicBezTo>
                <a:cubicBezTo>
                  <a:pt x="1951420" y="4758435"/>
                  <a:pt x="2242284" y="5268854"/>
                  <a:pt x="2664105" y="5694131"/>
                </a:cubicBezTo>
                <a:cubicBezTo>
                  <a:pt x="2771288" y="5801747"/>
                  <a:pt x="2891871" y="5905041"/>
                  <a:pt x="3018935" y="6006174"/>
                </a:cubicBezTo>
                <a:cubicBezTo>
                  <a:pt x="3388459" y="6290989"/>
                  <a:pt x="3863871" y="6561973"/>
                  <a:pt x="4516912" y="6858024"/>
                </a:cubicBezTo>
                <a:lnTo>
                  <a:pt x="4491845" y="6858024"/>
                </a:lnTo>
                <a:cubicBezTo>
                  <a:pt x="3844854" y="6564998"/>
                  <a:pt x="3375061" y="6294446"/>
                  <a:pt x="3008562" y="6010496"/>
                </a:cubicBezTo>
                <a:cubicBezTo>
                  <a:pt x="2878041" y="5911092"/>
                  <a:pt x="2760917" y="5805637"/>
                  <a:pt x="2653732" y="5698453"/>
                </a:cubicBezTo>
                <a:cubicBezTo>
                  <a:pt x="2228887" y="5273176"/>
                  <a:pt x="1937590" y="4761029"/>
                  <a:pt x="1733596" y="4087673"/>
                </a:cubicBezTo>
                <a:cubicBezTo>
                  <a:pt x="1606530" y="3672769"/>
                  <a:pt x="1556397" y="3313617"/>
                  <a:pt x="1576277" y="2993363"/>
                </a:cubicBezTo>
                <a:cubicBezTo>
                  <a:pt x="1593132" y="2698176"/>
                  <a:pt x="1670063" y="2402556"/>
                  <a:pt x="1743537" y="2117741"/>
                </a:cubicBezTo>
                <a:cubicBezTo>
                  <a:pt x="1770332" y="2020499"/>
                  <a:pt x="1793670" y="1919366"/>
                  <a:pt x="1817009" y="1820394"/>
                </a:cubicBezTo>
                <a:cubicBezTo>
                  <a:pt x="1963953" y="1202791"/>
                  <a:pt x="2011063" y="589510"/>
                  <a:pt x="1957472" y="865"/>
                </a:cubicBezTo>
                <a:close/>
                <a:moveTo>
                  <a:pt x="1813983" y="865"/>
                </a:moveTo>
                <a:lnTo>
                  <a:pt x="1827381" y="865"/>
                </a:lnTo>
                <a:cubicBezTo>
                  <a:pt x="1884431" y="601612"/>
                  <a:pt x="1837754" y="1227426"/>
                  <a:pt x="1690376" y="1861452"/>
                </a:cubicBezTo>
                <a:cubicBezTo>
                  <a:pt x="1670063" y="1958695"/>
                  <a:pt x="1643267" y="2057667"/>
                  <a:pt x="1619928" y="2152749"/>
                </a:cubicBezTo>
                <a:cubicBezTo>
                  <a:pt x="1546455" y="2439725"/>
                  <a:pt x="1472983" y="2739234"/>
                  <a:pt x="1456128" y="3034421"/>
                </a:cubicBezTo>
                <a:cubicBezTo>
                  <a:pt x="1439272" y="3358565"/>
                  <a:pt x="1492863" y="3715988"/>
                  <a:pt x="1619928" y="4130892"/>
                </a:cubicBezTo>
                <a:cubicBezTo>
                  <a:pt x="1827381" y="4803816"/>
                  <a:pt x="2125161" y="5314234"/>
                  <a:pt x="2553464" y="5739511"/>
                </a:cubicBezTo>
                <a:cubicBezTo>
                  <a:pt x="2660648" y="5847127"/>
                  <a:pt x="2781230" y="5950421"/>
                  <a:pt x="2911750" y="6051554"/>
                </a:cubicBezTo>
                <a:cubicBezTo>
                  <a:pt x="3259665" y="6319945"/>
                  <a:pt x="3708281" y="6577532"/>
                  <a:pt x="4316807" y="6857592"/>
                </a:cubicBezTo>
                <a:lnTo>
                  <a:pt x="4293901" y="6857592"/>
                </a:lnTo>
                <a:cubicBezTo>
                  <a:pt x="3694452" y="6580125"/>
                  <a:pt x="3246700" y="6324267"/>
                  <a:pt x="2898352" y="6055876"/>
                </a:cubicBezTo>
                <a:cubicBezTo>
                  <a:pt x="2770856" y="5956471"/>
                  <a:pt x="2647250" y="5851017"/>
                  <a:pt x="2540066" y="5743834"/>
                </a:cubicBezTo>
                <a:cubicBezTo>
                  <a:pt x="2111764" y="5318557"/>
                  <a:pt x="1813983" y="4806409"/>
                  <a:pt x="1606530" y="4133053"/>
                </a:cubicBezTo>
                <a:cubicBezTo>
                  <a:pt x="1479466" y="3718149"/>
                  <a:pt x="1425874" y="3358565"/>
                  <a:pt x="1442730" y="3034421"/>
                </a:cubicBezTo>
                <a:cubicBezTo>
                  <a:pt x="1459154" y="2737073"/>
                  <a:pt x="1533058" y="2439725"/>
                  <a:pt x="1606530" y="2150589"/>
                </a:cubicBezTo>
                <a:cubicBezTo>
                  <a:pt x="1630301" y="2055506"/>
                  <a:pt x="1653639" y="1956534"/>
                  <a:pt x="1676978" y="1859291"/>
                </a:cubicBezTo>
                <a:cubicBezTo>
                  <a:pt x="1823923" y="1225697"/>
                  <a:pt x="1867576" y="599883"/>
                  <a:pt x="1813983" y="865"/>
                </a:cubicBezTo>
                <a:close/>
                <a:moveTo>
                  <a:pt x="1519660" y="865"/>
                </a:moveTo>
                <a:lnTo>
                  <a:pt x="1533058" y="865"/>
                </a:lnTo>
                <a:cubicBezTo>
                  <a:pt x="1533058" y="17288"/>
                  <a:pt x="1536516" y="35873"/>
                  <a:pt x="1536516" y="52296"/>
                </a:cubicBezTo>
                <a:cubicBezTo>
                  <a:pt x="1593565" y="657364"/>
                  <a:pt x="1549913" y="1291390"/>
                  <a:pt x="1409451" y="1937950"/>
                </a:cubicBezTo>
                <a:cubicBezTo>
                  <a:pt x="1389138" y="2030871"/>
                  <a:pt x="1365799" y="2125954"/>
                  <a:pt x="1342461" y="2218875"/>
                </a:cubicBezTo>
                <a:cubicBezTo>
                  <a:pt x="1275471" y="2511901"/>
                  <a:pt x="1201999" y="2817893"/>
                  <a:pt x="1188601" y="3121292"/>
                </a:cubicBezTo>
                <a:cubicBezTo>
                  <a:pt x="1178660" y="3447597"/>
                  <a:pt x="1235277" y="3807181"/>
                  <a:pt x="1369256" y="4222085"/>
                </a:cubicBezTo>
                <a:cubicBezTo>
                  <a:pt x="1586651" y="4893280"/>
                  <a:pt x="1891345" y="5405427"/>
                  <a:pt x="2329588" y="5830704"/>
                </a:cubicBezTo>
                <a:cubicBezTo>
                  <a:pt x="2436773" y="5938320"/>
                  <a:pt x="2560380" y="6041613"/>
                  <a:pt x="2690902" y="6140585"/>
                </a:cubicBezTo>
                <a:cubicBezTo>
                  <a:pt x="3009859" y="6381316"/>
                  <a:pt x="3397102" y="6607353"/>
                  <a:pt x="3923512" y="6858024"/>
                </a:cubicBezTo>
                <a:lnTo>
                  <a:pt x="3900606" y="6858024"/>
                </a:lnTo>
                <a:cubicBezTo>
                  <a:pt x="3380248" y="6609946"/>
                  <a:pt x="2996461" y="6385639"/>
                  <a:pt x="2680528" y="6147068"/>
                </a:cubicBezTo>
                <a:cubicBezTo>
                  <a:pt x="2550006" y="6047664"/>
                  <a:pt x="2426399" y="5942210"/>
                  <a:pt x="2315758" y="5835026"/>
                </a:cubicBezTo>
                <a:cubicBezTo>
                  <a:pt x="1877515" y="5409749"/>
                  <a:pt x="1572820" y="4895440"/>
                  <a:pt x="1355426" y="4222085"/>
                </a:cubicBezTo>
                <a:cubicBezTo>
                  <a:pt x="1221447" y="3808910"/>
                  <a:pt x="1161372" y="3447597"/>
                  <a:pt x="1174770" y="3121292"/>
                </a:cubicBezTo>
                <a:cubicBezTo>
                  <a:pt x="1188168" y="2817893"/>
                  <a:pt x="1258617" y="2511901"/>
                  <a:pt x="1329063" y="2216714"/>
                </a:cubicBezTo>
                <a:cubicBezTo>
                  <a:pt x="1352401" y="2125954"/>
                  <a:pt x="1372715" y="2030871"/>
                  <a:pt x="1396053" y="1937950"/>
                </a:cubicBezTo>
                <a:cubicBezTo>
                  <a:pt x="1536516" y="1291390"/>
                  <a:pt x="1580167" y="657364"/>
                  <a:pt x="1523118" y="52296"/>
                </a:cubicBezTo>
                <a:cubicBezTo>
                  <a:pt x="1523118" y="35873"/>
                  <a:pt x="1519660" y="17288"/>
                  <a:pt x="1519660" y="865"/>
                </a:cubicBezTo>
                <a:close/>
                <a:moveTo>
                  <a:pt x="927556" y="865"/>
                </a:moveTo>
                <a:lnTo>
                  <a:pt x="940955" y="865"/>
                </a:lnTo>
                <a:cubicBezTo>
                  <a:pt x="950895" y="58347"/>
                  <a:pt x="957379" y="118421"/>
                  <a:pt x="960836" y="182386"/>
                </a:cubicBezTo>
                <a:cubicBezTo>
                  <a:pt x="1010970" y="785294"/>
                  <a:pt x="970777" y="1429692"/>
                  <a:pt x="843711" y="2092675"/>
                </a:cubicBezTo>
                <a:cubicBezTo>
                  <a:pt x="826856" y="2177384"/>
                  <a:pt x="810000" y="2264255"/>
                  <a:pt x="790119" y="2346804"/>
                </a:cubicBezTo>
                <a:cubicBezTo>
                  <a:pt x="726587" y="2656253"/>
                  <a:pt x="659598" y="2974346"/>
                  <a:pt x="656141" y="3292440"/>
                </a:cubicBezTo>
                <a:cubicBezTo>
                  <a:pt x="652683" y="3624796"/>
                  <a:pt x="723130" y="3988269"/>
                  <a:pt x="863592" y="4401445"/>
                </a:cubicBezTo>
                <a:cubicBezTo>
                  <a:pt x="1097840" y="5072639"/>
                  <a:pt x="1422417" y="5584786"/>
                  <a:pt x="1877515" y="6012225"/>
                </a:cubicBezTo>
                <a:cubicBezTo>
                  <a:pt x="1991181" y="6119841"/>
                  <a:pt x="2118679" y="6223134"/>
                  <a:pt x="2255684" y="6322107"/>
                </a:cubicBezTo>
                <a:cubicBezTo>
                  <a:pt x="2527965" y="6522644"/>
                  <a:pt x="2838710" y="6698979"/>
                  <a:pt x="3150753" y="6858024"/>
                </a:cubicBezTo>
                <a:lnTo>
                  <a:pt x="3127414" y="6858024"/>
                </a:lnTo>
                <a:cubicBezTo>
                  <a:pt x="2819694" y="6700707"/>
                  <a:pt x="2514135" y="6525237"/>
                  <a:pt x="2242284" y="6328590"/>
                </a:cubicBezTo>
                <a:cubicBezTo>
                  <a:pt x="2108737" y="6229185"/>
                  <a:pt x="1981241" y="6123730"/>
                  <a:pt x="1867576" y="6016547"/>
                </a:cubicBezTo>
                <a:cubicBezTo>
                  <a:pt x="1409019" y="5589109"/>
                  <a:pt x="1084443" y="5074800"/>
                  <a:pt x="850194" y="4401445"/>
                </a:cubicBezTo>
                <a:cubicBezTo>
                  <a:pt x="706275" y="3990430"/>
                  <a:pt x="639285" y="3626957"/>
                  <a:pt x="642743" y="3292440"/>
                </a:cubicBezTo>
                <a:cubicBezTo>
                  <a:pt x="646200" y="2974346"/>
                  <a:pt x="713190" y="2654525"/>
                  <a:pt x="776722" y="2344643"/>
                </a:cubicBezTo>
                <a:cubicBezTo>
                  <a:pt x="793577" y="2262094"/>
                  <a:pt x="813457" y="2177384"/>
                  <a:pt x="830313" y="2092675"/>
                </a:cubicBezTo>
                <a:cubicBezTo>
                  <a:pt x="957379" y="1429692"/>
                  <a:pt x="997572" y="785294"/>
                  <a:pt x="947438" y="182386"/>
                </a:cubicBezTo>
                <a:cubicBezTo>
                  <a:pt x="944413" y="118421"/>
                  <a:pt x="937497" y="58779"/>
                  <a:pt x="927556" y="865"/>
                </a:cubicBezTo>
                <a:close/>
                <a:moveTo>
                  <a:pt x="482400" y="865"/>
                </a:moveTo>
                <a:lnTo>
                  <a:pt x="495797" y="865"/>
                </a:lnTo>
                <a:cubicBezTo>
                  <a:pt x="515678" y="98108"/>
                  <a:pt x="522593" y="192758"/>
                  <a:pt x="529076" y="279629"/>
                </a:cubicBezTo>
                <a:cubicBezTo>
                  <a:pt x="575753" y="882536"/>
                  <a:pt x="539016" y="1531258"/>
                  <a:pt x="418434" y="2208502"/>
                </a:cubicBezTo>
                <a:cubicBezTo>
                  <a:pt x="405036" y="2286729"/>
                  <a:pt x="391639" y="2365387"/>
                  <a:pt x="374782" y="2439725"/>
                </a:cubicBezTo>
                <a:cubicBezTo>
                  <a:pt x="314708" y="2762141"/>
                  <a:pt x="254202" y="3092335"/>
                  <a:pt x="257659" y="3420801"/>
                </a:cubicBezTo>
                <a:cubicBezTo>
                  <a:pt x="261117" y="3759207"/>
                  <a:pt x="335022" y="4124842"/>
                  <a:pt x="485424" y="4535856"/>
                </a:cubicBezTo>
                <a:cubicBezTo>
                  <a:pt x="729612" y="5198839"/>
                  <a:pt x="1074502" y="5725249"/>
                  <a:pt x="1542998" y="6148797"/>
                </a:cubicBezTo>
                <a:cubicBezTo>
                  <a:pt x="1660122" y="6256413"/>
                  <a:pt x="1787188" y="6359708"/>
                  <a:pt x="1927651" y="6458678"/>
                </a:cubicBezTo>
                <a:cubicBezTo>
                  <a:pt x="2129916" y="6601302"/>
                  <a:pt x="2350767" y="6733553"/>
                  <a:pt x="2581556" y="6857592"/>
                </a:cubicBezTo>
                <a:lnTo>
                  <a:pt x="2559515" y="6857592"/>
                </a:lnTo>
                <a:cubicBezTo>
                  <a:pt x="2333477" y="6735282"/>
                  <a:pt x="2115653" y="6604760"/>
                  <a:pt x="1914251" y="6462569"/>
                </a:cubicBezTo>
                <a:cubicBezTo>
                  <a:pt x="1777246" y="6365325"/>
                  <a:pt x="1646724" y="6262032"/>
                  <a:pt x="1529600" y="6154848"/>
                </a:cubicBezTo>
                <a:cubicBezTo>
                  <a:pt x="1064561" y="5729571"/>
                  <a:pt x="716215" y="5201000"/>
                  <a:pt x="472026" y="4538018"/>
                </a:cubicBezTo>
                <a:cubicBezTo>
                  <a:pt x="321191" y="4124842"/>
                  <a:pt x="247718" y="3761368"/>
                  <a:pt x="244261" y="3420801"/>
                </a:cubicBezTo>
                <a:cubicBezTo>
                  <a:pt x="240804" y="3092335"/>
                  <a:pt x="301310" y="2759980"/>
                  <a:pt x="361385" y="2439725"/>
                </a:cubicBezTo>
                <a:cubicBezTo>
                  <a:pt x="374782" y="2363227"/>
                  <a:pt x="391639" y="2285000"/>
                  <a:pt x="405036" y="2208502"/>
                </a:cubicBezTo>
                <a:cubicBezTo>
                  <a:pt x="525618" y="1531258"/>
                  <a:pt x="562354" y="882536"/>
                  <a:pt x="515678" y="279629"/>
                </a:cubicBezTo>
                <a:cubicBezTo>
                  <a:pt x="509195" y="192758"/>
                  <a:pt x="499254" y="98108"/>
                  <a:pt x="482400" y="865"/>
                </a:cubicBezTo>
                <a:close/>
                <a:moveTo>
                  <a:pt x="331564" y="865"/>
                </a:moveTo>
                <a:lnTo>
                  <a:pt x="344962" y="865"/>
                </a:lnTo>
                <a:cubicBezTo>
                  <a:pt x="368301" y="108481"/>
                  <a:pt x="378674" y="215664"/>
                  <a:pt x="385156" y="312908"/>
                </a:cubicBezTo>
                <a:cubicBezTo>
                  <a:pt x="431833" y="913655"/>
                  <a:pt x="395096" y="1564104"/>
                  <a:pt x="277973" y="2247832"/>
                </a:cubicBezTo>
                <a:cubicBezTo>
                  <a:pt x="264575" y="2322169"/>
                  <a:pt x="251175" y="2398667"/>
                  <a:pt x="237778" y="2470843"/>
                </a:cubicBezTo>
                <a:cubicBezTo>
                  <a:pt x="177703" y="2794987"/>
                  <a:pt x="117628" y="3131665"/>
                  <a:pt x="124111" y="3464020"/>
                </a:cubicBezTo>
                <a:cubicBezTo>
                  <a:pt x="131026" y="3804588"/>
                  <a:pt x="207957" y="4170222"/>
                  <a:pt x="361817" y="4579076"/>
                </a:cubicBezTo>
                <a:cubicBezTo>
                  <a:pt x="609463" y="5244219"/>
                  <a:pt x="957379" y="5770629"/>
                  <a:pt x="1429331" y="6194177"/>
                </a:cubicBezTo>
                <a:cubicBezTo>
                  <a:pt x="1546455" y="6301793"/>
                  <a:pt x="1676978" y="6405087"/>
                  <a:pt x="1817441" y="6504059"/>
                </a:cubicBezTo>
                <a:cubicBezTo>
                  <a:pt x="1996801" y="6628962"/>
                  <a:pt x="2191720" y="6746520"/>
                  <a:pt x="2394850" y="6857592"/>
                </a:cubicBezTo>
                <a:lnTo>
                  <a:pt x="2373240" y="6857592"/>
                </a:lnTo>
                <a:cubicBezTo>
                  <a:pt x="2173136" y="6748248"/>
                  <a:pt x="1983402" y="6632420"/>
                  <a:pt x="1807501" y="6507949"/>
                </a:cubicBezTo>
                <a:cubicBezTo>
                  <a:pt x="1667037" y="6410705"/>
                  <a:pt x="1536516" y="6307412"/>
                  <a:pt x="1415933" y="6200228"/>
                </a:cubicBezTo>
                <a:cubicBezTo>
                  <a:pt x="947438" y="5774951"/>
                  <a:pt x="596065" y="5246380"/>
                  <a:pt x="348419" y="4581237"/>
                </a:cubicBezTo>
                <a:cubicBezTo>
                  <a:pt x="194559" y="4170222"/>
                  <a:pt x="117197" y="3804588"/>
                  <a:pt x="110713" y="3464020"/>
                </a:cubicBezTo>
                <a:cubicBezTo>
                  <a:pt x="103798" y="3131665"/>
                  <a:pt x="164305" y="2794987"/>
                  <a:pt x="224380" y="2470843"/>
                </a:cubicBezTo>
                <a:cubicBezTo>
                  <a:pt x="237778" y="2396505"/>
                  <a:pt x="251175" y="2322169"/>
                  <a:pt x="264575" y="2247832"/>
                </a:cubicBezTo>
                <a:cubicBezTo>
                  <a:pt x="378240" y="1564536"/>
                  <a:pt x="415409" y="913655"/>
                  <a:pt x="371757" y="312908"/>
                </a:cubicBezTo>
                <a:cubicBezTo>
                  <a:pt x="364842" y="215664"/>
                  <a:pt x="354903" y="108048"/>
                  <a:pt x="331564" y="865"/>
                </a:cubicBezTo>
                <a:close/>
                <a:moveTo>
                  <a:pt x="177272" y="865"/>
                </a:moveTo>
                <a:lnTo>
                  <a:pt x="194126" y="865"/>
                </a:lnTo>
                <a:cubicBezTo>
                  <a:pt x="224380" y="118421"/>
                  <a:pt x="234320" y="238571"/>
                  <a:pt x="241235" y="343594"/>
                </a:cubicBezTo>
                <a:cubicBezTo>
                  <a:pt x="284887" y="944340"/>
                  <a:pt x="251175" y="1599111"/>
                  <a:pt x="137509" y="2286729"/>
                </a:cubicBezTo>
                <a:cubicBezTo>
                  <a:pt x="124111" y="2358905"/>
                  <a:pt x="110713" y="2431513"/>
                  <a:pt x="100773" y="2501528"/>
                </a:cubicBezTo>
                <a:cubicBezTo>
                  <a:pt x="72248" y="2665761"/>
                  <a:pt x="42967" y="2833020"/>
                  <a:pt x="21628" y="3001305"/>
                </a:cubicBezTo>
                <a:lnTo>
                  <a:pt x="0" y="3220433"/>
                </a:lnTo>
                <a:lnTo>
                  <a:pt x="0" y="3069197"/>
                </a:lnTo>
                <a:lnTo>
                  <a:pt x="6448" y="3000440"/>
                </a:lnTo>
                <a:cubicBezTo>
                  <a:pt x="26869" y="2832156"/>
                  <a:pt x="55177" y="2664897"/>
                  <a:pt x="83485" y="2499800"/>
                </a:cubicBezTo>
                <a:cubicBezTo>
                  <a:pt x="96883" y="2429353"/>
                  <a:pt x="110281" y="2357177"/>
                  <a:pt x="120222" y="2285000"/>
                </a:cubicBezTo>
                <a:cubicBezTo>
                  <a:pt x="233888" y="1599111"/>
                  <a:pt x="271057" y="944340"/>
                  <a:pt x="227406" y="343594"/>
                </a:cubicBezTo>
                <a:cubicBezTo>
                  <a:pt x="220923" y="238571"/>
                  <a:pt x="210550" y="118421"/>
                  <a:pt x="177272" y="865"/>
                </a:cubicBezTo>
                <a:close/>
                <a:moveTo>
                  <a:pt x="26870" y="865"/>
                </a:moveTo>
                <a:lnTo>
                  <a:pt x="39834" y="865"/>
                </a:lnTo>
                <a:cubicBezTo>
                  <a:pt x="77002" y="129226"/>
                  <a:pt x="90401" y="261045"/>
                  <a:pt x="96883" y="376872"/>
                </a:cubicBezTo>
                <a:cubicBezTo>
                  <a:pt x="129621" y="826136"/>
                  <a:pt x="117142" y="1307976"/>
                  <a:pt x="62180" y="1813458"/>
                </a:cubicBezTo>
                <a:lnTo>
                  <a:pt x="0" y="2275627"/>
                </a:lnTo>
                <a:lnTo>
                  <a:pt x="0" y="2177011"/>
                </a:lnTo>
                <a:lnTo>
                  <a:pt x="49031" y="1812364"/>
                </a:lnTo>
                <a:cubicBezTo>
                  <a:pt x="103933" y="1307733"/>
                  <a:pt x="116656" y="826136"/>
                  <a:pt x="83918" y="376872"/>
                </a:cubicBezTo>
                <a:cubicBezTo>
                  <a:pt x="77002" y="261045"/>
                  <a:pt x="63604" y="128794"/>
                  <a:pt x="26870" y="865"/>
                </a:cubicBezTo>
                <a:close/>
                <a:moveTo>
                  <a:pt x="4005629" y="433"/>
                </a:moveTo>
                <a:lnTo>
                  <a:pt x="4019027" y="433"/>
                </a:lnTo>
                <a:cubicBezTo>
                  <a:pt x="4019027" y="427871"/>
                  <a:pt x="3952037" y="857469"/>
                  <a:pt x="3811575" y="1278857"/>
                </a:cubicBezTo>
                <a:cubicBezTo>
                  <a:pt x="3771381" y="1398574"/>
                  <a:pt x="3728163" y="1518292"/>
                  <a:pt x="3684510" y="1634119"/>
                </a:cubicBezTo>
                <a:cubicBezTo>
                  <a:pt x="3590725" y="1880037"/>
                  <a:pt x="3497371" y="2135894"/>
                  <a:pt x="3453720" y="2392184"/>
                </a:cubicBezTo>
                <a:cubicBezTo>
                  <a:pt x="3403587" y="2696014"/>
                  <a:pt x="3420441" y="3026210"/>
                  <a:pt x="3510769" y="3457970"/>
                </a:cubicBezTo>
                <a:cubicBezTo>
                  <a:pt x="3651231" y="4141265"/>
                  <a:pt x="3875539" y="4632667"/>
                  <a:pt x="4236852" y="5056216"/>
                </a:cubicBezTo>
                <a:cubicBezTo>
                  <a:pt x="4330638" y="5163400"/>
                  <a:pt x="4434363" y="5271016"/>
                  <a:pt x="4551488" y="5372149"/>
                </a:cubicBezTo>
                <a:cubicBezTo>
                  <a:pt x="4905886" y="5688081"/>
                  <a:pt x="5387779" y="5987589"/>
                  <a:pt x="5980314" y="6258142"/>
                </a:cubicBezTo>
                <a:cubicBezTo>
                  <a:pt x="6124234" y="6326428"/>
                  <a:pt x="6271611" y="6390393"/>
                  <a:pt x="6422015" y="6447010"/>
                </a:cubicBezTo>
                <a:cubicBezTo>
                  <a:pt x="6815309" y="6605192"/>
                  <a:pt x="7230213" y="6742197"/>
                  <a:pt x="7663269" y="6856728"/>
                </a:cubicBezTo>
                <a:lnTo>
                  <a:pt x="7626102" y="6856728"/>
                </a:lnTo>
                <a:cubicBezTo>
                  <a:pt x="7206443" y="6743925"/>
                  <a:pt x="6799319" y="6607785"/>
                  <a:pt x="6415531" y="6455654"/>
                </a:cubicBezTo>
                <a:cubicBezTo>
                  <a:pt x="6264696" y="6395579"/>
                  <a:pt x="6114294" y="6331615"/>
                  <a:pt x="5970373" y="6265489"/>
                </a:cubicBezTo>
                <a:cubicBezTo>
                  <a:pt x="5378271" y="5993208"/>
                  <a:pt x="4896376" y="5693699"/>
                  <a:pt x="4538090" y="5375605"/>
                </a:cubicBezTo>
                <a:cubicBezTo>
                  <a:pt x="4424423" y="5274473"/>
                  <a:pt x="4317239" y="5166857"/>
                  <a:pt x="4223454" y="5059673"/>
                </a:cubicBezTo>
                <a:cubicBezTo>
                  <a:pt x="3862141" y="4636558"/>
                  <a:pt x="3637833" y="4142994"/>
                  <a:pt x="3497371" y="3459266"/>
                </a:cubicBezTo>
                <a:cubicBezTo>
                  <a:pt x="3407043" y="3025778"/>
                  <a:pt x="3390188" y="2695150"/>
                  <a:pt x="3440323" y="2391752"/>
                </a:cubicBezTo>
                <a:cubicBezTo>
                  <a:pt x="3483541" y="2133734"/>
                  <a:pt x="3577327" y="1877875"/>
                  <a:pt x="3671113" y="1631957"/>
                </a:cubicBezTo>
                <a:cubicBezTo>
                  <a:pt x="3714332" y="1516131"/>
                  <a:pt x="3757983" y="1396413"/>
                  <a:pt x="3798177" y="1276696"/>
                </a:cubicBezTo>
                <a:cubicBezTo>
                  <a:pt x="3935182" y="855309"/>
                  <a:pt x="4005629" y="427871"/>
                  <a:pt x="4005629" y="433"/>
                </a:cubicBezTo>
                <a:close/>
                <a:moveTo>
                  <a:pt x="1372282" y="433"/>
                </a:moveTo>
                <a:lnTo>
                  <a:pt x="1385681" y="433"/>
                </a:lnTo>
                <a:cubicBezTo>
                  <a:pt x="1388705" y="29390"/>
                  <a:pt x="1392163" y="56185"/>
                  <a:pt x="1392163" y="85142"/>
                </a:cubicBezTo>
                <a:cubicBezTo>
                  <a:pt x="1449213" y="690212"/>
                  <a:pt x="1405561" y="1326398"/>
                  <a:pt x="1268556" y="1976847"/>
                </a:cubicBezTo>
                <a:cubicBezTo>
                  <a:pt x="1248676" y="2068040"/>
                  <a:pt x="1224905" y="2160961"/>
                  <a:pt x="1205024" y="2251722"/>
                </a:cubicBezTo>
                <a:cubicBezTo>
                  <a:pt x="1138035" y="2549069"/>
                  <a:pt x="1067586" y="2856790"/>
                  <a:pt x="1057646" y="3164511"/>
                </a:cubicBezTo>
                <a:cubicBezTo>
                  <a:pt x="1047707" y="3492977"/>
                  <a:pt x="1107781" y="3852129"/>
                  <a:pt x="1241760" y="4265304"/>
                </a:cubicBezTo>
                <a:cubicBezTo>
                  <a:pt x="1462611" y="4938660"/>
                  <a:pt x="1773790" y="5450807"/>
                  <a:pt x="2215489" y="5876084"/>
                </a:cubicBezTo>
                <a:cubicBezTo>
                  <a:pt x="2326131" y="5983700"/>
                  <a:pt x="2449738" y="6086993"/>
                  <a:pt x="2583717" y="6185966"/>
                </a:cubicBezTo>
                <a:cubicBezTo>
                  <a:pt x="2932929" y="6448307"/>
                  <a:pt x="3348266" y="6672614"/>
                  <a:pt x="3730323" y="6858024"/>
                </a:cubicBezTo>
                <a:lnTo>
                  <a:pt x="3705687" y="6858024"/>
                </a:lnTo>
                <a:cubicBezTo>
                  <a:pt x="3326224" y="6674774"/>
                  <a:pt x="2918666" y="6452629"/>
                  <a:pt x="2570320" y="6192449"/>
                </a:cubicBezTo>
                <a:cubicBezTo>
                  <a:pt x="2439797" y="6093044"/>
                  <a:pt x="2315758" y="5987589"/>
                  <a:pt x="2202091" y="5880407"/>
                </a:cubicBezTo>
                <a:cubicBezTo>
                  <a:pt x="1760392" y="5452968"/>
                  <a:pt x="1449213" y="4940821"/>
                  <a:pt x="1228362" y="4267466"/>
                </a:cubicBezTo>
                <a:cubicBezTo>
                  <a:pt x="1094384" y="3854289"/>
                  <a:pt x="1030850" y="3492977"/>
                  <a:pt x="1040791" y="3164511"/>
                </a:cubicBezTo>
                <a:cubicBezTo>
                  <a:pt x="1051163" y="2856790"/>
                  <a:pt x="1124636" y="2547341"/>
                  <a:pt x="1191627" y="2249561"/>
                </a:cubicBezTo>
                <a:cubicBezTo>
                  <a:pt x="1211507" y="2160529"/>
                  <a:pt x="1234846" y="2067608"/>
                  <a:pt x="1251701" y="1974686"/>
                </a:cubicBezTo>
                <a:cubicBezTo>
                  <a:pt x="1392163" y="1326398"/>
                  <a:pt x="1432357" y="690212"/>
                  <a:pt x="1378765" y="85142"/>
                </a:cubicBezTo>
                <a:cubicBezTo>
                  <a:pt x="1375740" y="56185"/>
                  <a:pt x="1375740" y="29390"/>
                  <a:pt x="1372282" y="433"/>
                </a:cubicBezTo>
                <a:close/>
                <a:moveTo>
                  <a:pt x="1225337" y="433"/>
                </a:moveTo>
                <a:lnTo>
                  <a:pt x="1238734" y="433"/>
                </a:lnTo>
                <a:cubicBezTo>
                  <a:pt x="1242193" y="39762"/>
                  <a:pt x="1245218" y="79091"/>
                  <a:pt x="1248676" y="116260"/>
                </a:cubicBezTo>
                <a:cubicBezTo>
                  <a:pt x="1302267" y="721330"/>
                  <a:pt x="1262074" y="1361405"/>
                  <a:pt x="1125069" y="2016176"/>
                </a:cubicBezTo>
                <a:cubicBezTo>
                  <a:pt x="1108213" y="2104776"/>
                  <a:pt x="1087900" y="2195536"/>
                  <a:pt x="1068020" y="2282407"/>
                </a:cubicBezTo>
                <a:cubicBezTo>
                  <a:pt x="1001030" y="2584077"/>
                  <a:pt x="930581" y="2895687"/>
                  <a:pt x="924099" y="3207730"/>
                </a:cubicBezTo>
                <a:cubicBezTo>
                  <a:pt x="914159" y="3536196"/>
                  <a:pt x="977691" y="3897509"/>
                  <a:pt x="1118153" y="4310684"/>
                </a:cubicBezTo>
                <a:cubicBezTo>
                  <a:pt x="1342029" y="4984040"/>
                  <a:pt x="1656665" y="5494027"/>
                  <a:pt x="2101823" y="5921465"/>
                </a:cubicBezTo>
                <a:cubicBezTo>
                  <a:pt x="2215489" y="6029081"/>
                  <a:pt x="2339096" y="6132374"/>
                  <a:pt x="2473076" y="6231346"/>
                </a:cubicBezTo>
                <a:cubicBezTo>
                  <a:pt x="2797651" y="6471212"/>
                  <a:pt x="3177981" y="6680826"/>
                  <a:pt x="3536701" y="6857592"/>
                </a:cubicBezTo>
                <a:lnTo>
                  <a:pt x="3511634" y="6857592"/>
                </a:lnTo>
                <a:cubicBezTo>
                  <a:pt x="3155507" y="6682554"/>
                  <a:pt x="2781230" y="6475103"/>
                  <a:pt x="2463136" y="6237397"/>
                </a:cubicBezTo>
                <a:cubicBezTo>
                  <a:pt x="2329588" y="6137993"/>
                  <a:pt x="2202524" y="6032537"/>
                  <a:pt x="2091882" y="5925354"/>
                </a:cubicBezTo>
                <a:cubicBezTo>
                  <a:pt x="1643267" y="5497916"/>
                  <a:pt x="1329063" y="4985769"/>
                  <a:pt x="1101298" y="4312414"/>
                </a:cubicBezTo>
                <a:cubicBezTo>
                  <a:pt x="964293" y="3899238"/>
                  <a:pt x="900761" y="3536196"/>
                  <a:pt x="910701" y="3205569"/>
                </a:cubicBezTo>
                <a:cubicBezTo>
                  <a:pt x="917616" y="2895687"/>
                  <a:pt x="987631" y="2584077"/>
                  <a:pt x="1054621" y="2282407"/>
                </a:cubicBezTo>
                <a:cubicBezTo>
                  <a:pt x="1074934" y="2193807"/>
                  <a:pt x="1094815" y="2102616"/>
                  <a:pt x="1111671" y="2014016"/>
                </a:cubicBezTo>
                <a:cubicBezTo>
                  <a:pt x="1245218" y="1359677"/>
                  <a:pt x="1288869" y="721330"/>
                  <a:pt x="1235277" y="116260"/>
                </a:cubicBezTo>
                <a:cubicBezTo>
                  <a:pt x="1231819" y="79091"/>
                  <a:pt x="1228794" y="39762"/>
                  <a:pt x="1225337" y="433"/>
                </a:cubicBezTo>
                <a:close/>
                <a:moveTo>
                  <a:pt x="1074069" y="433"/>
                </a:moveTo>
                <a:lnTo>
                  <a:pt x="1090925" y="433"/>
                </a:lnTo>
                <a:cubicBezTo>
                  <a:pt x="1097840" y="47974"/>
                  <a:pt x="1100866" y="97676"/>
                  <a:pt x="1104323" y="149107"/>
                </a:cubicBezTo>
                <a:cubicBezTo>
                  <a:pt x="1157916" y="754176"/>
                  <a:pt x="1117721" y="1394685"/>
                  <a:pt x="983741" y="2053345"/>
                </a:cubicBezTo>
                <a:cubicBezTo>
                  <a:pt x="966887" y="2142376"/>
                  <a:pt x="947006" y="2228815"/>
                  <a:pt x="930150" y="2315686"/>
                </a:cubicBezTo>
                <a:cubicBezTo>
                  <a:pt x="863160" y="2619518"/>
                  <a:pt x="796170" y="2935449"/>
                  <a:pt x="789687" y="3249221"/>
                </a:cubicBezTo>
                <a:cubicBezTo>
                  <a:pt x="783204" y="3581576"/>
                  <a:pt x="850194" y="3942889"/>
                  <a:pt x="990657" y="4356065"/>
                </a:cubicBezTo>
                <a:cubicBezTo>
                  <a:pt x="1221880" y="5027259"/>
                  <a:pt x="1539540" y="5539406"/>
                  <a:pt x="1991614" y="5966845"/>
                </a:cubicBezTo>
                <a:cubicBezTo>
                  <a:pt x="2105282" y="6074461"/>
                  <a:pt x="2228887" y="6177754"/>
                  <a:pt x="2362867" y="6276726"/>
                </a:cubicBezTo>
                <a:cubicBezTo>
                  <a:pt x="2662808" y="6496280"/>
                  <a:pt x="3004672" y="6688605"/>
                  <a:pt x="3342214" y="6858024"/>
                </a:cubicBezTo>
                <a:lnTo>
                  <a:pt x="3320605" y="6858024"/>
                </a:lnTo>
                <a:cubicBezTo>
                  <a:pt x="2985657" y="6690766"/>
                  <a:pt x="2649843" y="6500602"/>
                  <a:pt x="2352927" y="6283209"/>
                </a:cubicBezTo>
                <a:cubicBezTo>
                  <a:pt x="2219381" y="6183805"/>
                  <a:pt x="2091882" y="6078350"/>
                  <a:pt x="1978216" y="5971166"/>
                </a:cubicBezTo>
                <a:cubicBezTo>
                  <a:pt x="1526575" y="5543729"/>
                  <a:pt x="1208483" y="5031581"/>
                  <a:pt x="977691" y="4358225"/>
                </a:cubicBezTo>
                <a:cubicBezTo>
                  <a:pt x="836797" y="3945050"/>
                  <a:pt x="770240" y="3581576"/>
                  <a:pt x="776722" y="3249221"/>
                </a:cubicBezTo>
                <a:cubicBezTo>
                  <a:pt x="783204" y="2935449"/>
                  <a:pt x="850194" y="2619518"/>
                  <a:pt x="913294" y="2313525"/>
                </a:cubicBezTo>
                <a:cubicBezTo>
                  <a:pt x="933608" y="2228815"/>
                  <a:pt x="953489" y="2140216"/>
                  <a:pt x="970344" y="2053345"/>
                </a:cubicBezTo>
                <a:cubicBezTo>
                  <a:pt x="1100866" y="1394253"/>
                  <a:pt x="1141060" y="754176"/>
                  <a:pt x="1090925" y="149107"/>
                </a:cubicBezTo>
                <a:cubicBezTo>
                  <a:pt x="1087468" y="97676"/>
                  <a:pt x="1080552" y="47974"/>
                  <a:pt x="1074069" y="433"/>
                </a:cubicBezTo>
                <a:close/>
                <a:moveTo>
                  <a:pt x="780179" y="433"/>
                </a:moveTo>
                <a:lnTo>
                  <a:pt x="793577" y="433"/>
                </a:lnTo>
                <a:cubicBezTo>
                  <a:pt x="806974" y="74770"/>
                  <a:pt x="813457" y="146946"/>
                  <a:pt x="816915" y="213072"/>
                </a:cubicBezTo>
                <a:cubicBezTo>
                  <a:pt x="867049" y="818140"/>
                  <a:pt x="826856" y="1462539"/>
                  <a:pt x="703249" y="2131572"/>
                </a:cubicBezTo>
                <a:cubicBezTo>
                  <a:pt x="686393" y="2214553"/>
                  <a:pt x="669970" y="2297102"/>
                  <a:pt x="653115" y="2377489"/>
                </a:cubicBezTo>
                <a:cubicBezTo>
                  <a:pt x="589583" y="2691261"/>
                  <a:pt x="526050" y="3013676"/>
                  <a:pt x="522593" y="3335659"/>
                </a:cubicBezTo>
                <a:cubicBezTo>
                  <a:pt x="522593" y="3670175"/>
                  <a:pt x="592609" y="4033650"/>
                  <a:pt x="739985" y="4444664"/>
                </a:cubicBezTo>
                <a:cubicBezTo>
                  <a:pt x="977691" y="5118019"/>
                  <a:pt x="1305292" y="5630167"/>
                  <a:pt x="1767306" y="6057605"/>
                </a:cubicBezTo>
                <a:cubicBezTo>
                  <a:pt x="1880974" y="6165220"/>
                  <a:pt x="2008470" y="6268515"/>
                  <a:pt x="2145475" y="6367487"/>
                </a:cubicBezTo>
                <a:cubicBezTo>
                  <a:pt x="2395282" y="6546846"/>
                  <a:pt x="2675774" y="6709783"/>
                  <a:pt x="2960590" y="6857160"/>
                </a:cubicBezTo>
                <a:lnTo>
                  <a:pt x="2936818" y="6857160"/>
                </a:lnTo>
                <a:cubicBezTo>
                  <a:pt x="2655894" y="6711079"/>
                  <a:pt x="2379290" y="6550304"/>
                  <a:pt x="2135535" y="6373105"/>
                </a:cubicBezTo>
                <a:cubicBezTo>
                  <a:pt x="1998098" y="6273700"/>
                  <a:pt x="1871033" y="6168678"/>
                  <a:pt x="1753909" y="6063223"/>
                </a:cubicBezTo>
                <a:cubicBezTo>
                  <a:pt x="1292327" y="5634057"/>
                  <a:pt x="964293" y="5119748"/>
                  <a:pt x="726587" y="4446393"/>
                </a:cubicBezTo>
                <a:cubicBezTo>
                  <a:pt x="579642" y="4033218"/>
                  <a:pt x="509195" y="3669743"/>
                  <a:pt x="509195" y="3335227"/>
                </a:cubicBezTo>
                <a:cubicBezTo>
                  <a:pt x="512652" y="3013243"/>
                  <a:pt x="576185" y="2689099"/>
                  <a:pt x="639717" y="2377057"/>
                </a:cubicBezTo>
                <a:cubicBezTo>
                  <a:pt x="656141" y="2296670"/>
                  <a:pt x="672995" y="2211960"/>
                  <a:pt x="686393" y="2129411"/>
                </a:cubicBezTo>
                <a:cubicBezTo>
                  <a:pt x="813457" y="1462539"/>
                  <a:pt x="853652" y="818140"/>
                  <a:pt x="803517" y="215232"/>
                </a:cubicBezTo>
                <a:cubicBezTo>
                  <a:pt x="797035" y="146946"/>
                  <a:pt x="790119" y="74770"/>
                  <a:pt x="780179" y="433"/>
                </a:cubicBezTo>
                <a:close/>
                <a:moveTo>
                  <a:pt x="628912" y="433"/>
                </a:moveTo>
                <a:lnTo>
                  <a:pt x="645768" y="433"/>
                </a:lnTo>
                <a:cubicBezTo>
                  <a:pt x="659165" y="85142"/>
                  <a:pt x="669106" y="169852"/>
                  <a:pt x="672563" y="246350"/>
                </a:cubicBezTo>
                <a:cubicBezTo>
                  <a:pt x="719672" y="849258"/>
                  <a:pt x="682504" y="1497546"/>
                  <a:pt x="558897" y="2170901"/>
                </a:cubicBezTo>
                <a:cubicBezTo>
                  <a:pt x="545499" y="2249128"/>
                  <a:pt x="528644" y="2329516"/>
                  <a:pt x="515245" y="2408175"/>
                </a:cubicBezTo>
                <a:cubicBezTo>
                  <a:pt x="451713" y="2726268"/>
                  <a:pt x="388180" y="3052574"/>
                  <a:pt x="391639" y="3378879"/>
                </a:cubicBezTo>
                <a:cubicBezTo>
                  <a:pt x="391639" y="3715556"/>
                  <a:pt x="465112" y="4079029"/>
                  <a:pt x="612488" y="4490044"/>
                </a:cubicBezTo>
                <a:cubicBezTo>
                  <a:pt x="856678" y="5163400"/>
                  <a:pt x="1188168" y="5675547"/>
                  <a:pt x="1653207" y="6102985"/>
                </a:cubicBezTo>
                <a:cubicBezTo>
                  <a:pt x="1770332" y="6210601"/>
                  <a:pt x="1897829" y="6313895"/>
                  <a:pt x="2034834" y="6412867"/>
                </a:cubicBezTo>
                <a:cubicBezTo>
                  <a:pt x="2262167" y="6574938"/>
                  <a:pt x="2510676" y="6721884"/>
                  <a:pt x="2768696" y="6857592"/>
                </a:cubicBezTo>
                <a:lnTo>
                  <a:pt x="2748382" y="6857592"/>
                </a:lnTo>
                <a:cubicBezTo>
                  <a:pt x="2493821" y="6724045"/>
                  <a:pt x="2248768" y="6578828"/>
                  <a:pt x="2024893" y="6419349"/>
                </a:cubicBezTo>
                <a:cubicBezTo>
                  <a:pt x="1887456" y="6319945"/>
                  <a:pt x="1756935" y="6214923"/>
                  <a:pt x="1643267" y="6109468"/>
                </a:cubicBezTo>
                <a:cubicBezTo>
                  <a:pt x="1174770" y="5679869"/>
                  <a:pt x="843711" y="5165560"/>
                  <a:pt x="599091" y="4492205"/>
                </a:cubicBezTo>
                <a:cubicBezTo>
                  <a:pt x="451713" y="4079461"/>
                  <a:pt x="378240" y="3715988"/>
                  <a:pt x="374782" y="3379311"/>
                </a:cubicBezTo>
                <a:cubicBezTo>
                  <a:pt x="374782" y="3053006"/>
                  <a:pt x="438315" y="2724540"/>
                  <a:pt x="501847" y="2408607"/>
                </a:cubicBezTo>
                <a:cubicBezTo>
                  <a:pt x="515245" y="2330380"/>
                  <a:pt x="532101" y="2249561"/>
                  <a:pt x="545499" y="2169173"/>
                </a:cubicBezTo>
                <a:cubicBezTo>
                  <a:pt x="669106" y="1497978"/>
                  <a:pt x="705841" y="849258"/>
                  <a:pt x="659165" y="246350"/>
                </a:cubicBezTo>
                <a:cubicBezTo>
                  <a:pt x="652251" y="169852"/>
                  <a:pt x="645768" y="85142"/>
                  <a:pt x="628912" y="433"/>
                </a:cubicBezTo>
                <a:close/>
                <a:moveTo>
                  <a:pt x="4150413" y="0"/>
                </a:moveTo>
                <a:lnTo>
                  <a:pt x="4163811" y="0"/>
                </a:lnTo>
                <a:cubicBezTo>
                  <a:pt x="4160354" y="414905"/>
                  <a:pt x="4089906" y="830242"/>
                  <a:pt x="3952901" y="1239096"/>
                </a:cubicBezTo>
                <a:cubicBezTo>
                  <a:pt x="3912708" y="1359244"/>
                  <a:pt x="3866031" y="1480691"/>
                  <a:pt x="3822380" y="1596518"/>
                </a:cubicBezTo>
                <a:cubicBezTo>
                  <a:pt x="3728595" y="1842004"/>
                  <a:pt x="3631783" y="2093971"/>
                  <a:pt x="3588131" y="2348100"/>
                </a:cubicBezTo>
                <a:cubicBezTo>
                  <a:pt x="3534540" y="2651932"/>
                  <a:pt x="3551395" y="2980397"/>
                  <a:pt x="3638265" y="3413886"/>
                </a:cubicBezTo>
                <a:cubicBezTo>
                  <a:pt x="3771814" y="4095452"/>
                  <a:pt x="3992663" y="4589016"/>
                  <a:pt x="4350951" y="5010403"/>
                </a:cubicBezTo>
                <a:cubicBezTo>
                  <a:pt x="4441278" y="5117587"/>
                  <a:pt x="4545005" y="5225203"/>
                  <a:pt x="4658670" y="5326336"/>
                </a:cubicBezTo>
                <a:cubicBezTo>
                  <a:pt x="5016958" y="5644429"/>
                  <a:pt x="5495395" y="5943938"/>
                  <a:pt x="6081015" y="6214491"/>
                </a:cubicBezTo>
                <a:cubicBezTo>
                  <a:pt x="6224935" y="6280616"/>
                  <a:pt x="6372312" y="6344581"/>
                  <a:pt x="6522715" y="6404654"/>
                </a:cubicBezTo>
                <a:cubicBezTo>
                  <a:pt x="6931137" y="6568024"/>
                  <a:pt x="7369379" y="6708486"/>
                  <a:pt x="7824477" y="6826042"/>
                </a:cubicBezTo>
                <a:cubicBezTo>
                  <a:pt x="7865969" y="6836847"/>
                  <a:pt x="7908323" y="6847220"/>
                  <a:pt x="7951543" y="6857160"/>
                </a:cubicBezTo>
                <a:lnTo>
                  <a:pt x="7910051" y="6857160"/>
                </a:lnTo>
                <a:cubicBezTo>
                  <a:pt x="7878934" y="6849381"/>
                  <a:pt x="7848248" y="6841601"/>
                  <a:pt x="7817994" y="6833822"/>
                </a:cubicBezTo>
                <a:cubicBezTo>
                  <a:pt x="7362897" y="6715833"/>
                  <a:pt x="6924654" y="6573210"/>
                  <a:pt x="6516232" y="6410273"/>
                </a:cubicBezTo>
                <a:cubicBezTo>
                  <a:pt x="6365397" y="6350198"/>
                  <a:pt x="6218452" y="6288395"/>
                  <a:pt x="6071074" y="6220110"/>
                </a:cubicBezTo>
                <a:cubicBezTo>
                  <a:pt x="5485455" y="5949557"/>
                  <a:pt x="5007019" y="5650480"/>
                  <a:pt x="4648731" y="5330225"/>
                </a:cubicBezTo>
                <a:cubicBezTo>
                  <a:pt x="4535064" y="5229092"/>
                  <a:pt x="4427881" y="5121477"/>
                  <a:pt x="4337553" y="5014293"/>
                </a:cubicBezTo>
                <a:cubicBezTo>
                  <a:pt x="3979698" y="4591177"/>
                  <a:pt x="3758416" y="4097614"/>
                  <a:pt x="3621411" y="3413886"/>
                </a:cubicBezTo>
                <a:cubicBezTo>
                  <a:pt x="3534540" y="2979965"/>
                  <a:pt x="3521142" y="2651500"/>
                  <a:pt x="3574733" y="2348100"/>
                </a:cubicBezTo>
                <a:cubicBezTo>
                  <a:pt x="3618386" y="2092242"/>
                  <a:pt x="3715197" y="1840274"/>
                  <a:pt x="3808982" y="1594358"/>
                </a:cubicBezTo>
                <a:cubicBezTo>
                  <a:pt x="3852633" y="1478530"/>
                  <a:pt x="3899309" y="1356652"/>
                  <a:pt x="3939503" y="1239096"/>
                </a:cubicBezTo>
                <a:cubicBezTo>
                  <a:pt x="4076940" y="830242"/>
                  <a:pt x="4146956" y="414905"/>
                  <a:pt x="4150413" y="0"/>
                </a:cubicBezTo>
                <a:close/>
              </a:path>
            </a:pathLst>
          </a:custGeom>
          <a:gradFill>
            <a:gsLst>
              <a:gs pos="100000">
                <a:srgbClr val="28246F">
                  <a:alpha val="0"/>
                </a:srgbClr>
              </a:gs>
              <a:gs pos="44000">
                <a:srgbClr val="52BE6F">
                  <a:alpha val="25000"/>
                </a:srgbClr>
              </a:gs>
              <a:gs pos="0">
                <a:srgbClr val="3BCCFF">
                  <a:alpha val="0"/>
                </a:srgbClr>
              </a:gs>
              <a:gs pos="73000">
                <a:srgbClr val="F69F0C"/>
              </a:gs>
            </a:gsLst>
            <a:lin ang="3000000" scaled="0"/>
          </a:gra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B35BDF-1297-984E-B173-15E722BAFBA5}"/>
              </a:ext>
            </a:extLst>
          </p:cNvPr>
          <p:cNvCxnSpPr>
            <a:cxnSpLocks/>
          </p:cNvCxnSpPr>
          <p:nvPr userDrawn="1"/>
        </p:nvCxnSpPr>
        <p:spPr>
          <a:xfrm>
            <a:off x="459178" y="5064093"/>
            <a:ext cx="5767451" cy="0"/>
          </a:xfrm>
          <a:prstGeom prst="line">
            <a:avLst/>
          </a:prstGeom>
          <a:ln>
            <a:gradFill flip="none" rotWithShape="1">
              <a:gsLst>
                <a:gs pos="1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itle 1"/>
          <p:cNvSpPr>
            <a:spLocks noGrp="1"/>
          </p:cNvSpPr>
          <p:nvPr>
            <p:ph type="ctrTitle" hasCustomPrompt="1"/>
          </p:nvPr>
        </p:nvSpPr>
        <p:spPr>
          <a:xfrm>
            <a:off x="459179" y="2872222"/>
            <a:ext cx="5767451" cy="197248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ver Slide 1</a:t>
            </a:r>
          </a:p>
        </p:txBody>
      </p:sp>
      <p:sp>
        <p:nvSpPr>
          <p:cNvPr id="10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179" y="5283483"/>
            <a:ext cx="576745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cap="all" spc="300" baseline="0">
                <a:solidFill>
                  <a:schemeClr val="bg1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25934C0D-BF0E-4814-BFBF-6EE12D9E96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549" y="880346"/>
            <a:ext cx="2541915" cy="1073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7200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7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D15BBB8-7A44-5F44-A4F2-B873379545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73805" y="2509051"/>
            <a:ext cx="2610599" cy="434894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29B30FE-7335-D541-B319-3448D3EB67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1404" y="0"/>
            <a:ext cx="2610595" cy="43471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80AB29-4B3E-B24E-B360-4CEABF43A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1403" y="4467073"/>
            <a:ext cx="2610598" cy="239092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18D4F7B-5B2A-224C-8DBC-5830F6D55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7264" y="-1801"/>
            <a:ext cx="2608489" cy="43489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B73497B-4D44-2C48-9F34-DE82B4AE76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73805" y="-889"/>
            <a:ext cx="2610598" cy="239181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0AF7017-7EF9-0C43-9A2A-A854CBDC72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7256" y="4466189"/>
            <a:ext cx="2610599" cy="23918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4AFE6DD-8389-EE42-A890-58C918665CEC}"/>
              </a:ext>
            </a:extLst>
          </p:cNvPr>
          <p:cNvSpPr/>
          <p:nvPr userDrawn="1"/>
        </p:nvSpPr>
        <p:spPr>
          <a:xfrm>
            <a:off x="3649321" y="0"/>
            <a:ext cx="8542679" cy="6858000"/>
          </a:xfrm>
          <a:prstGeom prst="rect">
            <a:avLst/>
          </a:prstGeom>
          <a:gradFill flip="none" rotWithShape="1">
            <a:gsLst>
              <a:gs pos="5000">
                <a:schemeClr val="bg1"/>
              </a:gs>
              <a:gs pos="59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59B53035-5BB5-3F4D-8690-8462DA5D6823}"/>
              </a:ext>
            </a:extLst>
          </p:cNvPr>
          <p:cNvSpPr/>
          <p:nvPr userDrawn="1"/>
        </p:nvSpPr>
        <p:spPr>
          <a:xfrm>
            <a:off x="-2" y="0"/>
            <a:ext cx="9667345" cy="6858889"/>
          </a:xfrm>
          <a:custGeom>
            <a:avLst/>
            <a:gdLst>
              <a:gd name="connsiteX0" fmla="*/ 0 w 9667345"/>
              <a:gd name="connsiteY0" fmla="*/ 6810685 h 6858889"/>
              <a:gd name="connsiteX1" fmla="*/ 59283 w 9667345"/>
              <a:gd name="connsiteY1" fmla="*/ 6858456 h 6858889"/>
              <a:gd name="connsiteX2" fmla="*/ 39402 w 9667345"/>
              <a:gd name="connsiteY2" fmla="*/ 6858456 h 6858889"/>
              <a:gd name="connsiteX3" fmla="*/ 0 w 9667345"/>
              <a:gd name="connsiteY3" fmla="*/ 6827674 h 6858889"/>
              <a:gd name="connsiteX4" fmla="*/ 0 w 9667345"/>
              <a:gd name="connsiteY4" fmla="*/ 6672270 h 6858889"/>
              <a:gd name="connsiteX5" fmla="*/ 80461 w 9667345"/>
              <a:gd name="connsiteY5" fmla="*/ 6741333 h 6858889"/>
              <a:gd name="connsiteX6" fmla="*/ 232159 w 9667345"/>
              <a:gd name="connsiteY6" fmla="*/ 6857592 h 6858889"/>
              <a:gd name="connsiteX7" fmla="*/ 213144 w 9667345"/>
              <a:gd name="connsiteY7" fmla="*/ 6857592 h 6858889"/>
              <a:gd name="connsiteX8" fmla="*/ 70519 w 9667345"/>
              <a:gd name="connsiteY8" fmla="*/ 6747384 h 6858889"/>
              <a:gd name="connsiteX9" fmla="*/ 0 w 9667345"/>
              <a:gd name="connsiteY9" fmla="*/ 6686879 h 6858889"/>
              <a:gd name="connsiteX10" fmla="*/ 0 w 9667345"/>
              <a:gd name="connsiteY10" fmla="*/ 6527854 h 6858889"/>
              <a:gd name="connsiteX11" fmla="*/ 2977 w 9667345"/>
              <a:gd name="connsiteY11" fmla="*/ 6530761 h 6858889"/>
              <a:gd name="connsiteX12" fmla="*/ 194126 w 9667345"/>
              <a:gd name="connsiteY12" fmla="*/ 6695952 h 6858889"/>
              <a:gd name="connsiteX13" fmla="*/ 404173 w 9667345"/>
              <a:gd name="connsiteY13" fmla="*/ 6858024 h 6858889"/>
              <a:gd name="connsiteX14" fmla="*/ 386452 w 9667345"/>
              <a:gd name="connsiteY14" fmla="*/ 6858024 h 6858889"/>
              <a:gd name="connsiteX15" fmla="*/ 180728 w 9667345"/>
              <a:gd name="connsiteY15" fmla="*/ 6702435 h 6858889"/>
              <a:gd name="connsiteX16" fmla="*/ 0 w 9667345"/>
              <a:gd name="connsiteY16" fmla="*/ 6545608 h 6858889"/>
              <a:gd name="connsiteX17" fmla="*/ 0 w 9667345"/>
              <a:gd name="connsiteY17" fmla="*/ 6370764 h 6858889"/>
              <a:gd name="connsiteX18" fmla="*/ 116037 w 9667345"/>
              <a:gd name="connsiteY18" fmla="*/ 6485384 h 6858889"/>
              <a:gd name="connsiteX19" fmla="*/ 304768 w 9667345"/>
              <a:gd name="connsiteY19" fmla="*/ 6650572 h 6858889"/>
              <a:gd name="connsiteX20" fmla="*/ 578345 w 9667345"/>
              <a:gd name="connsiteY20" fmla="*/ 6858024 h 6858889"/>
              <a:gd name="connsiteX21" fmla="*/ 559329 w 9667345"/>
              <a:gd name="connsiteY21" fmla="*/ 6858024 h 6858889"/>
              <a:gd name="connsiteX22" fmla="*/ 294395 w 9667345"/>
              <a:gd name="connsiteY22" fmla="*/ 6657055 h 6858889"/>
              <a:gd name="connsiteX23" fmla="*/ 104541 w 9667345"/>
              <a:gd name="connsiteY23" fmla="*/ 6491293 h 6858889"/>
              <a:gd name="connsiteX24" fmla="*/ 0 w 9667345"/>
              <a:gd name="connsiteY24" fmla="*/ 6388228 h 6858889"/>
              <a:gd name="connsiteX25" fmla="*/ 0 w 9667345"/>
              <a:gd name="connsiteY25" fmla="*/ 6202503 h 6858889"/>
              <a:gd name="connsiteX26" fmla="*/ 55211 w 9667345"/>
              <a:gd name="connsiteY26" fmla="*/ 6264794 h 6858889"/>
              <a:gd name="connsiteX27" fmla="*/ 418434 w 9667345"/>
              <a:gd name="connsiteY27" fmla="*/ 6605192 h 6858889"/>
              <a:gd name="connsiteX28" fmla="*/ 754680 w 9667345"/>
              <a:gd name="connsiteY28" fmla="*/ 6857592 h 6858889"/>
              <a:gd name="connsiteX29" fmla="*/ 735663 w 9667345"/>
              <a:gd name="connsiteY29" fmla="*/ 6857592 h 6858889"/>
              <a:gd name="connsiteX30" fmla="*/ 408494 w 9667345"/>
              <a:gd name="connsiteY30" fmla="*/ 6611243 h 6858889"/>
              <a:gd name="connsiteX31" fmla="*/ 43521 w 9667345"/>
              <a:gd name="connsiteY31" fmla="*/ 6269568 h 6858889"/>
              <a:gd name="connsiteX32" fmla="*/ 0 w 9667345"/>
              <a:gd name="connsiteY32" fmla="*/ 6220508 h 6858889"/>
              <a:gd name="connsiteX33" fmla="*/ 0 w 9667345"/>
              <a:gd name="connsiteY33" fmla="*/ 6024018 h 6858889"/>
              <a:gd name="connsiteX34" fmla="*/ 8034 w 9667345"/>
              <a:gd name="connsiteY34" fmla="*/ 6034410 h 6858889"/>
              <a:gd name="connsiteX35" fmla="*/ 529076 w 9667345"/>
              <a:gd name="connsiteY35" fmla="*/ 6559812 h 6858889"/>
              <a:gd name="connsiteX36" fmla="*/ 932743 w 9667345"/>
              <a:gd name="connsiteY36" fmla="*/ 6858024 h 6858889"/>
              <a:gd name="connsiteX37" fmla="*/ 913294 w 9667345"/>
              <a:gd name="connsiteY37" fmla="*/ 6858024 h 6858889"/>
              <a:gd name="connsiteX38" fmla="*/ 519135 w 9667345"/>
              <a:gd name="connsiteY38" fmla="*/ 6564134 h 6858889"/>
              <a:gd name="connsiteX39" fmla="*/ 158491 w 9667345"/>
              <a:gd name="connsiteY39" fmla="*/ 6223702 h 6858889"/>
              <a:gd name="connsiteX40" fmla="*/ 0 w 9667345"/>
              <a:gd name="connsiteY40" fmla="*/ 6043322 h 6858889"/>
              <a:gd name="connsiteX41" fmla="*/ 0 w 9667345"/>
              <a:gd name="connsiteY41" fmla="*/ 5825690 h 6858889"/>
              <a:gd name="connsiteX42" fmla="*/ 125453 w 9667345"/>
              <a:gd name="connsiteY42" fmla="*/ 5989143 h 6858889"/>
              <a:gd name="connsiteX43" fmla="*/ 642743 w 9667345"/>
              <a:gd name="connsiteY43" fmla="*/ 6514432 h 6858889"/>
              <a:gd name="connsiteX44" fmla="*/ 1051163 w 9667345"/>
              <a:gd name="connsiteY44" fmla="*/ 6819992 h 6858889"/>
              <a:gd name="connsiteX45" fmla="*/ 1109942 w 9667345"/>
              <a:gd name="connsiteY45" fmla="*/ 6858456 h 6858889"/>
              <a:gd name="connsiteX46" fmla="*/ 1090062 w 9667345"/>
              <a:gd name="connsiteY46" fmla="*/ 6858456 h 6858889"/>
              <a:gd name="connsiteX47" fmla="*/ 1040791 w 9667345"/>
              <a:gd name="connsiteY47" fmla="*/ 6826907 h 6858889"/>
              <a:gd name="connsiteX48" fmla="*/ 632370 w 9667345"/>
              <a:gd name="connsiteY48" fmla="*/ 6519185 h 6858889"/>
              <a:gd name="connsiteX49" fmla="*/ 112604 w 9667345"/>
              <a:gd name="connsiteY49" fmla="*/ 5993214 h 6858889"/>
              <a:gd name="connsiteX50" fmla="*/ 0 w 9667345"/>
              <a:gd name="connsiteY50" fmla="*/ 5846530 h 6858889"/>
              <a:gd name="connsiteX51" fmla="*/ 0 w 9667345"/>
              <a:gd name="connsiteY51" fmla="*/ 5604549 h 6858889"/>
              <a:gd name="connsiteX52" fmla="*/ 95478 w 9667345"/>
              <a:gd name="connsiteY52" fmla="*/ 5747885 h 6858889"/>
              <a:gd name="connsiteX53" fmla="*/ 756408 w 9667345"/>
              <a:gd name="connsiteY53" fmla="*/ 6469052 h 6858889"/>
              <a:gd name="connsiteX54" fmla="*/ 1161372 w 9667345"/>
              <a:gd name="connsiteY54" fmla="*/ 6774611 h 6858889"/>
              <a:gd name="connsiteX55" fmla="*/ 1289734 w 9667345"/>
              <a:gd name="connsiteY55" fmla="*/ 6857592 h 6858889"/>
              <a:gd name="connsiteX56" fmla="*/ 1271150 w 9667345"/>
              <a:gd name="connsiteY56" fmla="*/ 6857592 h 6858889"/>
              <a:gd name="connsiteX57" fmla="*/ 1151432 w 9667345"/>
              <a:gd name="connsiteY57" fmla="*/ 6780662 h 6858889"/>
              <a:gd name="connsiteX58" fmla="*/ 743010 w 9667345"/>
              <a:gd name="connsiteY58" fmla="*/ 6472941 h 6858889"/>
              <a:gd name="connsiteX59" fmla="*/ 81919 w 9667345"/>
              <a:gd name="connsiteY59" fmla="*/ 5752315 h 6858889"/>
              <a:gd name="connsiteX60" fmla="*/ 0 w 9667345"/>
              <a:gd name="connsiteY60" fmla="*/ 5628996 h 6858889"/>
              <a:gd name="connsiteX61" fmla="*/ 0 w 9667345"/>
              <a:gd name="connsiteY61" fmla="*/ 5359076 h 6858889"/>
              <a:gd name="connsiteX62" fmla="*/ 78670 w 9667345"/>
              <a:gd name="connsiteY62" fmla="*/ 5496155 h 6858889"/>
              <a:gd name="connsiteX63" fmla="*/ 867049 w 9667345"/>
              <a:gd name="connsiteY63" fmla="*/ 6423672 h 6858889"/>
              <a:gd name="connsiteX64" fmla="*/ 1272015 w 9667345"/>
              <a:gd name="connsiteY64" fmla="*/ 6729231 h 6858889"/>
              <a:gd name="connsiteX65" fmla="*/ 1469526 w 9667345"/>
              <a:gd name="connsiteY65" fmla="*/ 6857592 h 6858889"/>
              <a:gd name="connsiteX66" fmla="*/ 1450509 w 9667345"/>
              <a:gd name="connsiteY66" fmla="*/ 6857592 h 6858889"/>
              <a:gd name="connsiteX67" fmla="*/ 1258184 w 9667345"/>
              <a:gd name="connsiteY67" fmla="*/ 6735282 h 6858889"/>
              <a:gd name="connsiteX68" fmla="*/ 856678 w 9667345"/>
              <a:gd name="connsiteY68" fmla="*/ 6427561 h 6858889"/>
              <a:gd name="connsiteX69" fmla="*/ 65196 w 9667345"/>
              <a:gd name="connsiteY69" fmla="*/ 5499518 h 6858889"/>
              <a:gd name="connsiteX70" fmla="*/ 0 w 9667345"/>
              <a:gd name="connsiteY70" fmla="*/ 5386698 h 6858889"/>
              <a:gd name="connsiteX71" fmla="*/ 0 w 9667345"/>
              <a:gd name="connsiteY71" fmla="*/ 5079907 h 6858889"/>
              <a:gd name="connsiteX72" fmla="*/ 75746 w 9667345"/>
              <a:gd name="connsiteY72" fmla="*/ 5232455 h 6858889"/>
              <a:gd name="connsiteX73" fmla="*/ 980716 w 9667345"/>
              <a:gd name="connsiteY73" fmla="*/ 6377859 h 6858889"/>
              <a:gd name="connsiteX74" fmla="*/ 1378765 w 9667345"/>
              <a:gd name="connsiteY74" fmla="*/ 6683419 h 6858889"/>
              <a:gd name="connsiteX75" fmla="*/ 1652775 w 9667345"/>
              <a:gd name="connsiteY75" fmla="*/ 6858024 h 6858889"/>
              <a:gd name="connsiteX76" fmla="*/ 1631165 w 9667345"/>
              <a:gd name="connsiteY76" fmla="*/ 6858024 h 6858889"/>
              <a:gd name="connsiteX77" fmla="*/ 1368824 w 9667345"/>
              <a:gd name="connsiteY77" fmla="*/ 6690334 h 6858889"/>
              <a:gd name="connsiteX78" fmla="*/ 967318 w 9667345"/>
              <a:gd name="connsiteY78" fmla="*/ 6382614 h 6858889"/>
              <a:gd name="connsiteX79" fmla="*/ 62592 w 9667345"/>
              <a:gd name="connsiteY79" fmla="*/ 5235569 h 6858889"/>
              <a:gd name="connsiteX80" fmla="*/ 0 w 9667345"/>
              <a:gd name="connsiteY80" fmla="*/ 5109615 h 6858889"/>
              <a:gd name="connsiteX81" fmla="*/ 0 w 9667345"/>
              <a:gd name="connsiteY81" fmla="*/ 4754262 h 6858889"/>
              <a:gd name="connsiteX82" fmla="*/ 86287 w 9667345"/>
              <a:gd name="connsiteY82" fmla="*/ 4958028 h 6858889"/>
              <a:gd name="connsiteX83" fmla="*/ 1091358 w 9667345"/>
              <a:gd name="connsiteY83" fmla="*/ 6332479 h 6858889"/>
              <a:gd name="connsiteX84" fmla="*/ 1489406 w 9667345"/>
              <a:gd name="connsiteY84" fmla="*/ 6638039 h 6858889"/>
              <a:gd name="connsiteX85" fmla="*/ 1836889 w 9667345"/>
              <a:gd name="connsiteY85" fmla="*/ 6857592 h 6858889"/>
              <a:gd name="connsiteX86" fmla="*/ 1816575 w 9667345"/>
              <a:gd name="connsiteY86" fmla="*/ 6857592 h 6858889"/>
              <a:gd name="connsiteX87" fmla="*/ 1479466 w 9667345"/>
              <a:gd name="connsiteY87" fmla="*/ 6644089 h 6858889"/>
              <a:gd name="connsiteX88" fmla="*/ 1081417 w 9667345"/>
              <a:gd name="connsiteY88" fmla="*/ 6336369 h 6858889"/>
              <a:gd name="connsiteX89" fmla="*/ 73038 w 9667345"/>
              <a:gd name="connsiteY89" fmla="*/ 4959848 h 6858889"/>
              <a:gd name="connsiteX90" fmla="*/ 0 w 9667345"/>
              <a:gd name="connsiteY90" fmla="*/ 4787554 h 6858889"/>
              <a:gd name="connsiteX91" fmla="*/ 0 w 9667345"/>
              <a:gd name="connsiteY91" fmla="*/ 4357497 h 6858889"/>
              <a:gd name="connsiteX92" fmla="*/ 3590 w 9667345"/>
              <a:gd name="connsiteY92" fmla="*/ 4371077 h 6858889"/>
              <a:gd name="connsiteX93" fmla="*/ 107256 w 9667345"/>
              <a:gd name="connsiteY93" fmla="*/ 4670269 h 6858889"/>
              <a:gd name="connsiteX94" fmla="*/ 1205024 w 9667345"/>
              <a:gd name="connsiteY94" fmla="*/ 6287099 h 6858889"/>
              <a:gd name="connsiteX95" fmla="*/ 1600048 w 9667345"/>
              <a:gd name="connsiteY95" fmla="*/ 6592659 h 6858889"/>
              <a:gd name="connsiteX96" fmla="*/ 2023165 w 9667345"/>
              <a:gd name="connsiteY96" fmla="*/ 6858024 h 6858889"/>
              <a:gd name="connsiteX97" fmla="*/ 2001554 w 9667345"/>
              <a:gd name="connsiteY97" fmla="*/ 6858024 h 6858889"/>
              <a:gd name="connsiteX98" fmla="*/ 1587082 w 9667345"/>
              <a:gd name="connsiteY98" fmla="*/ 6599142 h 6858889"/>
              <a:gd name="connsiteX99" fmla="*/ 1192058 w 9667345"/>
              <a:gd name="connsiteY99" fmla="*/ 6291421 h 6858889"/>
              <a:gd name="connsiteX100" fmla="*/ 94290 w 9667345"/>
              <a:gd name="connsiteY100" fmla="*/ 4672429 h 6858889"/>
              <a:gd name="connsiteX101" fmla="*/ 0 w 9667345"/>
              <a:gd name="connsiteY101" fmla="*/ 4400852 h 6858889"/>
              <a:gd name="connsiteX102" fmla="*/ 0 w 9667345"/>
              <a:gd name="connsiteY102" fmla="*/ 3631903 h 6858889"/>
              <a:gd name="connsiteX103" fmla="*/ 10844 w 9667345"/>
              <a:gd name="connsiteY103" fmla="*/ 3768898 h 6858889"/>
              <a:gd name="connsiteX104" fmla="*/ 234320 w 9667345"/>
              <a:gd name="connsiteY104" fmla="*/ 4624456 h 6858889"/>
              <a:gd name="connsiteX105" fmla="*/ 1315233 w 9667345"/>
              <a:gd name="connsiteY105" fmla="*/ 6239558 h 6858889"/>
              <a:gd name="connsiteX106" fmla="*/ 1706800 w 9667345"/>
              <a:gd name="connsiteY106" fmla="*/ 6547278 h 6858889"/>
              <a:gd name="connsiteX107" fmla="*/ 2205549 w 9667345"/>
              <a:gd name="connsiteY107" fmla="*/ 6857592 h 6858889"/>
              <a:gd name="connsiteX108" fmla="*/ 2183507 w 9667345"/>
              <a:gd name="connsiteY108" fmla="*/ 6857592 h 6858889"/>
              <a:gd name="connsiteX109" fmla="*/ 1696860 w 9667345"/>
              <a:gd name="connsiteY109" fmla="*/ 6553329 h 6858889"/>
              <a:gd name="connsiteX110" fmla="*/ 1305292 w 9667345"/>
              <a:gd name="connsiteY110" fmla="*/ 6245609 h 6858889"/>
              <a:gd name="connsiteX111" fmla="*/ 220923 w 9667345"/>
              <a:gd name="connsiteY111" fmla="*/ 4626617 h 6858889"/>
              <a:gd name="connsiteX112" fmla="*/ 42265 w 9667345"/>
              <a:gd name="connsiteY112" fmla="*/ 4041321 h 6858889"/>
              <a:gd name="connsiteX113" fmla="*/ 0 w 9667345"/>
              <a:gd name="connsiteY113" fmla="*/ 3795139 h 6858889"/>
              <a:gd name="connsiteX114" fmla="*/ 5434888 w 9667345"/>
              <a:gd name="connsiteY114" fmla="*/ 1729 h 6858889"/>
              <a:gd name="connsiteX115" fmla="*/ 5448286 w 9667345"/>
              <a:gd name="connsiteY115" fmla="*/ 1729 h 6858889"/>
              <a:gd name="connsiteX116" fmla="*/ 5227436 w 9667345"/>
              <a:gd name="connsiteY116" fmla="*/ 893774 h 6858889"/>
              <a:gd name="connsiteX117" fmla="*/ 5060177 w 9667345"/>
              <a:gd name="connsiteY117" fmla="*/ 1269781 h 6858889"/>
              <a:gd name="connsiteX118" fmla="*/ 4785736 w 9667345"/>
              <a:gd name="connsiteY118" fmla="*/ 1963449 h 6858889"/>
              <a:gd name="connsiteX119" fmla="*/ 4768880 w 9667345"/>
              <a:gd name="connsiteY119" fmla="*/ 3010651 h 6858889"/>
              <a:gd name="connsiteX120" fmla="*/ 5361416 w 9667345"/>
              <a:gd name="connsiteY120" fmla="*/ 4600686 h 6858889"/>
              <a:gd name="connsiteX121" fmla="*/ 5642341 w 9667345"/>
              <a:gd name="connsiteY121" fmla="*/ 4920939 h 6858889"/>
              <a:gd name="connsiteX122" fmla="*/ 6990779 w 9667345"/>
              <a:gd name="connsiteY122" fmla="*/ 5817306 h 6858889"/>
              <a:gd name="connsiteX123" fmla="*/ 7425997 w 9667345"/>
              <a:gd name="connsiteY123" fmla="*/ 6003148 h 6858889"/>
              <a:gd name="connsiteX124" fmla="*/ 8717818 w 9667345"/>
              <a:gd name="connsiteY124" fmla="*/ 6393418 h 6858889"/>
              <a:gd name="connsiteX125" fmla="*/ 9666913 w 9667345"/>
              <a:gd name="connsiteY125" fmla="*/ 6567592 h 6858889"/>
              <a:gd name="connsiteX126" fmla="*/ 9666913 w 9667345"/>
              <a:gd name="connsiteY126" fmla="*/ 6576236 h 6858889"/>
              <a:gd name="connsiteX127" fmla="*/ 8714362 w 9667345"/>
              <a:gd name="connsiteY127" fmla="*/ 6401198 h 6858889"/>
              <a:gd name="connsiteX128" fmla="*/ 7416056 w 9667345"/>
              <a:gd name="connsiteY128" fmla="*/ 6008767 h 6858889"/>
              <a:gd name="connsiteX129" fmla="*/ 6984296 w 9667345"/>
              <a:gd name="connsiteY129" fmla="*/ 5822924 h 6858889"/>
              <a:gd name="connsiteX130" fmla="*/ 5632400 w 9667345"/>
              <a:gd name="connsiteY130" fmla="*/ 4924397 h 6858889"/>
              <a:gd name="connsiteX131" fmla="*/ 5348018 w 9667345"/>
              <a:gd name="connsiteY131" fmla="*/ 4604143 h 6858889"/>
              <a:gd name="connsiteX132" fmla="*/ 4755482 w 9667345"/>
              <a:gd name="connsiteY132" fmla="*/ 3009786 h 6858889"/>
              <a:gd name="connsiteX133" fmla="*/ 4772337 w 9667345"/>
              <a:gd name="connsiteY133" fmla="*/ 1962585 h 6858889"/>
              <a:gd name="connsiteX134" fmla="*/ 5043322 w 9667345"/>
              <a:gd name="connsiteY134" fmla="*/ 1266755 h 6858889"/>
              <a:gd name="connsiteX135" fmla="*/ 5210581 w 9667345"/>
              <a:gd name="connsiteY135" fmla="*/ 890749 h 6858889"/>
              <a:gd name="connsiteX136" fmla="*/ 5434888 w 9667345"/>
              <a:gd name="connsiteY136" fmla="*/ 1729 h 6858889"/>
              <a:gd name="connsiteX137" fmla="*/ 5575783 w 9667345"/>
              <a:gd name="connsiteY137" fmla="*/ 1297 h 6858889"/>
              <a:gd name="connsiteX138" fmla="*/ 5589181 w 9667345"/>
              <a:gd name="connsiteY138" fmla="*/ 1297 h 6858889"/>
              <a:gd name="connsiteX139" fmla="*/ 5368330 w 9667345"/>
              <a:gd name="connsiteY139" fmla="*/ 854012 h 6858889"/>
              <a:gd name="connsiteX140" fmla="*/ 5197614 w 9667345"/>
              <a:gd name="connsiteY140" fmla="*/ 1231748 h 6858889"/>
              <a:gd name="connsiteX141" fmla="*/ 4919715 w 9667345"/>
              <a:gd name="connsiteY141" fmla="*/ 1921527 h 6858889"/>
              <a:gd name="connsiteX142" fmla="*/ 4896376 w 9667345"/>
              <a:gd name="connsiteY142" fmla="*/ 2964406 h 6858889"/>
              <a:gd name="connsiteX143" fmla="*/ 5472057 w 9667345"/>
              <a:gd name="connsiteY143" fmla="*/ 4554441 h 6858889"/>
              <a:gd name="connsiteX144" fmla="*/ 5752981 w 9667345"/>
              <a:gd name="connsiteY144" fmla="*/ 4874695 h 6858889"/>
              <a:gd name="connsiteX145" fmla="*/ 7094937 w 9667345"/>
              <a:gd name="connsiteY145" fmla="*/ 5773223 h 6858889"/>
              <a:gd name="connsiteX146" fmla="*/ 7526698 w 9667345"/>
              <a:gd name="connsiteY146" fmla="*/ 5956904 h 6858889"/>
              <a:gd name="connsiteX147" fmla="*/ 8818519 w 9667345"/>
              <a:gd name="connsiteY147" fmla="*/ 6343283 h 6858889"/>
              <a:gd name="connsiteX148" fmla="*/ 9666913 w 9667345"/>
              <a:gd name="connsiteY148" fmla="*/ 6500602 h 6858889"/>
              <a:gd name="connsiteX149" fmla="*/ 9666913 w 9667345"/>
              <a:gd name="connsiteY149" fmla="*/ 6509246 h 6858889"/>
              <a:gd name="connsiteX150" fmla="*/ 8811605 w 9667345"/>
              <a:gd name="connsiteY150" fmla="*/ 6351496 h 6858889"/>
              <a:gd name="connsiteX151" fmla="*/ 7516324 w 9667345"/>
              <a:gd name="connsiteY151" fmla="*/ 5965116 h 6858889"/>
              <a:gd name="connsiteX152" fmla="*/ 7084564 w 9667345"/>
              <a:gd name="connsiteY152" fmla="*/ 5779273 h 6858889"/>
              <a:gd name="connsiteX153" fmla="*/ 5739151 w 9667345"/>
              <a:gd name="connsiteY153" fmla="*/ 4879017 h 6858889"/>
              <a:gd name="connsiteX154" fmla="*/ 5458226 w 9667345"/>
              <a:gd name="connsiteY154" fmla="*/ 4558762 h 6858889"/>
              <a:gd name="connsiteX155" fmla="*/ 4882546 w 9667345"/>
              <a:gd name="connsiteY155" fmla="*/ 2966567 h 6858889"/>
              <a:gd name="connsiteX156" fmla="*/ 4905886 w 9667345"/>
              <a:gd name="connsiteY156" fmla="*/ 1919366 h 6858889"/>
              <a:gd name="connsiteX157" fmla="*/ 5180327 w 9667345"/>
              <a:gd name="connsiteY157" fmla="*/ 1229587 h 6858889"/>
              <a:gd name="connsiteX158" fmla="*/ 5354501 w 9667345"/>
              <a:gd name="connsiteY158" fmla="*/ 851851 h 6858889"/>
              <a:gd name="connsiteX159" fmla="*/ 5575783 w 9667345"/>
              <a:gd name="connsiteY159" fmla="*/ 1297 h 6858889"/>
              <a:gd name="connsiteX160" fmla="*/ 5293994 w 9667345"/>
              <a:gd name="connsiteY160" fmla="*/ 1297 h 6858889"/>
              <a:gd name="connsiteX161" fmla="*/ 5307392 w 9667345"/>
              <a:gd name="connsiteY161" fmla="*/ 1297 h 6858889"/>
              <a:gd name="connsiteX162" fmla="*/ 5083083 w 9667345"/>
              <a:gd name="connsiteY162" fmla="*/ 930511 h 6858889"/>
              <a:gd name="connsiteX163" fmla="*/ 4919283 w 9667345"/>
              <a:gd name="connsiteY163" fmla="*/ 1306517 h 6858889"/>
              <a:gd name="connsiteX164" fmla="*/ 4651756 w 9667345"/>
              <a:gd name="connsiteY164" fmla="*/ 2006668 h 6858889"/>
              <a:gd name="connsiteX165" fmla="*/ 4645273 w 9667345"/>
              <a:gd name="connsiteY165" fmla="*/ 3055599 h 6858889"/>
              <a:gd name="connsiteX166" fmla="*/ 5247749 w 9667345"/>
              <a:gd name="connsiteY166" fmla="*/ 4645633 h 6858889"/>
              <a:gd name="connsiteX167" fmla="*/ 5535589 w 9667345"/>
              <a:gd name="connsiteY167" fmla="*/ 4965888 h 6858889"/>
              <a:gd name="connsiteX168" fmla="*/ 6890942 w 9667345"/>
              <a:gd name="connsiteY168" fmla="*/ 5862254 h 6858889"/>
              <a:gd name="connsiteX169" fmla="*/ 7326160 w 9667345"/>
              <a:gd name="connsiteY169" fmla="*/ 6045935 h 6858889"/>
              <a:gd name="connsiteX170" fmla="*/ 8617983 w 9667345"/>
              <a:gd name="connsiteY170" fmla="*/ 6440527 h 6858889"/>
              <a:gd name="connsiteX171" fmla="*/ 9667345 w 9667345"/>
              <a:gd name="connsiteY171" fmla="*/ 6632852 h 6858889"/>
              <a:gd name="connsiteX172" fmla="*/ 9667345 w 9667345"/>
              <a:gd name="connsiteY172" fmla="*/ 6642793 h 6858889"/>
              <a:gd name="connsiteX173" fmla="*/ 8614525 w 9667345"/>
              <a:gd name="connsiteY173" fmla="*/ 6448739 h 6858889"/>
              <a:gd name="connsiteX174" fmla="*/ 7316220 w 9667345"/>
              <a:gd name="connsiteY174" fmla="*/ 6054147 h 6858889"/>
              <a:gd name="connsiteX175" fmla="*/ 6884460 w 9667345"/>
              <a:gd name="connsiteY175" fmla="*/ 5868305 h 6858889"/>
              <a:gd name="connsiteX176" fmla="*/ 5522623 w 9667345"/>
              <a:gd name="connsiteY176" fmla="*/ 4969778 h 6858889"/>
              <a:gd name="connsiteX177" fmla="*/ 5234783 w 9667345"/>
              <a:gd name="connsiteY177" fmla="*/ 4649523 h 6858889"/>
              <a:gd name="connsiteX178" fmla="*/ 4628850 w 9667345"/>
              <a:gd name="connsiteY178" fmla="*/ 3055167 h 6858889"/>
              <a:gd name="connsiteX179" fmla="*/ 4638790 w 9667345"/>
              <a:gd name="connsiteY179" fmla="*/ 2004076 h 6858889"/>
              <a:gd name="connsiteX180" fmla="*/ 4906318 w 9667345"/>
              <a:gd name="connsiteY180" fmla="*/ 1303924 h 6858889"/>
              <a:gd name="connsiteX181" fmla="*/ 5070118 w 9667345"/>
              <a:gd name="connsiteY181" fmla="*/ 927917 h 6858889"/>
              <a:gd name="connsiteX182" fmla="*/ 5293994 w 9667345"/>
              <a:gd name="connsiteY182" fmla="*/ 1297 h 6858889"/>
              <a:gd name="connsiteX183" fmla="*/ 5150073 w 9667345"/>
              <a:gd name="connsiteY183" fmla="*/ 1297 h 6858889"/>
              <a:gd name="connsiteX184" fmla="*/ 5163472 w 9667345"/>
              <a:gd name="connsiteY184" fmla="*/ 1297 h 6858889"/>
              <a:gd name="connsiteX185" fmla="*/ 4942621 w 9667345"/>
              <a:gd name="connsiteY185" fmla="*/ 969840 h 6858889"/>
              <a:gd name="connsiteX186" fmla="*/ 4781845 w 9667345"/>
              <a:gd name="connsiteY186" fmla="*/ 1343686 h 6858889"/>
              <a:gd name="connsiteX187" fmla="*/ 4517344 w 9667345"/>
              <a:gd name="connsiteY187" fmla="*/ 2049888 h 6858889"/>
              <a:gd name="connsiteX188" fmla="*/ 4517344 w 9667345"/>
              <a:gd name="connsiteY188" fmla="*/ 3098818 h 6858889"/>
              <a:gd name="connsiteX189" fmla="*/ 5136243 w 9667345"/>
              <a:gd name="connsiteY189" fmla="*/ 4691014 h 6858889"/>
              <a:gd name="connsiteX190" fmla="*/ 5424084 w 9667345"/>
              <a:gd name="connsiteY190" fmla="*/ 5011268 h 6858889"/>
              <a:gd name="connsiteX191" fmla="*/ 6789377 w 9667345"/>
              <a:gd name="connsiteY191" fmla="*/ 5905473 h 6858889"/>
              <a:gd name="connsiteX192" fmla="*/ 7224595 w 9667345"/>
              <a:gd name="connsiteY192" fmla="*/ 6091316 h 6858889"/>
              <a:gd name="connsiteX193" fmla="*/ 8519875 w 9667345"/>
              <a:gd name="connsiteY193" fmla="*/ 6487636 h 6858889"/>
              <a:gd name="connsiteX194" fmla="*/ 9666480 w 9667345"/>
              <a:gd name="connsiteY194" fmla="*/ 6699411 h 6858889"/>
              <a:gd name="connsiteX195" fmla="*/ 9666480 w 9667345"/>
              <a:gd name="connsiteY195" fmla="*/ 6708918 h 6858889"/>
              <a:gd name="connsiteX196" fmla="*/ 8513393 w 9667345"/>
              <a:gd name="connsiteY196" fmla="*/ 6495848 h 6858889"/>
              <a:gd name="connsiteX197" fmla="*/ 7218112 w 9667345"/>
              <a:gd name="connsiteY197" fmla="*/ 6099527 h 6858889"/>
              <a:gd name="connsiteX198" fmla="*/ 6779869 w 9667345"/>
              <a:gd name="connsiteY198" fmla="*/ 5911524 h 6858889"/>
              <a:gd name="connsiteX199" fmla="*/ 5411118 w 9667345"/>
              <a:gd name="connsiteY199" fmla="*/ 5015158 h 6858889"/>
              <a:gd name="connsiteX200" fmla="*/ 5123278 w 9667345"/>
              <a:gd name="connsiteY200" fmla="*/ 4694903 h 6858889"/>
              <a:gd name="connsiteX201" fmla="*/ 4504379 w 9667345"/>
              <a:gd name="connsiteY201" fmla="*/ 3100547 h 6858889"/>
              <a:gd name="connsiteX202" fmla="*/ 4504379 w 9667345"/>
              <a:gd name="connsiteY202" fmla="*/ 2047294 h 6858889"/>
              <a:gd name="connsiteX203" fmla="*/ 4768880 w 9667345"/>
              <a:gd name="connsiteY203" fmla="*/ 1341093 h 6858889"/>
              <a:gd name="connsiteX204" fmla="*/ 4929656 w 9667345"/>
              <a:gd name="connsiteY204" fmla="*/ 967246 h 6858889"/>
              <a:gd name="connsiteX205" fmla="*/ 5150073 w 9667345"/>
              <a:gd name="connsiteY205" fmla="*/ 1297 h 6858889"/>
              <a:gd name="connsiteX206" fmla="*/ 5008747 w 9667345"/>
              <a:gd name="connsiteY206" fmla="*/ 1297 h 6858889"/>
              <a:gd name="connsiteX207" fmla="*/ 5022145 w 9667345"/>
              <a:gd name="connsiteY207" fmla="*/ 1297 h 6858889"/>
              <a:gd name="connsiteX208" fmla="*/ 4801294 w 9667345"/>
              <a:gd name="connsiteY208" fmla="*/ 1009169 h 6858889"/>
              <a:gd name="connsiteX209" fmla="*/ 4643977 w 9667345"/>
              <a:gd name="connsiteY209" fmla="*/ 1378694 h 6858889"/>
              <a:gd name="connsiteX210" fmla="*/ 4386390 w 9667345"/>
              <a:gd name="connsiteY210" fmla="*/ 2093107 h 6858889"/>
              <a:gd name="connsiteX211" fmla="*/ 4389848 w 9667345"/>
              <a:gd name="connsiteY211" fmla="*/ 3144198 h 6858889"/>
              <a:gd name="connsiteX212" fmla="*/ 5022145 w 9667345"/>
              <a:gd name="connsiteY212" fmla="*/ 4736393 h 6858889"/>
              <a:gd name="connsiteX213" fmla="*/ 5313442 w 9667345"/>
              <a:gd name="connsiteY213" fmla="*/ 5056648 h 6858889"/>
              <a:gd name="connsiteX214" fmla="*/ 6688676 w 9667345"/>
              <a:gd name="connsiteY214" fmla="*/ 5948692 h 6858889"/>
              <a:gd name="connsiteX215" fmla="*/ 7123895 w 9667345"/>
              <a:gd name="connsiteY215" fmla="*/ 6136696 h 6858889"/>
              <a:gd name="connsiteX216" fmla="*/ 8419174 w 9667345"/>
              <a:gd name="connsiteY216" fmla="*/ 6537339 h 6858889"/>
              <a:gd name="connsiteX217" fmla="*/ 9666049 w 9667345"/>
              <a:gd name="connsiteY217" fmla="*/ 6767264 h 6858889"/>
              <a:gd name="connsiteX218" fmla="*/ 9666049 w 9667345"/>
              <a:gd name="connsiteY218" fmla="*/ 6775908 h 6858889"/>
              <a:gd name="connsiteX219" fmla="*/ 8412691 w 9667345"/>
              <a:gd name="connsiteY219" fmla="*/ 6545550 h 6858889"/>
              <a:gd name="connsiteX220" fmla="*/ 7117412 w 9667345"/>
              <a:gd name="connsiteY220" fmla="*/ 6142747 h 6858889"/>
              <a:gd name="connsiteX221" fmla="*/ 6679169 w 9667345"/>
              <a:gd name="connsiteY221" fmla="*/ 5956904 h 6858889"/>
              <a:gd name="connsiteX222" fmla="*/ 5303934 w 9667345"/>
              <a:gd name="connsiteY222" fmla="*/ 5060537 h 6858889"/>
              <a:gd name="connsiteX223" fmla="*/ 5009611 w 9667345"/>
              <a:gd name="connsiteY223" fmla="*/ 4740283 h 6858889"/>
              <a:gd name="connsiteX224" fmla="*/ 4377314 w 9667345"/>
              <a:gd name="connsiteY224" fmla="*/ 3145926 h 6858889"/>
              <a:gd name="connsiteX225" fmla="*/ 4370831 w 9667345"/>
              <a:gd name="connsiteY225" fmla="*/ 2090514 h 6858889"/>
              <a:gd name="connsiteX226" fmla="*/ 4631875 w 9667345"/>
              <a:gd name="connsiteY226" fmla="*/ 1376100 h 6858889"/>
              <a:gd name="connsiteX227" fmla="*/ 4789193 w 9667345"/>
              <a:gd name="connsiteY227" fmla="*/ 1006575 h 6858889"/>
              <a:gd name="connsiteX228" fmla="*/ 5008747 w 9667345"/>
              <a:gd name="connsiteY228" fmla="*/ 1297 h 6858889"/>
              <a:gd name="connsiteX229" fmla="*/ 4865691 w 9667345"/>
              <a:gd name="connsiteY229" fmla="*/ 1297 h 6858889"/>
              <a:gd name="connsiteX230" fmla="*/ 4879089 w 9667345"/>
              <a:gd name="connsiteY230" fmla="*/ 1297 h 6858889"/>
              <a:gd name="connsiteX231" fmla="*/ 4661697 w 9667345"/>
              <a:gd name="connsiteY231" fmla="*/ 1048499 h 6858889"/>
              <a:gd name="connsiteX232" fmla="*/ 4507836 w 9667345"/>
              <a:gd name="connsiteY232" fmla="*/ 1416295 h 6858889"/>
              <a:gd name="connsiteX233" fmla="*/ 4253707 w 9667345"/>
              <a:gd name="connsiteY233" fmla="*/ 2135030 h 6858889"/>
              <a:gd name="connsiteX234" fmla="*/ 4267105 w 9667345"/>
              <a:gd name="connsiteY234" fmla="*/ 3190442 h 6858889"/>
              <a:gd name="connsiteX235" fmla="*/ 4909775 w 9667345"/>
              <a:gd name="connsiteY235" fmla="*/ 4782638 h 6858889"/>
              <a:gd name="connsiteX236" fmla="*/ 5207555 w 9667345"/>
              <a:gd name="connsiteY236" fmla="*/ 5102893 h 6858889"/>
              <a:gd name="connsiteX237" fmla="*/ 6586247 w 9667345"/>
              <a:gd name="connsiteY237" fmla="*/ 5994937 h 6858889"/>
              <a:gd name="connsiteX238" fmla="*/ 7024491 w 9667345"/>
              <a:gd name="connsiteY238" fmla="*/ 6180779 h 6858889"/>
              <a:gd name="connsiteX239" fmla="*/ 8319770 w 9667345"/>
              <a:gd name="connsiteY239" fmla="*/ 6585744 h 6858889"/>
              <a:gd name="connsiteX240" fmla="*/ 9666913 w 9667345"/>
              <a:gd name="connsiteY240" fmla="*/ 6835982 h 6858889"/>
              <a:gd name="connsiteX241" fmla="*/ 9666913 w 9667345"/>
              <a:gd name="connsiteY241" fmla="*/ 6844626 h 6858889"/>
              <a:gd name="connsiteX242" fmla="*/ 8316312 w 9667345"/>
              <a:gd name="connsiteY242" fmla="*/ 6593955 h 6858889"/>
              <a:gd name="connsiteX243" fmla="*/ 7018008 w 9667345"/>
              <a:gd name="connsiteY243" fmla="*/ 6188992 h 6858889"/>
              <a:gd name="connsiteX244" fmla="*/ 6579764 w 9667345"/>
              <a:gd name="connsiteY244" fmla="*/ 6000988 h 6858889"/>
              <a:gd name="connsiteX245" fmla="*/ 5194157 w 9667345"/>
              <a:gd name="connsiteY245" fmla="*/ 5106782 h 6858889"/>
              <a:gd name="connsiteX246" fmla="*/ 4899835 w 9667345"/>
              <a:gd name="connsiteY246" fmla="*/ 4786528 h 6858889"/>
              <a:gd name="connsiteX247" fmla="*/ 4254139 w 9667345"/>
              <a:gd name="connsiteY247" fmla="*/ 3190010 h 6858889"/>
              <a:gd name="connsiteX248" fmla="*/ 4240741 w 9667345"/>
              <a:gd name="connsiteY248" fmla="*/ 2134598 h 6858889"/>
              <a:gd name="connsiteX249" fmla="*/ 4494870 w 9667345"/>
              <a:gd name="connsiteY249" fmla="*/ 1413701 h 6858889"/>
              <a:gd name="connsiteX250" fmla="*/ 4645273 w 9667345"/>
              <a:gd name="connsiteY250" fmla="*/ 1045906 h 6858889"/>
              <a:gd name="connsiteX251" fmla="*/ 4865691 w 9667345"/>
              <a:gd name="connsiteY251" fmla="*/ 1297 h 6858889"/>
              <a:gd name="connsiteX252" fmla="*/ 4438253 w 9667345"/>
              <a:gd name="connsiteY252" fmla="*/ 1297 h 6858889"/>
              <a:gd name="connsiteX253" fmla="*/ 4451652 w 9667345"/>
              <a:gd name="connsiteY253" fmla="*/ 1297 h 6858889"/>
              <a:gd name="connsiteX254" fmla="*/ 4237284 w 9667345"/>
              <a:gd name="connsiteY254" fmla="*/ 1163894 h 6858889"/>
              <a:gd name="connsiteX255" fmla="*/ 4096821 w 9667345"/>
              <a:gd name="connsiteY255" fmla="*/ 1525207 h 6858889"/>
              <a:gd name="connsiteX256" fmla="*/ 3852633 w 9667345"/>
              <a:gd name="connsiteY256" fmla="*/ 2264687 h 6858889"/>
              <a:gd name="connsiteX257" fmla="*/ 3889369 w 9667345"/>
              <a:gd name="connsiteY257" fmla="*/ 3323990 h 6858889"/>
              <a:gd name="connsiteX258" fmla="*/ 4575258 w 9667345"/>
              <a:gd name="connsiteY258" fmla="*/ 4918347 h 6858889"/>
              <a:gd name="connsiteX259" fmla="*/ 4879953 w 9667345"/>
              <a:gd name="connsiteY259" fmla="*/ 5236440 h 6858889"/>
              <a:gd name="connsiteX260" fmla="*/ 6285442 w 9667345"/>
              <a:gd name="connsiteY260" fmla="*/ 6126323 h 6858889"/>
              <a:gd name="connsiteX261" fmla="*/ 6723685 w 9667345"/>
              <a:gd name="connsiteY261" fmla="*/ 6314327 h 6858889"/>
              <a:gd name="connsiteX262" fmla="*/ 8021989 w 9667345"/>
              <a:gd name="connsiteY262" fmla="*/ 6729231 h 6858889"/>
              <a:gd name="connsiteX263" fmla="*/ 8590321 w 9667345"/>
              <a:gd name="connsiteY263" fmla="*/ 6858456 h 6858889"/>
              <a:gd name="connsiteX264" fmla="*/ 8546671 w 9667345"/>
              <a:gd name="connsiteY264" fmla="*/ 6858456 h 6858889"/>
              <a:gd name="connsiteX265" fmla="*/ 8018964 w 9667345"/>
              <a:gd name="connsiteY265" fmla="*/ 6737876 h 6858889"/>
              <a:gd name="connsiteX266" fmla="*/ 6717202 w 9667345"/>
              <a:gd name="connsiteY266" fmla="*/ 6322971 h 6858889"/>
              <a:gd name="connsiteX267" fmla="*/ 6275502 w 9667345"/>
              <a:gd name="connsiteY267" fmla="*/ 6134968 h 6858889"/>
              <a:gd name="connsiteX268" fmla="*/ 4866555 w 9667345"/>
              <a:gd name="connsiteY268" fmla="*/ 5242923 h 6858889"/>
              <a:gd name="connsiteX269" fmla="*/ 4561860 w 9667345"/>
              <a:gd name="connsiteY269" fmla="*/ 4922669 h 6858889"/>
              <a:gd name="connsiteX270" fmla="*/ 3875971 w 9667345"/>
              <a:gd name="connsiteY270" fmla="*/ 3326151 h 6858889"/>
              <a:gd name="connsiteX271" fmla="*/ 3839235 w 9667345"/>
              <a:gd name="connsiteY271" fmla="*/ 2262526 h 6858889"/>
              <a:gd name="connsiteX272" fmla="*/ 4083423 w 9667345"/>
              <a:gd name="connsiteY272" fmla="*/ 1523045 h 6858889"/>
              <a:gd name="connsiteX273" fmla="*/ 4223886 w 9667345"/>
              <a:gd name="connsiteY273" fmla="*/ 1161733 h 6858889"/>
              <a:gd name="connsiteX274" fmla="*/ 4438253 w 9667345"/>
              <a:gd name="connsiteY274" fmla="*/ 1297 h 6858889"/>
              <a:gd name="connsiteX275" fmla="*/ 3715197 w 9667345"/>
              <a:gd name="connsiteY275" fmla="*/ 1297 h 6858889"/>
              <a:gd name="connsiteX276" fmla="*/ 3728595 w 9667345"/>
              <a:gd name="connsiteY276" fmla="*/ 1297 h 6858889"/>
              <a:gd name="connsiteX277" fmla="*/ 3531083 w 9667345"/>
              <a:gd name="connsiteY277" fmla="*/ 1357948 h 6858889"/>
              <a:gd name="connsiteX278" fmla="*/ 3410501 w 9667345"/>
              <a:gd name="connsiteY278" fmla="*/ 1704998 h 6858889"/>
              <a:gd name="connsiteX279" fmla="*/ 3186194 w 9667345"/>
              <a:gd name="connsiteY279" fmla="*/ 2479486 h 6858889"/>
              <a:gd name="connsiteX280" fmla="*/ 3259665 w 9667345"/>
              <a:gd name="connsiteY280" fmla="*/ 3549162 h 6858889"/>
              <a:gd name="connsiteX281" fmla="*/ 4012544 w 9667345"/>
              <a:gd name="connsiteY281" fmla="*/ 5147409 h 6858889"/>
              <a:gd name="connsiteX282" fmla="*/ 4330638 w 9667345"/>
              <a:gd name="connsiteY282" fmla="*/ 5463341 h 6858889"/>
              <a:gd name="connsiteX283" fmla="*/ 5776320 w 9667345"/>
              <a:gd name="connsiteY283" fmla="*/ 6347174 h 6858889"/>
              <a:gd name="connsiteX284" fmla="*/ 6221478 w 9667345"/>
              <a:gd name="connsiteY284" fmla="*/ 6539067 h 6858889"/>
              <a:gd name="connsiteX285" fmla="*/ 7132106 w 9667345"/>
              <a:gd name="connsiteY285" fmla="*/ 6858889 h 6858889"/>
              <a:gd name="connsiteX286" fmla="*/ 7102285 w 9667345"/>
              <a:gd name="connsiteY286" fmla="*/ 6858889 h 6858889"/>
              <a:gd name="connsiteX287" fmla="*/ 6214995 w 9667345"/>
              <a:gd name="connsiteY287" fmla="*/ 6546414 h 6858889"/>
              <a:gd name="connsiteX288" fmla="*/ 5769837 w 9667345"/>
              <a:gd name="connsiteY288" fmla="*/ 6356249 h 6858889"/>
              <a:gd name="connsiteX289" fmla="*/ 4320697 w 9667345"/>
              <a:gd name="connsiteY289" fmla="*/ 5468095 h 6858889"/>
              <a:gd name="connsiteX290" fmla="*/ 3999578 w 9667345"/>
              <a:gd name="connsiteY290" fmla="*/ 5152162 h 6858889"/>
              <a:gd name="connsiteX291" fmla="*/ 3243243 w 9667345"/>
              <a:gd name="connsiteY291" fmla="*/ 3549594 h 6858889"/>
              <a:gd name="connsiteX292" fmla="*/ 3172796 w 9667345"/>
              <a:gd name="connsiteY292" fmla="*/ 2477758 h 6858889"/>
              <a:gd name="connsiteX293" fmla="*/ 3397102 w 9667345"/>
              <a:gd name="connsiteY293" fmla="*/ 1703270 h 6858889"/>
              <a:gd name="connsiteX294" fmla="*/ 3514226 w 9667345"/>
              <a:gd name="connsiteY294" fmla="*/ 1356220 h 6858889"/>
              <a:gd name="connsiteX295" fmla="*/ 3715197 w 9667345"/>
              <a:gd name="connsiteY295" fmla="*/ 1297 h 6858889"/>
              <a:gd name="connsiteX296" fmla="*/ 3566955 w 9667345"/>
              <a:gd name="connsiteY296" fmla="*/ 1297 h 6858889"/>
              <a:gd name="connsiteX297" fmla="*/ 3583809 w 9667345"/>
              <a:gd name="connsiteY297" fmla="*/ 1297 h 6858889"/>
              <a:gd name="connsiteX298" fmla="*/ 3386299 w 9667345"/>
              <a:gd name="connsiteY298" fmla="*/ 1395117 h 6858889"/>
              <a:gd name="connsiteX299" fmla="*/ 3272631 w 9667345"/>
              <a:gd name="connsiteY299" fmla="*/ 1740006 h 6858889"/>
              <a:gd name="connsiteX300" fmla="*/ 3055239 w 9667345"/>
              <a:gd name="connsiteY300" fmla="*/ 2520545 h 6858889"/>
              <a:gd name="connsiteX301" fmla="*/ 3132169 w 9667345"/>
              <a:gd name="connsiteY301" fmla="*/ 3592381 h 6858889"/>
              <a:gd name="connsiteX302" fmla="*/ 3898445 w 9667345"/>
              <a:gd name="connsiteY302" fmla="*/ 5192789 h 6858889"/>
              <a:gd name="connsiteX303" fmla="*/ 4223022 w 9667345"/>
              <a:gd name="connsiteY303" fmla="*/ 5508721 h 6858889"/>
              <a:gd name="connsiteX304" fmla="*/ 5675619 w 9667345"/>
              <a:gd name="connsiteY304" fmla="*/ 6392554 h 6858889"/>
              <a:gd name="connsiteX305" fmla="*/ 6120777 w 9667345"/>
              <a:gd name="connsiteY305" fmla="*/ 6584447 h 6858889"/>
              <a:gd name="connsiteX306" fmla="*/ 6884460 w 9667345"/>
              <a:gd name="connsiteY306" fmla="*/ 6858024 h 6858889"/>
              <a:gd name="connsiteX307" fmla="*/ 6853343 w 9667345"/>
              <a:gd name="connsiteY307" fmla="*/ 6858024 h 6858889"/>
              <a:gd name="connsiteX308" fmla="*/ 6113862 w 9667345"/>
              <a:gd name="connsiteY308" fmla="*/ 6590931 h 6858889"/>
              <a:gd name="connsiteX309" fmla="*/ 5665247 w 9667345"/>
              <a:gd name="connsiteY309" fmla="*/ 6399037 h 6858889"/>
              <a:gd name="connsiteX310" fmla="*/ 4209623 w 9667345"/>
              <a:gd name="connsiteY310" fmla="*/ 5513043 h 6858889"/>
              <a:gd name="connsiteX311" fmla="*/ 3888505 w 9667345"/>
              <a:gd name="connsiteY311" fmla="*/ 5197111 h 6858889"/>
              <a:gd name="connsiteX312" fmla="*/ 3118771 w 9667345"/>
              <a:gd name="connsiteY312" fmla="*/ 3594543 h 6858889"/>
              <a:gd name="connsiteX313" fmla="*/ 3038384 w 9667345"/>
              <a:gd name="connsiteY313" fmla="*/ 2520545 h 6858889"/>
              <a:gd name="connsiteX314" fmla="*/ 3259234 w 9667345"/>
              <a:gd name="connsiteY314" fmla="*/ 1737845 h 6858889"/>
              <a:gd name="connsiteX315" fmla="*/ 3372899 w 9667345"/>
              <a:gd name="connsiteY315" fmla="*/ 1395117 h 6858889"/>
              <a:gd name="connsiteX316" fmla="*/ 3566955 w 9667345"/>
              <a:gd name="connsiteY316" fmla="*/ 1297 h 6858889"/>
              <a:gd name="connsiteX317" fmla="*/ 3423467 w 9667345"/>
              <a:gd name="connsiteY317" fmla="*/ 1297 h 6858889"/>
              <a:gd name="connsiteX318" fmla="*/ 3436865 w 9667345"/>
              <a:gd name="connsiteY318" fmla="*/ 1297 h 6858889"/>
              <a:gd name="connsiteX319" fmla="*/ 3246268 w 9667345"/>
              <a:gd name="connsiteY319" fmla="*/ 1434446 h 6858889"/>
              <a:gd name="connsiteX320" fmla="*/ 3135627 w 9667345"/>
              <a:gd name="connsiteY320" fmla="*/ 1775013 h 6858889"/>
              <a:gd name="connsiteX321" fmla="*/ 2921258 w 9667345"/>
              <a:gd name="connsiteY321" fmla="*/ 2563764 h 6858889"/>
              <a:gd name="connsiteX322" fmla="*/ 3005104 w 9667345"/>
              <a:gd name="connsiteY322" fmla="*/ 3637761 h 6858889"/>
              <a:gd name="connsiteX323" fmla="*/ 3788238 w 9667345"/>
              <a:gd name="connsiteY323" fmla="*/ 5238168 h 6858889"/>
              <a:gd name="connsiteX324" fmla="*/ 4112813 w 9667345"/>
              <a:gd name="connsiteY324" fmla="*/ 5554101 h 6858889"/>
              <a:gd name="connsiteX325" fmla="*/ 5575351 w 9667345"/>
              <a:gd name="connsiteY325" fmla="*/ 6435773 h 6858889"/>
              <a:gd name="connsiteX326" fmla="*/ 6020509 w 9667345"/>
              <a:gd name="connsiteY326" fmla="*/ 6627666 h 6858889"/>
              <a:gd name="connsiteX327" fmla="*/ 6644161 w 9667345"/>
              <a:gd name="connsiteY327" fmla="*/ 6857592 h 6858889"/>
              <a:gd name="connsiteX328" fmla="*/ 6615637 w 9667345"/>
              <a:gd name="connsiteY328" fmla="*/ 6857592 h 6858889"/>
              <a:gd name="connsiteX329" fmla="*/ 6014025 w 9667345"/>
              <a:gd name="connsiteY329" fmla="*/ 6635877 h 6858889"/>
              <a:gd name="connsiteX330" fmla="*/ 5565410 w 9667345"/>
              <a:gd name="connsiteY330" fmla="*/ 6443985 h 6858889"/>
              <a:gd name="connsiteX331" fmla="*/ 4102871 w 9667345"/>
              <a:gd name="connsiteY331" fmla="*/ 5557991 h 6858889"/>
              <a:gd name="connsiteX332" fmla="*/ 3774838 w 9667345"/>
              <a:gd name="connsiteY332" fmla="*/ 5242058 h 6858889"/>
              <a:gd name="connsiteX333" fmla="*/ 2991707 w 9667345"/>
              <a:gd name="connsiteY333" fmla="*/ 3639491 h 6858889"/>
              <a:gd name="connsiteX334" fmla="*/ 2907861 w 9667345"/>
              <a:gd name="connsiteY334" fmla="*/ 2563764 h 6858889"/>
              <a:gd name="connsiteX335" fmla="*/ 3122227 w 9667345"/>
              <a:gd name="connsiteY335" fmla="*/ 1775013 h 6858889"/>
              <a:gd name="connsiteX336" fmla="*/ 3232870 w 9667345"/>
              <a:gd name="connsiteY336" fmla="*/ 1432286 h 6858889"/>
              <a:gd name="connsiteX337" fmla="*/ 3423467 w 9667345"/>
              <a:gd name="connsiteY337" fmla="*/ 1297 h 6858889"/>
              <a:gd name="connsiteX338" fmla="*/ 3276521 w 9667345"/>
              <a:gd name="connsiteY338" fmla="*/ 1297 h 6858889"/>
              <a:gd name="connsiteX339" fmla="*/ 3293377 w 9667345"/>
              <a:gd name="connsiteY339" fmla="*/ 1297 h 6858889"/>
              <a:gd name="connsiteX340" fmla="*/ 3105805 w 9667345"/>
              <a:gd name="connsiteY340" fmla="*/ 1473776 h 6858889"/>
              <a:gd name="connsiteX341" fmla="*/ 2998622 w 9667345"/>
              <a:gd name="connsiteY341" fmla="*/ 1812614 h 6858889"/>
              <a:gd name="connsiteX342" fmla="*/ 2787713 w 9667345"/>
              <a:gd name="connsiteY342" fmla="*/ 2607848 h 6858889"/>
              <a:gd name="connsiteX343" fmla="*/ 2881497 w 9667345"/>
              <a:gd name="connsiteY343" fmla="*/ 3683573 h 6858889"/>
              <a:gd name="connsiteX344" fmla="*/ 3674571 w 9667345"/>
              <a:gd name="connsiteY344" fmla="*/ 5283981 h 6858889"/>
              <a:gd name="connsiteX345" fmla="*/ 4002604 w 9667345"/>
              <a:gd name="connsiteY345" fmla="*/ 5599913 h 6858889"/>
              <a:gd name="connsiteX346" fmla="*/ 5471625 w 9667345"/>
              <a:gd name="connsiteY346" fmla="*/ 6481585 h 6858889"/>
              <a:gd name="connsiteX347" fmla="*/ 5920240 w 9667345"/>
              <a:gd name="connsiteY347" fmla="*/ 6673478 h 6858889"/>
              <a:gd name="connsiteX348" fmla="*/ 6409913 w 9667345"/>
              <a:gd name="connsiteY348" fmla="*/ 6858024 h 6858889"/>
              <a:gd name="connsiteX349" fmla="*/ 6380956 w 9667345"/>
              <a:gd name="connsiteY349" fmla="*/ 6858024 h 6858889"/>
              <a:gd name="connsiteX350" fmla="*/ 5913757 w 9667345"/>
              <a:gd name="connsiteY350" fmla="*/ 6679961 h 6858889"/>
              <a:gd name="connsiteX351" fmla="*/ 5465142 w 9667345"/>
              <a:gd name="connsiteY351" fmla="*/ 6488068 h 6858889"/>
              <a:gd name="connsiteX352" fmla="*/ 3992663 w 9667345"/>
              <a:gd name="connsiteY352" fmla="*/ 5604236 h 6858889"/>
              <a:gd name="connsiteX353" fmla="*/ 3664629 w 9667345"/>
              <a:gd name="connsiteY353" fmla="*/ 5288303 h 6858889"/>
              <a:gd name="connsiteX354" fmla="*/ 2864642 w 9667345"/>
              <a:gd name="connsiteY354" fmla="*/ 3685734 h 6858889"/>
              <a:gd name="connsiteX355" fmla="*/ 2774314 w 9667345"/>
              <a:gd name="connsiteY355" fmla="*/ 2605687 h 6858889"/>
              <a:gd name="connsiteX356" fmla="*/ 2981766 w 9667345"/>
              <a:gd name="connsiteY356" fmla="*/ 1810454 h 6858889"/>
              <a:gd name="connsiteX357" fmla="*/ 3092408 w 9667345"/>
              <a:gd name="connsiteY357" fmla="*/ 1471615 h 6858889"/>
              <a:gd name="connsiteX358" fmla="*/ 3276521 w 9667345"/>
              <a:gd name="connsiteY358" fmla="*/ 1297 h 6858889"/>
              <a:gd name="connsiteX359" fmla="*/ 3132169 w 9667345"/>
              <a:gd name="connsiteY359" fmla="*/ 1297 h 6858889"/>
              <a:gd name="connsiteX360" fmla="*/ 3145566 w 9667345"/>
              <a:gd name="connsiteY360" fmla="*/ 1297 h 6858889"/>
              <a:gd name="connsiteX361" fmla="*/ 2964911 w 9667345"/>
              <a:gd name="connsiteY361" fmla="*/ 1513105 h 6858889"/>
              <a:gd name="connsiteX362" fmla="*/ 2857726 w 9667345"/>
              <a:gd name="connsiteY362" fmla="*/ 1845461 h 6858889"/>
              <a:gd name="connsiteX363" fmla="*/ 2653732 w 9667345"/>
              <a:gd name="connsiteY363" fmla="*/ 2651066 h 6858889"/>
              <a:gd name="connsiteX364" fmla="*/ 2754001 w 9667345"/>
              <a:gd name="connsiteY364" fmla="*/ 3728954 h 6858889"/>
              <a:gd name="connsiteX365" fmla="*/ 3563930 w 9667345"/>
              <a:gd name="connsiteY365" fmla="*/ 5329361 h 6858889"/>
              <a:gd name="connsiteX366" fmla="*/ 3895420 w 9667345"/>
              <a:gd name="connsiteY366" fmla="*/ 5643133 h 6858889"/>
              <a:gd name="connsiteX367" fmla="*/ 5371356 w 9667345"/>
              <a:gd name="connsiteY367" fmla="*/ 6524804 h 6858889"/>
              <a:gd name="connsiteX368" fmla="*/ 5819971 w 9667345"/>
              <a:gd name="connsiteY368" fmla="*/ 6718859 h 6858889"/>
              <a:gd name="connsiteX369" fmla="*/ 6183877 w 9667345"/>
              <a:gd name="connsiteY369" fmla="*/ 6858024 h 6858889"/>
              <a:gd name="connsiteX370" fmla="*/ 6156648 w 9667345"/>
              <a:gd name="connsiteY370" fmla="*/ 6858024 h 6858889"/>
              <a:gd name="connsiteX371" fmla="*/ 5813056 w 9667345"/>
              <a:gd name="connsiteY371" fmla="*/ 6725342 h 6858889"/>
              <a:gd name="connsiteX372" fmla="*/ 5364441 w 9667345"/>
              <a:gd name="connsiteY372" fmla="*/ 6531288 h 6858889"/>
              <a:gd name="connsiteX373" fmla="*/ 3882022 w 9667345"/>
              <a:gd name="connsiteY373" fmla="*/ 5649616 h 6858889"/>
              <a:gd name="connsiteX374" fmla="*/ 3550532 w 9667345"/>
              <a:gd name="connsiteY374" fmla="*/ 5333683 h 6858889"/>
              <a:gd name="connsiteX375" fmla="*/ 2740603 w 9667345"/>
              <a:gd name="connsiteY375" fmla="*/ 3728954 h 6858889"/>
              <a:gd name="connsiteX376" fmla="*/ 2640334 w 9667345"/>
              <a:gd name="connsiteY376" fmla="*/ 2648906 h 6858889"/>
              <a:gd name="connsiteX377" fmla="*/ 2844328 w 9667345"/>
              <a:gd name="connsiteY377" fmla="*/ 1845461 h 6858889"/>
              <a:gd name="connsiteX378" fmla="*/ 2948056 w 9667345"/>
              <a:gd name="connsiteY378" fmla="*/ 1510944 h 6858889"/>
              <a:gd name="connsiteX379" fmla="*/ 3132169 w 9667345"/>
              <a:gd name="connsiteY379" fmla="*/ 1297 h 6858889"/>
              <a:gd name="connsiteX380" fmla="*/ 1666605 w 9667345"/>
              <a:gd name="connsiteY380" fmla="*/ 1297 h 6858889"/>
              <a:gd name="connsiteX381" fmla="*/ 1680003 w 9667345"/>
              <a:gd name="connsiteY381" fmla="*/ 1297 h 6858889"/>
              <a:gd name="connsiteX382" fmla="*/ 1680003 w 9667345"/>
              <a:gd name="connsiteY382" fmla="*/ 19882 h 6858889"/>
              <a:gd name="connsiteX383" fmla="*/ 1549482 w 9667345"/>
              <a:gd name="connsiteY383" fmla="*/ 1899053 h 6858889"/>
              <a:gd name="connsiteX384" fmla="*/ 1482491 w 9667345"/>
              <a:gd name="connsiteY384" fmla="*/ 2186028 h 6858889"/>
              <a:gd name="connsiteX385" fmla="*/ 1321715 w 9667345"/>
              <a:gd name="connsiteY385" fmla="*/ 3078073 h 6858889"/>
              <a:gd name="connsiteX386" fmla="*/ 1495889 w 9667345"/>
              <a:gd name="connsiteY386" fmla="*/ 4176705 h 6858889"/>
              <a:gd name="connsiteX387" fmla="*/ 2439797 w 9667345"/>
              <a:gd name="connsiteY387" fmla="*/ 5785324 h 6858889"/>
              <a:gd name="connsiteX388" fmla="*/ 2801111 w 9667345"/>
              <a:gd name="connsiteY388" fmla="*/ 6095205 h 6858889"/>
              <a:gd name="connsiteX389" fmla="*/ 4120160 w 9667345"/>
              <a:gd name="connsiteY389" fmla="*/ 6858024 h 6858889"/>
              <a:gd name="connsiteX390" fmla="*/ 4095092 w 9667345"/>
              <a:gd name="connsiteY390" fmla="*/ 6858024 h 6858889"/>
              <a:gd name="connsiteX391" fmla="*/ 2790738 w 9667345"/>
              <a:gd name="connsiteY391" fmla="*/ 6101688 h 6858889"/>
              <a:gd name="connsiteX392" fmla="*/ 2425967 w 9667345"/>
              <a:gd name="connsiteY392" fmla="*/ 5789646 h 6858889"/>
              <a:gd name="connsiteX393" fmla="*/ 1479034 w 9667345"/>
              <a:gd name="connsiteY393" fmla="*/ 4178866 h 6858889"/>
              <a:gd name="connsiteX394" fmla="*/ 1308318 w 9667345"/>
              <a:gd name="connsiteY394" fmla="*/ 3078073 h 6858889"/>
              <a:gd name="connsiteX395" fmla="*/ 1469093 w 9667345"/>
              <a:gd name="connsiteY395" fmla="*/ 2183867 h 6858889"/>
              <a:gd name="connsiteX396" fmla="*/ 1536083 w 9667345"/>
              <a:gd name="connsiteY396" fmla="*/ 1899053 h 6858889"/>
              <a:gd name="connsiteX397" fmla="*/ 1666605 w 9667345"/>
              <a:gd name="connsiteY397" fmla="*/ 19882 h 6858889"/>
              <a:gd name="connsiteX398" fmla="*/ 1666605 w 9667345"/>
              <a:gd name="connsiteY398" fmla="*/ 1297 h 6858889"/>
              <a:gd name="connsiteX399" fmla="*/ 5716245 w 9667345"/>
              <a:gd name="connsiteY399" fmla="*/ 865 h 6858889"/>
              <a:gd name="connsiteX400" fmla="*/ 5729643 w 9667345"/>
              <a:gd name="connsiteY400" fmla="*/ 865 h 6858889"/>
              <a:gd name="connsiteX401" fmla="*/ 5508793 w 9667345"/>
              <a:gd name="connsiteY401" fmla="*/ 814683 h 6858889"/>
              <a:gd name="connsiteX402" fmla="*/ 5334619 w 9667345"/>
              <a:gd name="connsiteY402" fmla="*/ 1194580 h 6858889"/>
              <a:gd name="connsiteX403" fmla="*/ 5053695 w 9667345"/>
              <a:gd name="connsiteY403" fmla="*/ 1878739 h 6858889"/>
              <a:gd name="connsiteX404" fmla="*/ 5023441 w 9667345"/>
              <a:gd name="connsiteY404" fmla="*/ 2919458 h 6858889"/>
              <a:gd name="connsiteX405" fmla="*/ 5585723 w 9667345"/>
              <a:gd name="connsiteY405" fmla="*/ 4509493 h 6858889"/>
              <a:gd name="connsiteX406" fmla="*/ 7626966 w 9667345"/>
              <a:gd name="connsiteY406" fmla="*/ 5911524 h 6858889"/>
              <a:gd name="connsiteX407" fmla="*/ 9666913 w 9667345"/>
              <a:gd name="connsiteY407" fmla="*/ 6434908 h 6858889"/>
              <a:gd name="connsiteX408" fmla="*/ 9666913 w 9667345"/>
              <a:gd name="connsiteY408" fmla="*/ 6443985 h 6858889"/>
              <a:gd name="connsiteX409" fmla="*/ 7617025 w 9667345"/>
              <a:gd name="connsiteY409" fmla="*/ 5919736 h 6858889"/>
              <a:gd name="connsiteX410" fmla="*/ 6425472 w 9667345"/>
              <a:gd name="connsiteY410" fmla="*/ 5306455 h 6858889"/>
              <a:gd name="connsiteX411" fmla="*/ 5572325 w 9667345"/>
              <a:gd name="connsiteY411" fmla="*/ 4513383 h 6858889"/>
              <a:gd name="connsiteX412" fmla="*/ 5006586 w 9667345"/>
              <a:gd name="connsiteY412" fmla="*/ 2921188 h 6858889"/>
              <a:gd name="connsiteX413" fmla="*/ 5036839 w 9667345"/>
              <a:gd name="connsiteY413" fmla="*/ 1876146 h 6858889"/>
              <a:gd name="connsiteX414" fmla="*/ 5321221 w 9667345"/>
              <a:gd name="connsiteY414" fmla="*/ 1192419 h 6858889"/>
              <a:gd name="connsiteX415" fmla="*/ 5495395 w 9667345"/>
              <a:gd name="connsiteY415" fmla="*/ 812521 h 6858889"/>
              <a:gd name="connsiteX416" fmla="*/ 5716245 w 9667345"/>
              <a:gd name="connsiteY416" fmla="*/ 865 h 6858889"/>
              <a:gd name="connsiteX417" fmla="*/ 4726525 w 9667345"/>
              <a:gd name="connsiteY417" fmla="*/ 865 h 6858889"/>
              <a:gd name="connsiteX418" fmla="*/ 4739923 w 9667345"/>
              <a:gd name="connsiteY418" fmla="*/ 865 h 6858889"/>
              <a:gd name="connsiteX419" fmla="*/ 4519073 w 9667345"/>
              <a:gd name="connsiteY419" fmla="*/ 1085235 h 6858889"/>
              <a:gd name="connsiteX420" fmla="*/ 4371695 w 9667345"/>
              <a:gd name="connsiteY420" fmla="*/ 1453030 h 6858889"/>
              <a:gd name="connsiteX421" fmla="*/ 4120592 w 9667345"/>
              <a:gd name="connsiteY421" fmla="*/ 2177816 h 6858889"/>
              <a:gd name="connsiteX422" fmla="*/ 4140473 w 9667345"/>
              <a:gd name="connsiteY422" fmla="*/ 3234958 h 6858889"/>
              <a:gd name="connsiteX423" fmla="*/ 4799566 w 9667345"/>
              <a:gd name="connsiteY423" fmla="*/ 4827154 h 6858889"/>
              <a:gd name="connsiteX424" fmla="*/ 5097346 w 9667345"/>
              <a:gd name="connsiteY424" fmla="*/ 5145247 h 6858889"/>
              <a:gd name="connsiteX425" fmla="*/ 6485979 w 9667345"/>
              <a:gd name="connsiteY425" fmla="*/ 6037292 h 6858889"/>
              <a:gd name="connsiteX426" fmla="*/ 6924221 w 9667345"/>
              <a:gd name="connsiteY426" fmla="*/ 6225295 h 6858889"/>
              <a:gd name="connsiteX427" fmla="*/ 8222527 w 9667345"/>
              <a:gd name="connsiteY427" fmla="*/ 6631988 h 6858889"/>
              <a:gd name="connsiteX428" fmla="*/ 9362217 w 9667345"/>
              <a:gd name="connsiteY428" fmla="*/ 6858024 h 6858889"/>
              <a:gd name="connsiteX429" fmla="*/ 9306465 w 9667345"/>
              <a:gd name="connsiteY429" fmla="*/ 6858024 h 6858889"/>
              <a:gd name="connsiteX430" fmla="*/ 8216044 w 9667345"/>
              <a:gd name="connsiteY430" fmla="*/ 6640632 h 6858889"/>
              <a:gd name="connsiteX431" fmla="*/ 6917738 w 9667345"/>
              <a:gd name="connsiteY431" fmla="*/ 6233939 h 6858889"/>
              <a:gd name="connsiteX432" fmla="*/ 6479496 w 9667345"/>
              <a:gd name="connsiteY432" fmla="*/ 6045935 h 6858889"/>
              <a:gd name="connsiteX433" fmla="*/ 5083948 w 9667345"/>
              <a:gd name="connsiteY433" fmla="*/ 5151730 h 6858889"/>
              <a:gd name="connsiteX434" fmla="*/ 4786168 w 9667345"/>
              <a:gd name="connsiteY434" fmla="*/ 4831476 h 6858889"/>
              <a:gd name="connsiteX435" fmla="*/ 4127075 w 9667345"/>
              <a:gd name="connsiteY435" fmla="*/ 3234958 h 6858889"/>
              <a:gd name="connsiteX436" fmla="*/ 4107194 w 9667345"/>
              <a:gd name="connsiteY436" fmla="*/ 2177816 h 6858889"/>
              <a:gd name="connsiteX437" fmla="*/ 4358298 w 9667345"/>
              <a:gd name="connsiteY437" fmla="*/ 1450869 h 6858889"/>
              <a:gd name="connsiteX438" fmla="*/ 4505676 w 9667345"/>
              <a:gd name="connsiteY438" fmla="*/ 1083075 h 6858889"/>
              <a:gd name="connsiteX439" fmla="*/ 4726525 w 9667345"/>
              <a:gd name="connsiteY439" fmla="*/ 865 h 6858889"/>
              <a:gd name="connsiteX440" fmla="*/ 4581741 w 9667345"/>
              <a:gd name="connsiteY440" fmla="*/ 865 h 6858889"/>
              <a:gd name="connsiteX441" fmla="*/ 4595139 w 9667345"/>
              <a:gd name="connsiteY441" fmla="*/ 865 h 6858889"/>
              <a:gd name="connsiteX442" fmla="*/ 4377746 w 9667345"/>
              <a:gd name="connsiteY442" fmla="*/ 1124132 h 6858889"/>
              <a:gd name="connsiteX443" fmla="*/ 4233826 w 9667345"/>
              <a:gd name="connsiteY443" fmla="*/ 1489767 h 6858889"/>
              <a:gd name="connsiteX444" fmla="*/ 3986180 w 9667345"/>
              <a:gd name="connsiteY444" fmla="*/ 2221036 h 6858889"/>
              <a:gd name="connsiteX445" fmla="*/ 4012976 w 9667345"/>
              <a:gd name="connsiteY445" fmla="*/ 3278178 h 6858889"/>
              <a:gd name="connsiteX446" fmla="*/ 4685467 w 9667345"/>
              <a:gd name="connsiteY446" fmla="*/ 4872534 h 6858889"/>
              <a:gd name="connsiteX447" fmla="*/ 4986705 w 9667345"/>
              <a:gd name="connsiteY447" fmla="*/ 5190628 h 6858889"/>
              <a:gd name="connsiteX448" fmla="*/ 6385711 w 9667345"/>
              <a:gd name="connsiteY448" fmla="*/ 6082672 h 6858889"/>
              <a:gd name="connsiteX449" fmla="*/ 6823953 w 9667345"/>
              <a:gd name="connsiteY449" fmla="*/ 6270675 h 6858889"/>
              <a:gd name="connsiteX450" fmla="*/ 8122259 w 9667345"/>
              <a:gd name="connsiteY450" fmla="*/ 6681690 h 6858889"/>
              <a:gd name="connsiteX451" fmla="*/ 8951634 w 9667345"/>
              <a:gd name="connsiteY451" fmla="*/ 6858456 h 6858889"/>
              <a:gd name="connsiteX452" fmla="*/ 8900205 w 9667345"/>
              <a:gd name="connsiteY452" fmla="*/ 6858456 h 6858889"/>
              <a:gd name="connsiteX453" fmla="*/ 8115776 w 9667345"/>
              <a:gd name="connsiteY453" fmla="*/ 6690766 h 6858889"/>
              <a:gd name="connsiteX454" fmla="*/ 6817470 w 9667345"/>
              <a:gd name="connsiteY454" fmla="*/ 6277591 h 6858889"/>
              <a:gd name="connsiteX455" fmla="*/ 6375770 w 9667345"/>
              <a:gd name="connsiteY455" fmla="*/ 6089588 h 6858889"/>
              <a:gd name="connsiteX456" fmla="*/ 4976765 w 9667345"/>
              <a:gd name="connsiteY456" fmla="*/ 5197543 h 6858889"/>
              <a:gd name="connsiteX457" fmla="*/ 4675527 w 9667345"/>
              <a:gd name="connsiteY457" fmla="*/ 4877289 h 6858889"/>
              <a:gd name="connsiteX458" fmla="*/ 3999578 w 9667345"/>
              <a:gd name="connsiteY458" fmla="*/ 3280771 h 6858889"/>
              <a:gd name="connsiteX459" fmla="*/ 3972783 w 9667345"/>
              <a:gd name="connsiteY459" fmla="*/ 2219307 h 6858889"/>
              <a:gd name="connsiteX460" fmla="*/ 4220429 w 9667345"/>
              <a:gd name="connsiteY460" fmla="*/ 1488038 h 6858889"/>
              <a:gd name="connsiteX461" fmla="*/ 4364348 w 9667345"/>
              <a:gd name="connsiteY461" fmla="*/ 1122404 h 6858889"/>
              <a:gd name="connsiteX462" fmla="*/ 4581741 w 9667345"/>
              <a:gd name="connsiteY462" fmla="*/ 865 h 6858889"/>
              <a:gd name="connsiteX463" fmla="*/ 4293901 w 9667345"/>
              <a:gd name="connsiteY463" fmla="*/ 865 h 6858889"/>
              <a:gd name="connsiteX464" fmla="*/ 4307299 w 9667345"/>
              <a:gd name="connsiteY464" fmla="*/ 865 h 6858889"/>
              <a:gd name="connsiteX465" fmla="*/ 4096389 w 9667345"/>
              <a:gd name="connsiteY465" fmla="*/ 1202791 h 6858889"/>
              <a:gd name="connsiteX466" fmla="*/ 3959384 w 9667345"/>
              <a:gd name="connsiteY466" fmla="*/ 1561942 h 6858889"/>
              <a:gd name="connsiteX467" fmla="*/ 3721679 w 9667345"/>
              <a:gd name="connsiteY467" fmla="*/ 2305314 h 6858889"/>
              <a:gd name="connsiteX468" fmla="*/ 3761872 w 9667345"/>
              <a:gd name="connsiteY468" fmla="*/ 3368937 h 6858889"/>
              <a:gd name="connsiteX469" fmla="*/ 4461159 w 9667345"/>
              <a:gd name="connsiteY469" fmla="*/ 4965455 h 6858889"/>
              <a:gd name="connsiteX470" fmla="*/ 4768880 w 9667345"/>
              <a:gd name="connsiteY470" fmla="*/ 5281388 h 6858889"/>
              <a:gd name="connsiteX471" fmla="*/ 6181283 w 9667345"/>
              <a:gd name="connsiteY471" fmla="*/ 6171271 h 6858889"/>
              <a:gd name="connsiteX472" fmla="*/ 6622984 w 9667345"/>
              <a:gd name="connsiteY472" fmla="*/ 6359275 h 6858889"/>
              <a:gd name="connsiteX473" fmla="*/ 7921289 w 9667345"/>
              <a:gd name="connsiteY473" fmla="*/ 6776340 h 6858889"/>
              <a:gd name="connsiteX474" fmla="*/ 8257533 w 9667345"/>
              <a:gd name="connsiteY474" fmla="*/ 6857592 h 6858889"/>
              <a:gd name="connsiteX475" fmla="*/ 8219501 w 9667345"/>
              <a:gd name="connsiteY475" fmla="*/ 6857592 h 6858889"/>
              <a:gd name="connsiteX476" fmla="*/ 7917399 w 9667345"/>
              <a:gd name="connsiteY476" fmla="*/ 6784552 h 6858889"/>
              <a:gd name="connsiteX477" fmla="*/ 6615637 w 9667345"/>
              <a:gd name="connsiteY477" fmla="*/ 6367487 h 6858889"/>
              <a:gd name="connsiteX478" fmla="*/ 6173937 w 9667345"/>
              <a:gd name="connsiteY478" fmla="*/ 6177322 h 6858889"/>
              <a:gd name="connsiteX479" fmla="*/ 4755050 w 9667345"/>
              <a:gd name="connsiteY479" fmla="*/ 5287439 h 6858889"/>
              <a:gd name="connsiteX480" fmla="*/ 4447329 w 9667345"/>
              <a:gd name="connsiteY480" fmla="*/ 4967184 h 6858889"/>
              <a:gd name="connsiteX481" fmla="*/ 3748043 w 9667345"/>
              <a:gd name="connsiteY481" fmla="*/ 3368937 h 6858889"/>
              <a:gd name="connsiteX482" fmla="*/ 3704392 w 9667345"/>
              <a:gd name="connsiteY482" fmla="*/ 2305314 h 6858889"/>
              <a:gd name="connsiteX483" fmla="*/ 3945554 w 9667345"/>
              <a:gd name="connsiteY483" fmla="*/ 1559782 h 6858889"/>
              <a:gd name="connsiteX484" fmla="*/ 4079533 w 9667345"/>
              <a:gd name="connsiteY484" fmla="*/ 1200631 h 6858889"/>
              <a:gd name="connsiteX485" fmla="*/ 4293901 w 9667345"/>
              <a:gd name="connsiteY485" fmla="*/ 865 h 6858889"/>
              <a:gd name="connsiteX486" fmla="*/ 3858684 w 9667345"/>
              <a:gd name="connsiteY486" fmla="*/ 865 h 6858889"/>
              <a:gd name="connsiteX487" fmla="*/ 3872082 w 9667345"/>
              <a:gd name="connsiteY487" fmla="*/ 865 h 6858889"/>
              <a:gd name="connsiteX488" fmla="*/ 3671113 w 9667345"/>
              <a:gd name="connsiteY488" fmla="*/ 1318619 h 6858889"/>
              <a:gd name="connsiteX489" fmla="*/ 3547506 w 9667345"/>
              <a:gd name="connsiteY489" fmla="*/ 1669558 h 6858889"/>
              <a:gd name="connsiteX490" fmla="*/ 3319740 w 9667345"/>
              <a:gd name="connsiteY490" fmla="*/ 2435835 h 6858889"/>
              <a:gd name="connsiteX491" fmla="*/ 3383272 w 9667345"/>
              <a:gd name="connsiteY491" fmla="*/ 3503350 h 6858889"/>
              <a:gd name="connsiteX492" fmla="*/ 4126211 w 9667345"/>
              <a:gd name="connsiteY492" fmla="*/ 5101596 h 6858889"/>
              <a:gd name="connsiteX493" fmla="*/ 4440846 w 9667345"/>
              <a:gd name="connsiteY493" fmla="*/ 5417529 h 6858889"/>
              <a:gd name="connsiteX494" fmla="*/ 5876588 w 9667345"/>
              <a:gd name="connsiteY494" fmla="*/ 6303522 h 6858889"/>
              <a:gd name="connsiteX495" fmla="*/ 6321746 w 9667345"/>
              <a:gd name="connsiteY495" fmla="*/ 6493687 h 6858889"/>
              <a:gd name="connsiteX496" fmla="*/ 7390557 w 9667345"/>
              <a:gd name="connsiteY496" fmla="*/ 6857592 h 6858889"/>
              <a:gd name="connsiteX497" fmla="*/ 7359439 w 9667345"/>
              <a:gd name="connsiteY497" fmla="*/ 6857592 h 6858889"/>
              <a:gd name="connsiteX498" fmla="*/ 6314831 w 9667345"/>
              <a:gd name="connsiteY498" fmla="*/ 6501898 h 6858889"/>
              <a:gd name="connsiteX499" fmla="*/ 5869673 w 9667345"/>
              <a:gd name="connsiteY499" fmla="*/ 6310005 h 6858889"/>
              <a:gd name="connsiteX500" fmla="*/ 4427449 w 9667345"/>
              <a:gd name="connsiteY500" fmla="*/ 5421850 h 6858889"/>
              <a:gd name="connsiteX501" fmla="*/ 4112813 w 9667345"/>
              <a:gd name="connsiteY501" fmla="*/ 5105917 h 6858889"/>
              <a:gd name="connsiteX502" fmla="*/ 3369875 w 9667345"/>
              <a:gd name="connsiteY502" fmla="*/ 3505511 h 6858889"/>
              <a:gd name="connsiteX503" fmla="*/ 3306342 w 9667345"/>
              <a:gd name="connsiteY503" fmla="*/ 2433674 h 6858889"/>
              <a:gd name="connsiteX504" fmla="*/ 3534108 w 9667345"/>
              <a:gd name="connsiteY504" fmla="*/ 1667398 h 6858889"/>
              <a:gd name="connsiteX505" fmla="*/ 3657715 w 9667345"/>
              <a:gd name="connsiteY505" fmla="*/ 1316458 h 6858889"/>
              <a:gd name="connsiteX506" fmla="*/ 3858684 w 9667345"/>
              <a:gd name="connsiteY506" fmla="*/ 865 h 6858889"/>
              <a:gd name="connsiteX507" fmla="*/ 2985225 w 9667345"/>
              <a:gd name="connsiteY507" fmla="*/ 865 h 6858889"/>
              <a:gd name="connsiteX508" fmla="*/ 2998622 w 9667345"/>
              <a:gd name="connsiteY508" fmla="*/ 865 h 6858889"/>
              <a:gd name="connsiteX509" fmla="*/ 2821423 w 9667345"/>
              <a:gd name="connsiteY509" fmla="*/ 1551570 h 6858889"/>
              <a:gd name="connsiteX510" fmla="*/ 2721154 w 9667345"/>
              <a:gd name="connsiteY510" fmla="*/ 1880037 h 6858889"/>
              <a:gd name="connsiteX511" fmla="*/ 2520184 w 9667345"/>
              <a:gd name="connsiteY511" fmla="*/ 2691693 h 6858889"/>
              <a:gd name="connsiteX512" fmla="*/ 2627369 w 9667345"/>
              <a:gd name="connsiteY512" fmla="*/ 3771741 h 6858889"/>
              <a:gd name="connsiteX513" fmla="*/ 3450694 w 9667345"/>
              <a:gd name="connsiteY513" fmla="*/ 5374309 h 6858889"/>
              <a:gd name="connsiteX514" fmla="*/ 3785211 w 9667345"/>
              <a:gd name="connsiteY514" fmla="*/ 5688081 h 6858889"/>
              <a:gd name="connsiteX515" fmla="*/ 5271088 w 9667345"/>
              <a:gd name="connsiteY515" fmla="*/ 6568024 h 6858889"/>
              <a:gd name="connsiteX516" fmla="*/ 5722728 w 9667345"/>
              <a:gd name="connsiteY516" fmla="*/ 6762078 h 6858889"/>
              <a:gd name="connsiteX517" fmla="*/ 5963890 w 9667345"/>
              <a:gd name="connsiteY517" fmla="*/ 6858024 h 6858889"/>
              <a:gd name="connsiteX518" fmla="*/ 5935798 w 9667345"/>
              <a:gd name="connsiteY518" fmla="*/ 6858024 h 6858889"/>
              <a:gd name="connsiteX519" fmla="*/ 5712788 w 9667345"/>
              <a:gd name="connsiteY519" fmla="*/ 6770722 h 6858889"/>
              <a:gd name="connsiteX520" fmla="*/ 5261147 w 9667345"/>
              <a:gd name="connsiteY520" fmla="*/ 6576668 h 6858889"/>
              <a:gd name="connsiteX521" fmla="*/ 3775272 w 9667345"/>
              <a:gd name="connsiteY521" fmla="*/ 5694996 h 6858889"/>
              <a:gd name="connsiteX522" fmla="*/ 3437296 w 9667345"/>
              <a:gd name="connsiteY522" fmla="*/ 5379064 h 6858889"/>
              <a:gd name="connsiteX523" fmla="*/ 2613972 w 9667345"/>
              <a:gd name="connsiteY523" fmla="*/ 3774334 h 6858889"/>
              <a:gd name="connsiteX524" fmla="*/ 2506787 w 9667345"/>
              <a:gd name="connsiteY524" fmla="*/ 2692125 h 6858889"/>
              <a:gd name="connsiteX525" fmla="*/ 2707756 w 9667345"/>
              <a:gd name="connsiteY525" fmla="*/ 1878307 h 6858889"/>
              <a:gd name="connsiteX526" fmla="*/ 2808025 w 9667345"/>
              <a:gd name="connsiteY526" fmla="*/ 1549842 h 6858889"/>
              <a:gd name="connsiteX527" fmla="*/ 2985225 w 9667345"/>
              <a:gd name="connsiteY527" fmla="*/ 865 h 6858889"/>
              <a:gd name="connsiteX528" fmla="*/ 2838710 w 9667345"/>
              <a:gd name="connsiteY528" fmla="*/ 865 h 6858889"/>
              <a:gd name="connsiteX529" fmla="*/ 2855567 w 9667345"/>
              <a:gd name="connsiteY529" fmla="*/ 865 h 6858889"/>
              <a:gd name="connsiteX530" fmla="*/ 2681392 w 9667345"/>
              <a:gd name="connsiteY530" fmla="*/ 1588739 h 6858889"/>
              <a:gd name="connsiteX531" fmla="*/ 2584149 w 9667345"/>
              <a:gd name="connsiteY531" fmla="*/ 1915044 h 6858889"/>
              <a:gd name="connsiteX532" fmla="*/ 2390096 w 9667345"/>
              <a:gd name="connsiteY532" fmla="*/ 2734912 h 6858889"/>
              <a:gd name="connsiteX533" fmla="*/ 2503762 w 9667345"/>
              <a:gd name="connsiteY533" fmla="*/ 3817122 h 6858889"/>
              <a:gd name="connsiteX534" fmla="*/ 3340485 w 9667345"/>
              <a:gd name="connsiteY534" fmla="*/ 5419690 h 6858889"/>
              <a:gd name="connsiteX535" fmla="*/ 3675002 w 9667345"/>
              <a:gd name="connsiteY535" fmla="*/ 5733461 h 6858889"/>
              <a:gd name="connsiteX536" fmla="*/ 5170819 w 9667345"/>
              <a:gd name="connsiteY536" fmla="*/ 6613403 h 6858889"/>
              <a:gd name="connsiteX537" fmla="*/ 5622459 w 9667345"/>
              <a:gd name="connsiteY537" fmla="*/ 6807459 h 6858889"/>
              <a:gd name="connsiteX538" fmla="*/ 5747363 w 9667345"/>
              <a:gd name="connsiteY538" fmla="*/ 6858024 h 6858889"/>
              <a:gd name="connsiteX539" fmla="*/ 5722728 w 9667345"/>
              <a:gd name="connsiteY539" fmla="*/ 6858024 h 6858889"/>
              <a:gd name="connsiteX540" fmla="*/ 5612519 w 9667345"/>
              <a:gd name="connsiteY540" fmla="*/ 6813941 h 6858889"/>
              <a:gd name="connsiteX541" fmla="*/ 5160879 w 9667345"/>
              <a:gd name="connsiteY541" fmla="*/ 6619886 h 6858889"/>
              <a:gd name="connsiteX542" fmla="*/ 3665063 w 9667345"/>
              <a:gd name="connsiteY542" fmla="*/ 5739943 h 6858889"/>
              <a:gd name="connsiteX543" fmla="*/ 3327087 w 9667345"/>
              <a:gd name="connsiteY543" fmla="*/ 5424011 h 6858889"/>
              <a:gd name="connsiteX544" fmla="*/ 2490364 w 9667345"/>
              <a:gd name="connsiteY544" fmla="*/ 3819282 h 6858889"/>
              <a:gd name="connsiteX545" fmla="*/ 2373240 w 9667345"/>
              <a:gd name="connsiteY545" fmla="*/ 2734912 h 6858889"/>
              <a:gd name="connsiteX546" fmla="*/ 2570751 w 9667345"/>
              <a:gd name="connsiteY546" fmla="*/ 1912883 h 6858889"/>
              <a:gd name="connsiteX547" fmla="*/ 2667995 w 9667345"/>
              <a:gd name="connsiteY547" fmla="*/ 1588739 h 6858889"/>
              <a:gd name="connsiteX548" fmla="*/ 2838710 w 9667345"/>
              <a:gd name="connsiteY548" fmla="*/ 865 h 6858889"/>
              <a:gd name="connsiteX549" fmla="*/ 2693495 w 9667345"/>
              <a:gd name="connsiteY549" fmla="*/ 865 h 6858889"/>
              <a:gd name="connsiteX550" fmla="*/ 2706893 w 9667345"/>
              <a:gd name="connsiteY550" fmla="*/ 865 h 6858889"/>
              <a:gd name="connsiteX551" fmla="*/ 2539633 w 9667345"/>
              <a:gd name="connsiteY551" fmla="*/ 1628068 h 6858889"/>
              <a:gd name="connsiteX552" fmla="*/ 2445847 w 9667345"/>
              <a:gd name="connsiteY552" fmla="*/ 1950052 h 6858889"/>
              <a:gd name="connsiteX553" fmla="*/ 2255252 w 9667345"/>
              <a:gd name="connsiteY553" fmla="*/ 2778131 h 6858889"/>
              <a:gd name="connsiteX554" fmla="*/ 2375833 w 9667345"/>
              <a:gd name="connsiteY554" fmla="*/ 3862501 h 6858889"/>
              <a:gd name="connsiteX555" fmla="*/ 3225955 w 9667345"/>
              <a:gd name="connsiteY555" fmla="*/ 5465070 h 6858889"/>
              <a:gd name="connsiteX556" fmla="*/ 3567387 w 9667345"/>
              <a:gd name="connsiteY556" fmla="*/ 5778841 h 6858889"/>
              <a:gd name="connsiteX557" fmla="*/ 5066660 w 9667345"/>
              <a:gd name="connsiteY557" fmla="*/ 6656623 h 6858889"/>
              <a:gd name="connsiteX558" fmla="*/ 5521759 w 9667345"/>
              <a:gd name="connsiteY558" fmla="*/ 6852838 h 6858889"/>
              <a:gd name="connsiteX559" fmla="*/ 5533428 w 9667345"/>
              <a:gd name="connsiteY559" fmla="*/ 6857592 h 6858889"/>
              <a:gd name="connsiteX560" fmla="*/ 5507928 w 9667345"/>
              <a:gd name="connsiteY560" fmla="*/ 6857592 h 6858889"/>
              <a:gd name="connsiteX561" fmla="*/ 5059745 w 9667345"/>
              <a:gd name="connsiteY561" fmla="*/ 6664835 h 6858889"/>
              <a:gd name="connsiteX562" fmla="*/ 3553989 w 9667345"/>
              <a:gd name="connsiteY562" fmla="*/ 5784892 h 6858889"/>
              <a:gd name="connsiteX563" fmla="*/ 3212557 w 9667345"/>
              <a:gd name="connsiteY563" fmla="*/ 5468959 h 6858889"/>
              <a:gd name="connsiteX564" fmla="*/ 2362435 w 9667345"/>
              <a:gd name="connsiteY564" fmla="*/ 3862501 h 6858889"/>
              <a:gd name="connsiteX565" fmla="*/ 2241852 w 9667345"/>
              <a:gd name="connsiteY565" fmla="*/ 2778131 h 6858889"/>
              <a:gd name="connsiteX566" fmla="*/ 2432449 w 9667345"/>
              <a:gd name="connsiteY566" fmla="*/ 1947890 h 6858889"/>
              <a:gd name="connsiteX567" fmla="*/ 2526235 w 9667345"/>
              <a:gd name="connsiteY567" fmla="*/ 1625908 h 6858889"/>
              <a:gd name="connsiteX568" fmla="*/ 2693495 w 9667345"/>
              <a:gd name="connsiteY568" fmla="*/ 865 h 6858889"/>
              <a:gd name="connsiteX569" fmla="*/ 2546980 w 9667345"/>
              <a:gd name="connsiteY569" fmla="*/ 865 h 6858889"/>
              <a:gd name="connsiteX570" fmla="*/ 2560380 w 9667345"/>
              <a:gd name="connsiteY570" fmla="*/ 865 h 6858889"/>
              <a:gd name="connsiteX571" fmla="*/ 2399604 w 9667345"/>
              <a:gd name="connsiteY571" fmla="*/ 1667398 h 6858889"/>
              <a:gd name="connsiteX572" fmla="*/ 2309276 w 9667345"/>
              <a:gd name="connsiteY572" fmla="*/ 1983330 h 6858889"/>
              <a:gd name="connsiteX573" fmla="*/ 2121704 w 9667345"/>
              <a:gd name="connsiteY573" fmla="*/ 2821783 h 6858889"/>
              <a:gd name="connsiteX574" fmla="*/ 2248768 w 9667345"/>
              <a:gd name="connsiteY574" fmla="*/ 3907881 h 6858889"/>
              <a:gd name="connsiteX575" fmla="*/ 3112289 w 9667345"/>
              <a:gd name="connsiteY575" fmla="*/ 5510450 h 6858889"/>
              <a:gd name="connsiteX576" fmla="*/ 3457178 w 9667345"/>
              <a:gd name="connsiteY576" fmla="*/ 5824221 h 6858889"/>
              <a:gd name="connsiteX577" fmla="*/ 4966392 w 9667345"/>
              <a:gd name="connsiteY577" fmla="*/ 6702003 h 6858889"/>
              <a:gd name="connsiteX578" fmla="*/ 5328136 w 9667345"/>
              <a:gd name="connsiteY578" fmla="*/ 6857160 h 6858889"/>
              <a:gd name="connsiteX579" fmla="*/ 5299612 w 9667345"/>
              <a:gd name="connsiteY579" fmla="*/ 6857160 h 6858889"/>
              <a:gd name="connsiteX580" fmla="*/ 4959910 w 9667345"/>
              <a:gd name="connsiteY580" fmla="*/ 6708054 h 6858889"/>
              <a:gd name="connsiteX581" fmla="*/ 3447237 w 9667345"/>
              <a:gd name="connsiteY581" fmla="*/ 5830272 h 6858889"/>
              <a:gd name="connsiteX582" fmla="*/ 3102348 w 9667345"/>
              <a:gd name="connsiteY582" fmla="*/ 5514339 h 6858889"/>
              <a:gd name="connsiteX583" fmla="*/ 2235803 w 9667345"/>
              <a:gd name="connsiteY583" fmla="*/ 3907881 h 6858889"/>
              <a:gd name="connsiteX584" fmla="*/ 2108737 w 9667345"/>
              <a:gd name="connsiteY584" fmla="*/ 2819622 h 6858889"/>
              <a:gd name="connsiteX585" fmla="*/ 2296308 w 9667345"/>
              <a:gd name="connsiteY585" fmla="*/ 1983330 h 6858889"/>
              <a:gd name="connsiteX586" fmla="*/ 2383181 w 9667345"/>
              <a:gd name="connsiteY586" fmla="*/ 1665237 h 6858889"/>
              <a:gd name="connsiteX587" fmla="*/ 2546980 w 9667345"/>
              <a:gd name="connsiteY587" fmla="*/ 865 h 6858889"/>
              <a:gd name="connsiteX588" fmla="*/ 2400036 w 9667345"/>
              <a:gd name="connsiteY588" fmla="*/ 865 h 6858889"/>
              <a:gd name="connsiteX589" fmla="*/ 2413434 w 9667345"/>
              <a:gd name="connsiteY589" fmla="*/ 865 h 6858889"/>
              <a:gd name="connsiteX590" fmla="*/ 2256115 w 9667345"/>
              <a:gd name="connsiteY590" fmla="*/ 1706727 h 6858889"/>
              <a:gd name="connsiteX591" fmla="*/ 2172271 w 9667345"/>
              <a:gd name="connsiteY591" fmla="*/ 2018770 h 6858889"/>
              <a:gd name="connsiteX592" fmla="*/ 1988157 w 9667345"/>
              <a:gd name="connsiteY592" fmla="*/ 2863273 h 6858889"/>
              <a:gd name="connsiteX593" fmla="*/ 2125161 w 9667345"/>
              <a:gd name="connsiteY593" fmla="*/ 3951533 h 6858889"/>
              <a:gd name="connsiteX594" fmla="*/ 3002080 w 9667345"/>
              <a:gd name="connsiteY594" fmla="*/ 5556263 h 6858889"/>
              <a:gd name="connsiteX595" fmla="*/ 3346969 w 9667345"/>
              <a:gd name="connsiteY595" fmla="*/ 5870033 h 6858889"/>
              <a:gd name="connsiteX596" fmla="*/ 4866123 w 9667345"/>
              <a:gd name="connsiteY596" fmla="*/ 6745655 h 6858889"/>
              <a:gd name="connsiteX597" fmla="*/ 5120684 w 9667345"/>
              <a:gd name="connsiteY597" fmla="*/ 6857592 h 6858889"/>
              <a:gd name="connsiteX598" fmla="*/ 5091296 w 9667345"/>
              <a:gd name="connsiteY598" fmla="*/ 6857592 h 6858889"/>
              <a:gd name="connsiteX599" fmla="*/ 4855751 w 9667345"/>
              <a:gd name="connsiteY599" fmla="*/ 6753867 h 6858889"/>
              <a:gd name="connsiteX600" fmla="*/ 3336595 w 9667345"/>
              <a:gd name="connsiteY600" fmla="*/ 5876084 h 6858889"/>
              <a:gd name="connsiteX601" fmla="*/ 2988682 w 9667345"/>
              <a:gd name="connsiteY601" fmla="*/ 5562313 h 6858889"/>
              <a:gd name="connsiteX602" fmla="*/ 2111764 w 9667345"/>
              <a:gd name="connsiteY602" fmla="*/ 3953694 h 6858889"/>
              <a:gd name="connsiteX603" fmla="*/ 1974759 w 9667345"/>
              <a:gd name="connsiteY603" fmla="*/ 2863273 h 6858889"/>
              <a:gd name="connsiteX604" fmla="*/ 2158874 w 9667345"/>
              <a:gd name="connsiteY604" fmla="*/ 2016609 h 6858889"/>
              <a:gd name="connsiteX605" fmla="*/ 2242718 w 9667345"/>
              <a:gd name="connsiteY605" fmla="*/ 1704566 h 6858889"/>
              <a:gd name="connsiteX606" fmla="*/ 2400036 w 9667345"/>
              <a:gd name="connsiteY606" fmla="*/ 865 h 6858889"/>
              <a:gd name="connsiteX607" fmla="*/ 2252226 w 9667345"/>
              <a:gd name="connsiteY607" fmla="*/ 865 h 6858889"/>
              <a:gd name="connsiteX608" fmla="*/ 2265624 w 9667345"/>
              <a:gd name="connsiteY608" fmla="*/ 865 h 6858889"/>
              <a:gd name="connsiteX609" fmla="*/ 2115221 w 9667345"/>
              <a:gd name="connsiteY609" fmla="*/ 1743896 h 6858889"/>
              <a:gd name="connsiteX610" fmla="*/ 2034834 w 9667345"/>
              <a:gd name="connsiteY610" fmla="*/ 2051617 h 6858889"/>
              <a:gd name="connsiteX611" fmla="*/ 1854176 w 9667345"/>
              <a:gd name="connsiteY611" fmla="*/ 2906493 h 6858889"/>
              <a:gd name="connsiteX612" fmla="*/ 1998098 w 9667345"/>
              <a:gd name="connsiteY612" fmla="*/ 3996913 h 6858889"/>
              <a:gd name="connsiteX613" fmla="*/ 2888413 w 9667345"/>
              <a:gd name="connsiteY613" fmla="*/ 5601642 h 6858889"/>
              <a:gd name="connsiteX614" fmla="*/ 3239786 w 9667345"/>
              <a:gd name="connsiteY614" fmla="*/ 5915414 h 6858889"/>
              <a:gd name="connsiteX615" fmla="*/ 4765854 w 9667345"/>
              <a:gd name="connsiteY615" fmla="*/ 6791034 h 6858889"/>
              <a:gd name="connsiteX616" fmla="*/ 4915393 w 9667345"/>
              <a:gd name="connsiteY616" fmla="*/ 6858024 h 6858889"/>
              <a:gd name="connsiteX617" fmla="*/ 4892055 w 9667345"/>
              <a:gd name="connsiteY617" fmla="*/ 6858024 h 6858889"/>
              <a:gd name="connsiteX618" fmla="*/ 4755482 w 9667345"/>
              <a:gd name="connsiteY618" fmla="*/ 6797517 h 6858889"/>
              <a:gd name="connsiteX619" fmla="*/ 3225955 w 9667345"/>
              <a:gd name="connsiteY619" fmla="*/ 5919736 h 6858889"/>
              <a:gd name="connsiteX620" fmla="*/ 2878041 w 9667345"/>
              <a:gd name="connsiteY620" fmla="*/ 5607693 h 6858889"/>
              <a:gd name="connsiteX621" fmla="*/ 1984699 w 9667345"/>
              <a:gd name="connsiteY621" fmla="*/ 3999074 h 6858889"/>
              <a:gd name="connsiteX622" fmla="*/ 1840778 w 9667345"/>
              <a:gd name="connsiteY622" fmla="*/ 2906493 h 6858889"/>
              <a:gd name="connsiteX623" fmla="*/ 2017978 w 9667345"/>
              <a:gd name="connsiteY623" fmla="*/ 2051617 h 6858889"/>
              <a:gd name="connsiteX624" fmla="*/ 2101823 w 9667345"/>
              <a:gd name="connsiteY624" fmla="*/ 1743896 h 6858889"/>
              <a:gd name="connsiteX625" fmla="*/ 2252226 w 9667345"/>
              <a:gd name="connsiteY625" fmla="*/ 865 h 6858889"/>
              <a:gd name="connsiteX626" fmla="*/ 2105282 w 9667345"/>
              <a:gd name="connsiteY626" fmla="*/ 865 h 6858889"/>
              <a:gd name="connsiteX627" fmla="*/ 2122137 w 9667345"/>
              <a:gd name="connsiteY627" fmla="*/ 865 h 6858889"/>
              <a:gd name="connsiteX628" fmla="*/ 1974759 w 9667345"/>
              <a:gd name="connsiteY628" fmla="*/ 1783225 h 6858889"/>
              <a:gd name="connsiteX629" fmla="*/ 1894371 w 9667345"/>
              <a:gd name="connsiteY629" fmla="*/ 2086624 h 6858889"/>
              <a:gd name="connsiteX630" fmla="*/ 1723655 w 9667345"/>
              <a:gd name="connsiteY630" fmla="*/ 2949711 h 6858889"/>
              <a:gd name="connsiteX631" fmla="*/ 1874058 w 9667345"/>
              <a:gd name="connsiteY631" fmla="*/ 4042292 h 6858889"/>
              <a:gd name="connsiteX632" fmla="*/ 2777772 w 9667345"/>
              <a:gd name="connsiteY632" fmla="*/ 5648752 h 6858889"/>
              <a:gd name="connsiteX633" fmla="*/ 3129144 w 9667345"/>
              <a:gd name="connsiteY633" fmla="*/ 5960794 h 6858889"/>
              <a:gd name="connsiteX634" fmla="*/ 4661697 w 9667345"/>
              <a:gd name="connsiteY634" fmla="*/ 6834254 h 6858889"/>
              <a:gd name="connsiteX635" fmla="*/ 4712694 w 9667345"/>
              <a:gd name="connsiteY635" fmla="*/ 6858024 h 6858889"/>
              <a:gd name="connsiteX636" fmla="*/ 4691518 w 9667345"/>
              <a:gd name="connsiteY636" fmla="*/ 6858024 h 6858889"/>
              <a:gd name="connsiteX637" fmla="*/ 4654782 w 9667345"/>
              <a:gd name="connsiteY637" fmla="*/ 6840737 h 6858889"/>
              <a:gd name="connsiteX638" fmla="*/ 3118771 w 9667345"/>
              <a:gd name="connsiteY638" fmla="*/ 5965116 h 6858889"/>
              <a:gd name="connsiteX639" fmla="*/ 2763942 w 9667345"/>
              <a:gd name="connsiteY639" fmla="*/ 5653073 h 6858889"/>
              <a:gd name="connsiteX640" fmla="*/ 1857203 w 9667345"/>
              <a:gd name="connsiteY640" fmla="*/ 4042292 h 6858889"/>
              <a:gd name="connsiteX641" fmla="*/ 1706800 w 9667345"/>
              <a:gd name="connsiteY641" fmla="*/ 2949711 h 6858889"/>
              <a:gd name="connsiteX642" fmla="*/ 1880974 w 9667345"/>
              <a:gd name="connsiteY642" fmla="*/ 2084463 h 6858889"/>
              <a:gd name="connsiteX643" fmla="*/ 1961361 w 9667345"/>
              <a:gd name="connsiteY643" fmla="*/ 1781064 h 6858889"/>
              <a:gd name="connsiteX644" fmla="*/ 2105282 w 9667345"/>
              <a:gd name="connsiteY644" fmla="*/ 865 h 6858889"/>
              <a:gd name="connsiteX645" fmla="*/ 1957472 w 9667345"/>
              <a:gd name="connsiteY645" fmla="*/ 865 h 6858889"/>
              <a:gd name="connsiteX646" fmla="*/ 1974327 w 9667345"/>
              <a:gd name="connsiteY646" fmla="*/ 865 h 6858889"/>
              <a:gd name="connsiteX647" fmla="*/ 1833865 w 9667345"/>
              <a:gd name="connsiteY647" fmla="*/ 1822122 h 6858889"/>
              <a:gd name="connsiteX648" fmla="*/ 1756935 w 9667345"/>
              <a:gd name="connsiteY648" fmla="*/ 2119471 h 6858889"/>
              <a:gd name="connsiteX649" fmla="*/ 1589675 w 9667345"/>
              <a:gd name="connsiteY649" fmla="*/ 2992931 h 6858889"/>
              <a:gd name="connsiteX650" fmla="*/ 1746993 w 9667345"/>
              <a:gd name="connsiteY650" fmla="*/ 4085512 h 6858889"/>
              <a:gd name="connsiteX651" fmla="*/ 2664105 w 9667345"/>
              <a:gd name="connsiteY651" fmla="*/ 5694131 h 6858889"/>
              <a:gd name="connsiteX652" fmla="*/ 3018935 w 9667345"/>
              <a:gd name="connsiteY652" fmla="*/ 6006174 h 6858889"/>
              <a:gd name="connsiteX653" fmla="*/ 4516912 w 9667345"/>
              <a:gd name="connsiteY653" fmla="*/ 6858024 h 6858889"/>
              <a:gd name="connsiteX654" fmla="*/ 4491845 w 9667345"/>
              <a:gd name="connsiteY654" fmla="*/ 6858024 h 6858889"/>
              <a:gd name="connsiteX655" fmla="*/ 3008562 w 9667345"/>
              <a:gd name="connsiteY655" fmla="*/ 6010496 h 6858889"/>
              <a:gd name="connsiteX656" fmla="*/ 2653732 w 9667345"/>
              <a:gd name="connsiteY656" fmla="*/ 5698453 h 6858889"/>
              <a:gd name="connsiteX657" fmla="*/ 1733596 w 9667345"/>
              <a:gd name="connsiteY657" fmla="*/ 4087673 h 6858889"/>
              <a:gd name="connsiteX658" fmla="*/ 1576277 w 9667345"/>
              <a:gd name="connsiteY658" fmla="*/ 2993363 h 6858889"/>
              <a:gd name="connsiteX659" fmla="*/ 1743537 w 9667345"/>
              <a:gd name="connsiteY659" fmla="*/ 2117741 h 6858889"/>
              <a:gd name="connsiteX660" fmla="*/ 1817009 w 9667345"/>
              <a:gd name="connsiteY660" fmla="*/ 1820394 h 6858889"/>
              <a:gd name="connsiteX661" fmla="*/ 1957472 w 9667345"/>
              <a:gd name="connsiteY661" fmla="*/ 865 h 6858889"/>
              <a:gd name="connsiteX662" fmla="*/ 1813983 w 9667345"/>
              <a:gd name="connsiteY662" fmla="*/ 865 h 6858889"/>
              <a:gd name="connsiteX663" fmla="*/ 1827381 w 9667345"/>
              <a:gd name="connsiteY663" fmla="*/ 865 h 6858889"/>
              <a:gd name="connsiteX664" fmla="*/ 1690376 w 9667345"/>
              <a:gd name="connsiteY664" fmla="*/ 1861452 h 6858889"/>
              <a:gd name="connsiteX665" fmla="*/ 1619928 w 9667345"/>
              <a:gd name="connsiteY665" fmla="*/ 2152749 h 6858889"/>
              <a:gd name="connsiteX666" fmla="*/ 1456128 w 9667345"/>
              <a:gd name="connsiteY666" fmla="*/ 3034421 h 6858889"/>
              <a:gd name="connsiteX667" fmla="*/ 1619928 w 9667345"/>
              <a:gd name="connsiteY667" fmla="*/ 4130892 h 6858889"/>
              <a:gd name="connsiteX668" fmla="*/ 2553464 w 9667345"/>
              <a:gd name="connsiteY668" fmla="*/ 5739511 h 6858889"/>
              <a:gd name="connsiteX669" fmla="*/ 2911750 w 9667345"/>
              <a:gd name="connsiteY669" fmla="*/ 6051554 h 6858889"/>
              <a:gd name="connsiteX670" fmla="*/ 4316807 w 9667345"/>
              <a:gd name="connsiteY670" fmla="*/ 6857592 h 6858889"/>
              <a:gd name="connsiteX671" fmla="*/ 4293901 w 9667345"/>
              <a:gd name="connsiteY671" fmla="*/ 6857592 h 6858889"/>
              <a:gd name="connsiteX672" fmla="*/ 2898352 w 9667345"/>
              <a:gd name="connsiteY672" fmla="*/ 6055876 h 6858889"/>
              <a:gd name="connsiteX673" fmla="*/ 2540066 w 9667345"/>
              <a:gd name="connsiteY673" fmla="*/ 5743834 h 6858889"/>
              <a:gd name="connsiteX674" fmla="*/ 1606530 w 9667345"/>
              <a:gd name="connsiteY674" fmla="*/ 4133053 h 6858889"/>
              <a:gd name="connsiteX675" fmla="*/ 1442730 w 9667345"/>
              <a:gd name="connsiteY675" fmla="*/ 3034421 h 6858889"/>
              <a:gd name="connsiteX676" fmla="*/ 1606530 w 9667345"/>
              <a:gd name="connsiteY676" fmla="*/ 2150589 h 6858889"/>
              <a:gd name="connsiteX677" fmla="*/ 1676978 w 9667345"/>
              <a:gd name="connsiteY677" fmla="*/ 1859291 h 6858889"/>
              <a:gd name="connsiteX678" fmla="*/ 1813983 w 9667345"/>
              <a:gd name="connsiteY678" fmla="*/ 865 h 6858889"/>
              <a:gd name="connsiteX679" fmla="*/ 1519660 w 9667345"/>
              <a:gd name="connsiteY679" fmla="*/ 865 h 6858889"/>
              <a:gd name="connsiteX680" fmla="*/ 1533058 w 9667345"/>
              <a:gd name="connsiteY680" fmla="*/ 865 h 6858889"/>
              <a:gd name="connsiteX681" fmla="*/ 1536516 w 9667345"/>
              <a:gd name="connsiteY681" fmla="*/ 52296 h 6858889"/>
              <a:gd name="connsiteX682" fmla="*/ 1409451 w 9667345"/>
              <a:gd name="connsiteY682" fmla="*/ 1937950 h 6858889"/>
              <a:gd name="connsiteX683" fmla="*/ 1342461 w 9667345"/>
              <a:gd name="connsiteY683" fmla="*/ 2218875 h 6858889"/>
              <a:gd name="connsiteX684" fmla="*/ 1188601 w 9667345"/>
              <a:gd name="connsiteY684" fmla="*/ 3121292 h 6858889"/>
              <a:gd name="connsiteX685" fmla="*/ 1369256 w 9667345"/>
              <a:gd name="connsiteY685" fmla="*/ 4222085 h 6858889"/>
              <a:gd name="connsiteX686" fmla="*/ 2329588 w 9667345"/>
              <a:gd name="connsiteY686" fmla="*/ 5830704 h 6858889"/>
              <a:gd name="connsiteX687" fmla="*/ 2690902 w 9667345"/>
              <a:gd name="connsiteY687" fmla="*/ 6140585 h 6858889"/>
              <a:gd name="connsiteX688" fmla="*/ 3923512 w 9667345"/>
              <a:gd name="connsiteY688" fmla="*/ 6858024 h 6858889"/>
              <a:gd name="connsiteX689" fmla="*/ 3900606 w 9667345"/>
              <a:gd name="connsiteY689" fmla="*/ 6858024 h 6858889"/>
              <a:gd name="connsiteX690" fmla="*/ 2680528 w 9667345"/>
              <a:gd name="connsiteY690" fmla="*/ 6147068 h 6858889"/>
              <a:gd name="connsiteX691" fmla="*/ 2315758 w 9667345"/>
              <a:gd name="connsiteY691" fmla="*/ 5835026 h 6858889"/>
              <a:gd name="connsiteX692" fmla="*/ 1355426 w 9667345"/>
              <a:gd name="connsiteY692" fmla="*/ 4222085 h 6858889"/>
              <a:gd name="connsiteX693" fmla="*/ 1174770 w 9667345"/>
              <a:gd name="connsiteY693" fmla="*/ 3121292 h 6858889"/>
              <a:gd name="connsiteX694" fmla="*/ 1329063 w 9667345"/>
              <a:gd name="connsiteY694" fmla="*/ 2216714 h 6858889"/>
              <a:gd name="connsiteX695" fmla="*/ 1396053 w 9667345"/>
              <a:gd name="connsiteY695" fmla="*/ 1937950 h 6858889"/>
              <a:gd name="connsiteX696" fmla="*/ 1523118 w 9667345"/>
              <a:gd name="connsiteY696" fmla="*/ 52296 h 6858889"/>
              <a:gd name="connsiteX697" fmla="*/ 1519660 w 9667345"/>
              <a:gd name="connsiteY697" fmla="*/ 865 h 6858889"/>
              <a:gd name="connsiteX698" fmla="*/ 927556 w 9667345"/>
              <a:gd name="connsiteY698" fmla="*/ 865 h 6858889"/>
              <a:gd name="connsiteX699" fmla="*/ 940955 w 9667345"/>
              <a:gd name="connsiteY699" fmla="*/ 865 h 6858889"/>
              <a:gd name="connsiteX700" fmla="*/ 960836 w 9667345"/>
              <a:gd name="connsiteY700" fmla="*/ 182386 h 6858889"/>
              <a:gd name="connsiteX701" fmla="*/ 843711 w 9667345"/>
              <a:gd name="connsiteY701" fmla="*/ 2092675 h 6858889"/>
              <a:gd name="connsiteX702" fmla="*/ 790119 w 9667345"/>
              <a:gd name="connsiteY702" fmla="*/ 2346804 h 6858889"/>
              <a:gd name="connsiteX703" fmla="*/ 656141 w 9667345"/>
              <a:gd name="connsiteY703" fmla="*/ 3292440 h 6858889"/>
              <a:gd name="connsiteX704" fmla="*/ 863592 w 9667345"/>
              <a:gd name="connsiteY704" fmla="*/ 4401445 h 6858889"/>
              <a:gd name="connsiteX705" fmla="*/ 1877515 w 9667345"/>
              <a:gd name="connsiteY705" fmla="*/ 6012225 h 6858889"/>
              <a:gd name="connsiteX706" fmla="*/ 2255684 w 9667345"/>
              <a:gd name="connsiteY706" fmla="*/ 6322107 h 6858889"/>
              <a:gd name="connsiteX707" fmla="*/ 3150753 w 9667345"/>
              <a:gd name="connsiteY707" fmla="*/ 6858024 h 6858889"/>
              <a:gd name="connsiteX708" fmla="*/ 3127414 w 9667345"/>
              <a:gd name="connsiteY708" fmla="*/ 6858024 h 6858889"/>
              <a:gd name="connsiteX709" fmla="*/ 2242284 w 9667345"/>
              <a:gd name="connsiteY709" fmla="*/ 6328590 h 6858889"/>
              <a:gd name="connsiteX710" fmla="*/ 1867576 w 9667345"/>
              <a:gd name="connsiteY710" fmla="*/ 6016547 h 6858889"/>
              <a:gd name="connsiteX711" fmla="*/ 850194 w 9667345"/>
              <a:gd name="connsiteY711" fmla="*/ 4401445 h 6858889"/>
              <a:gd name="connsiteX712" fmla="*/ 642743 w 9667345"/>
              <a:gd name="connsiteY712" fmla="*/ 3292440 h 6858889"/>
              <a:gd name="connsiteX713" fmla="*/ 776722 w 9667345"/>
              <a:gd name="connsiteY713" fmla="*/ 2344643 h 6858889"/>
              <a:gd name="connsiteX714" fmla="*/ 830313 w 9667345"/>
              <a:gd name="connsiteY714" fmla="*/ 2092675 h 6858889"/>
              <a:gd name="connsiteX715" fmla="*/ 947438 w 9667345"/>
              <a:gd name="connsiteY715" fmla="*/ 182386 h 6858889"/>
              <a:gd name="connsiteX716" fmla="*/ 927556 w 9667345"/>
              <a:gd name="connsiteY716" fmla="*/ 865 h 6858889"/>
              <a:gd name="connsiteX717" fmla="*/ 482400 w 9667345"/>
              <a:gd name="connsiteY717" fmla="*/ 865 h 6858889"/>
              <a:gd name="connsiteX718" fmla="*/ 495797 w 9667345"/>
              <a:gd name="connsiteY718" fmla="*/ 865 h 6858889"/>
              <a:gd name="connsiteX719" fmla="*/ 529076 w 9667345"/>
              <a:gd name="connsiteY719" fmla="*/ 279629 h 6858889"/>
              <a:gd name="connsiteX720" fmla="*/ 418434 w 9667345"/>
              <a:gd name="connsiteY720" fmla="*/ 2208502 h 6858889"/>
              <a:gd name="connsiteX721" fmla="*/ 374782 w 9667345"/>
              <a:gd name="connsiteY721" fmla="*/ 2439725 h 6858889"/>
              <a:gd name="connsiteX722" fmla="*/ 257659 w 9667345"/>
              <a:gd name="connsiteY722" fmla="*/ 3420801 h 6858889"/>
              <a:gd name="connsiteX723" fmla="*/ 485424 w 9667345"/>
              <a:gd name="connsiteY723" fmla="*/ 4535856 h 6858889"/>
              <a:gd name="connsiteX724" fmla="*/ 1542998 w 9667345"/>
              <a:gd name="connsiteY724" fmla="*/ 6148797 h 6858889"/>
              <a:gd name="connsiteX725" fmla="*/ 1927651 w 9667345"/>
              <a:gd name="connsiteY725" fmla="*/ 6458678 h 6858889"/>
              <a:gd name="connsiteX726" fmla="*/ 2581556 w 9667345"/>
              <a:gd name="connsiteY726" fmla="*/ 6857592 h 6858889"/>
              <a:gd name="connsiteX727" fmla="*/ 2559515 w 9667345"/>
              <a:gd name="connsiteY727" fmla="*/ 6857592 h 6858889"/>
              <a:gd name="connsiteX728" fmla="*/ 1914251 w 9667345"/>
              <a:gd name="connsiteY728" fmla="*/ 6462569 h 6858889"/>
              <a:gd name="connsiteX729" fmla="*/ 1529600 w 9667345"/>
              <a:gd name="connsiteY729" fmla="*/ 6154848 h 6858889"/>
              <a:gd name="connsiteX730" fmla="*/ 472026 w 9667345"/>
              <a:gd name="connsiteY730" fmla="*/ 4538018 h 6858889"/>
              <a:gd name="connsiteX731" fmla="*/ 244261 w 9667345"/>
              <a:gd name="connsiteY731" fmla="*/ 3420801 h 6858889"/>
              <a:gd name="connsiteX732" fmla="*/ 361385 w 9667345"/>
              <a:gd name="connsiteY732" fmla="*/ 2439725 h 6858889"/>
              <a:gd name="connsiteX733" fmla="*/ 405036 w 9667345"/>
              <a:gd name="connsiteY733" fmla="*/ 2208502 h 6858889"/>
              <a:gd name="connsiteX734" fmla="*/ 515678 w 9667345"/>
              <a:gd name="connsiteY734" fmla="*/ 279629 h 6858889"/>
              <a:gd name="connsiteX735" fmla="*/ 482400 w 9667345"/>
              <a:gd name="connsiteY735" fmla="*/ 865 h 6858889"/>
              <a:gd name="connsiteX736" fmla="*/ 331564 w 9667345"/>
              <a:gd name="connsiteY736" fmla="*/ 865 h 6858889"/>
              <a:gd name="connsiteX737" fmla="*/ 344962 w 9667345"/>
              <a:gd name="connsiteY737" fmla="*/ 865 h 6858889"/>
              <a:gd name="connsiteX738" fmla="*/ 385156 w 9667345"/>
              <a:gd name="connsiteY738" fmla="*/ 312908 h 6858889"/>
              <a:gd name="connsiteX739" fmla="*/ 277973 w 9667345"/>
              <a:gd name="connsiteY739" fmla="*/ 2247832 h 6858889"/>
              <a:gd name="connsiteX740" fmla="*/ 237778 w 9667345"/>
              <a:gd name="connsiteY740" fmla="*/ 2470843 h 6858889"/>
              <a:gd name="connsiteX741" fmla="*/ 124111 w 9667345"/>
              <a:gd name="connsiteY741" fmla="*/ 3464020 h 6858889"/>
              <a:gd name="connsiteX742" fmla="*/ 361817 w 9667345"/>
              <a:gd name="connsiteY742" fmla="*/ 4579076 h 6858889"/>
              <a:gd name="connsiteX743" fmla="*/ 1429331 w 9667345"/>
              <a:gd name="connsiteY743" fmla="*/ 6194177 h 6858889"/>
              <a:gd name="connsiteX744" fmla="*/ 1817441 w 9667345"/>
              <a:gd name="connsiteY744" fmla="*/ 6504059 h 6858889"/>
              <a:gd name="connsiteX745" fmla="*/ 2394850 w 9667345"/>
              <a:gd name="connsiteY745" fmla="*/ 6857592 h 6858889"/>
              <a:gd name="connsiteX746" fmla="*/ 2373240 w 9667345"/>
              <a:gd name="connsiteY746" fmla="*/ 6857592 h 6858889"/>
              <a:gd name="connsiteX747" fmla="*/ 1807501 w 9667345"/>
              <a:gd name="connsiteY747" fmla="*/ 6507949 h 6858889"/>
              <a:gd name="connsiteX748" fmla="*/ 1415933 w 9667345"/>
              <a:gd name="connsiteY748" fmla="*/ 6200228 h 6858889"/>
              <a:gd name="connsiteX749" fmla="*/ 348419 w 9667345"/>
              <a:gd name="connsiteY749" fmla="*/ 4581237 h 6858889"/>
              <a:gd name="connsiteX750" fmla="*/ 110713 w 9667345"/>
              <a:gd name="connsiteY750" fmla="*/ 3464020 h 6858889"/>
              <a:gd name="connsiteX751" fmla="*/ 224380 w 9667345"/>
              <a:gd name="connsiteY751" fmla="*/ 2470843 h 6858889"/>
              <a:gd name="connsiteX752" fmla="*/ 264575 w 9667345"/>
              <a:gd name="connsiteY752" fmla="*/ 2247832 h 6858889"/>
              <a:gd name="connsiteX753" fmla="*/ 371757 w 9667345"/>
              <a:gd name="connsiteY753" fmla="*/ 312908 h 6858889"/>
              <a:gd name="connsiteX754" fmla="*/ 331564 w 9667345"/>
              <a:gd name="connsiteY754" fmla="*/ 865 h 6858889"/>
              <a:gd name="connsiteX755" fmla="*/ 177272 w 9667345"/>
              <a:gd name="connsiteY755" fmla="*/ 865 h 6858889"/>
              <a:gd name="connsiteX756" fmla="*/ 194126 w 9667345"/>
              <a:gd name="connsiteY756" fmla="*/ 865 h 6858889"/>
              <a:gd name="connsiteX757" fmla="*/ 241235 w 9667345"/>
              <a:gd name="connsiteY757" fmla="*/ 343594 h 6858889"/>
              <a:gd name="connsiteX758" fmla="*/ 137509 w 9667345"/>
              <a:gd name="connsiteY758" fmla="*/ 2286729 h 6858889"/>
              <a:gd name="connsiteX759" fmla="*/ 100773 w 9667345"/>
              <a:gd name="connsiteY759" fmla="*/ 2501528 h 6858889"/>
              <a:gd name="connsiteX760" fmla="*/ 21628 w 9667345"/>
              <a:gd name="connsiteY760" fmla="*/ 3001305 h 6858889"/>
              <a:gd name="connsiteX761" fmla="*/ 0 w 9667345"/>
              <a:gd name="connsiteY761" fmla="*/ 3220433 h 6858889"/>
              <a:gd name="connsiteX762" fmla="*/ 0 w 9667345"/>
              <a:gd name="connsiteY762" fmla="*/ 3069197 h 6858889"/>
              <a:gd name="connsiteX763" fmla="*/ 6448 w 9667345"/>
              <a:gd name="connsiteY763" fmla="*/ 3000440 h 6858889"/>
              <a:gd name="connsiteX764" fmla="*/ 83485 w 9667345"/>
              <a:gd name="connsiteY764" fmla="*/ 2499800 h 6858889"/>
              <a:gd name="connsiteX765" fmla="*/ 120222 w 9667345"/>
              <a:gd name="connsiteY765" fmla="*/ 2285000 h 6858889"/>
              <a:gd name="connsiteX766" fmla="*/ 227406 w 9667345"/>
              <a:gd name="connsiteY766" fmla="*/ 343594 h 6858889"/>
              <a:gd name="connsiteX767" fmla="*/ 177272 w 9667345"/>
              <a:gd name="connsiteY767" fmla="*/ 865 h 6858889"/>
              <a:gd name="connsiteX768" fmla="*/ 26870 w 9667345"/>
              <a:gd name="connsiteY768" fmla="*/ 865 h 6858889"/>
              <a:gd name="connsiteX769" fmla="*/ 39834 w 9667345"/>
              <a:gd name="connsiteY769" fmla="*/ 865 h 6858889"/>
              <a:gd name="connsiteX770" fmla="*/ 96883 w 9667345"/>
              <a:gd name="connsiteY770" fmla="*/ 376872 h 6858889"/>
              <a:gd name="connsiteX771" fmla="*/ 62180 w 9667345"/>
              <a:gd name="connsiteY771" fmla="*/ 1813458 h 6858889"/>
              <a:gd name="connsiteX772" fmla="*/ 0 w 9667345"/>
              <a:gd name="connsiteY772" fmla="*/ 2275627 h 6858889"/>
              <a:gd name="connsiteX773" fmla="*/ 0 w 9667345"/>
              <a:gd name="connsiteY773" fmla="*/ 2177011 h 6858889"/>
              <a:gd name="connsiteX774" fmla="*/ 49031 w 9667345"/>
              <a:gd name="connsiteY774" fmla="*/ 1812364 h 6858889"/>
              <a:gd name="connsiteX775" fmla="*/ 83918 w 9667345"/>
              <a:gd name="connsiteY775" fmla="*/ 376872 h 6858889"/>
              <a:gd name="connsiteX776" fmla="*/ 26870 w 9667345"/>
              <a:gd name="connsiteY776" fmla="*/ 865 h 6858889"/>
              <a:gd name="connsiteX777" fmla="*/ 4005629 w 9667345"/>
              <a:gd name="connsiteY777" fmla="*/ 433 h 6858889"/>
              <a:gd name="connsiteX778" fmla="*/ 4019027 w 9667345"/>
              <a:gd name="connsiteY778" fmla="*/ 433 h 6858889"/>
              <a:gd name="connsiteX779" fmla="*/ 3811575 w 9667345"/>
              <a:gd name="connsiteY779" fmla="*/ 1278857 h 6858889"/>
              <a:gd name="connsiteX780" fmla="*/ 3684510 w 9667345"/>
              <a:gd name="connsiteY780" fmla="*/ 1634119 h 6858889"/>
              <a:gd name="connsiteX781" fmla="*/ 3453720 w 9667345"/>
              <a:gd name="connsiteY781" fmla="*/ 2392184 h 6858889"/>
              <a:gd name="connsiteX782" fmla="*/ 3510769 w 9667345"/>
              <a:gd name="connsiteY782" fmla="*/ 3457970 h 6858889"/>
              <a:gd name="connsiteX783" fmla="*/ 4236852 w 9667345"/>
              <a:gd name="connsiteY783" fmla="*/ 5056216 h 6858889"/>
              <a:gd name="connsiteX784" fmla="*/ 4551488 w 9667345"/>
              <a:gd name="connsiteY784" fmla="*/ 5372149 h 6858889"/>
              <a:gd name="connsiteX785" fmla="*/ 5980314 w 9667345"/>
              <a:gd name="connsiteY785" fmla="*/ 6258142 h 6858889"/>
              <a:gd name="connsiteX786" fmla="*/ 6422015 w 9667345"/>
              <a:gd name="connsiteY786" fmla="*/ 6447010 h 6858889"/>
              <a:gd name="connsiteX787" fmla="*/ 7663269 w 9667345"/>
              <a:gd name="connsiteY787" fmla="*/ 6856728 h 6858889"/>
              <a:gd name="connsiteX788" fmla="*/ 7626102 w 9667345"/>
              <a:gd name="connsiteY788" fmla="*/ 6856728 h 6858889"/>
              <a:gd name="connsiteX789" fmla="*/ 6415531 w 9667345"/>
              <a:gd name="connsiteY789" fmla="*/ 6455654 h 6858889"/>
              <a:gd name="connsiteX790" fmla="*/ 5970373 w 9667345"/>
              <a:gd name="connsiteY790" fmla="*/ 6265489 h 6858889"/>
              <a:gd name="connsiteX791" fmla="*/ 4538090 w 9667345"/>
              <a:gd name="connsiteY791" fmla="*/ 5375605 h 6858889"/>
              <a:gd name="connsiteX792" fmla="*/ 4223454 w 9667345"/>
              <a:gd name="connsiteY792" fmla="*/ 5059673 h 6858889"/>
              <a:gd name="connsiteX793" fmla="*/ 3497371 w 9667345"/>
              <a:gd name="connsiteY793" fmla="*/ 3459266 h 6858889"/>
              <a:gd name="connsiteX794" fmla="*/ 3440323 w 9667345"/>
              <a:gd name="connsiteY794" fmla="*/ 2391752 h 6858889"/>
              <a:gd name="connsiteX795" fmla="*/ 3671113 w 9667345"/>
              <a:gd name="connsiteY795" fmla="*/ 1631957 h 6858889"/>
              <a:gd name="connsiteX796" fmla="*/ 3798177 w 9667345"/>
              <a:gd name="connsiteY796" fmla="*/ 1276696 h 6858889"/>
              <a:gd name="connsiteX797" fmla="*/ 4005629 w 9667345"/>
              <a:gd name="connsiteY797" fmla="*/ 433 h 6858889"/>
              <a:gd name="connsiteX798" fmla="*/ 1372282 w 9667345"/>
              <a:gd name="connsiteY798" fmla="*/ 433 h 6858889"/>
              <a:gd name="connsiteX799" fmla="*/ 1385681 w 9667345"/>
              <a:gd name="connsiteY799" fmla="*/ 433 h 6858889"/>
              <a:gd name="connsiteX800" fmla="*/ 1392163 w 9667345"/>
              <a:gd name="connsiteY800" fmla="*/ 85142 h 6858889"/>
              <a:gd name="connsiteX801" fmla="*/ 1268556 w 9667345"/>
              <a:gd name="connsiteY801" fmla="*/ 1976847 h 6858889"/>
              <a:gd name="connsiteX802" fmla="*/ 1205024 w 9667345"/>
              <a:gd name="connsiteY802" fmla="*/ 2251722 h 6858889"/>
              <a:gd name="connsiteX803" fmla="*/ 1057646 w 9667345"/>
              <a:gd name="connsiteY803" fmla="*/ 3164511 h 6858889"/>
              <a:gd name="connsiteX804" fmla="*/ 1241760 w 9667345"/>
              <a:gd name="connsiteY804" fmla="*/ 4265304 h 6858889"/>
              <a:gd name="connsiteX805" fmla="*/ 2215489 w 9667345"/>
              <a:gd name="connsiteY805" fmla="*/ 5876084 h 6858889"/>
              <a:gd name="connsiteX806" fmla="*/ 2583717 w 9667345"/>
              <a:gd name="connsiteY806" fmla="*/ 6185966 h 6858889"/>
              <a:gd name="connsiteX807" fmla="*/ 3730323 w 9667345"/>
              <a:gd name="connsiteY807" fmla="*/ 6858024 h 6858889"/>
              <a:gd name="connsiteX808" fmla="*/ 3705687 w 9667345"/>
              <a:gd name="connsiteY808" fmla="*/ 6858024 h 6858889"/>
              <a:gd name="connsiteX809" fmla="*/ 2570320 w 9667345"/>
              <a:gd name="connsiteY809" fmla="*/ 6192449 h 6858889"/>
              <a:gd name="connsiteX810" fmla="*/ 2202091 w 9667345"/>
              <a:gd name="connsiteY810" fmla="*/ 5880407 h 6858889"/>
              <a:gd name="connsiteX811" fmla="*/ 1228362 w 9667345"/>
              <a:gd name="connsiteY811" fmla="*/ 4267466 h 6858889"/>
              <a:gd name="connsiteX812" fmla="*/ 1040791 w 9667345"/>
              <a:gd name="connsiteY812" fmla="*/ 3164511 h 6858889"/>
              <a:gd name="connsiteX813" fmla="*/ 1191627 w 9667345"/>
              <a:gd name="connsiteY813" fmla="*/ 2249561 h 6858889"/>
              <a:gd name="connsiteX814" fmla="*/ 1251701 w 9667345"/>
              <a:gd name="connsiteY814" fmla="*/ 1974686 h 6858889"/>
              <a:gd name="connsiteX815" fmla="*/ 1378765 w 9667345"/>
              <a:gd name="connsiteY815" fmla="*/ 85142 h 6858889"/>
              <a:gd name="connsiteX816" fmla="*/ 1372282 w 9667345"/>
              <a:gd name="connsiteY816" fmla="*/ 433 h 6858889"/>
              <a:gd name="connsiteX817" fmla="*/ 1225337 w 9667345"/>
              <a:gd name="connsiteY817" fmla="*/ 433 h 6858889"/>
              <a:gd name="connsiteX818" fmla="*/ 1238734 w 9667345"/>
              <a:gd name="connsiteY818" fmla="*/ 433 h 6858889"/>
              <a:gd name="connsiteX819" fmla="*/ 1248676 w 9667345"/>
              <a:gd name="connsiteY819" fmla="*/ 116260 h 6858889"/>
              <a:gd name="connsiteX820" fmla="*/ 1125069 w 9667345"/>
              <a:gd name="connsiteY820" fmla="*/ 2016176 h 6858889"/>
              <a:gd name="connsiteX821" fmla="*/ 1068020 w 9667345"/>
              <a:gd name="connsiteY821" fmla="*/ 2282407 h 6858889"/>
              <a:gd name="connsiteX822" fmla="*/ 924099 w 9667345"/>
              <a:gd name="connsiteY822" fmla="*/ 3207730 h 6858889"/>
              <a:gd name="connsiteX823" fmla="*/ 1118153 w 9667345"/>
              <a:gd name="connsiteY823" fmla="*/ 4310684 h 6858889"/>
              <a:gd name="connsiteX824" fmla="*/ 2101823 w 9667345"/>
              <a:gd name="connsiteY824" fmla="*/ 5921465 h 6858889"/>
              <a:gd name="connsiteX825" fmla="*/ 2473076 w 9667345"/>
              <a:gd name="connsiteY825" fmla="*/ 6231346 h 6858889"/>
              <a:gd name="connsiteX826" fmla="*/ 3536701 w 9667345"/>
              <a:gd name="connsiteY826" fmla="*/ 6857592 h 6858889"/>
              <a:gd name="connsiteX827" fmla="*/ 3511634 w 9667345"/>
              <a:gd name="connsiteY827" fmla="*/ 6857592 h 6858889"/>
              <a:gd name="connsiteX828" fmla="*/ 2463136 w 9667345"/>
              <a:gd name="connsiteY828" fmla="*/ 6237397 h 6858889"/>
              <a:gd name="connsiteX829" fmla="*/ 2091882 w 9667345"/>
              <a:gd name="connsiteY829" fmla="*/ 5925354 h 6858889"/>
              <a:gd name="connsiteX830" fmla="*/ 1101298 w 9667345"/>
              <a:gd name="connsiteY830" fmla="*/ 4312414 h 6858889"/>
              <a:gd name="connsiteX831" fmla="*/ 910701 w 9667345"/>
              <a:gd name="connsiteY831" fmla="*/ 3205569 h 6858889"/>
              <a:gd name="connsiteX832" fmla="*/ 1054621 w 9667345"/>
              <a:gd name="connsiteY832" fmla="*/ 2282407 h 6858889"/>
              <a:gd name="connsiteX833" fmla="*/ 1111671 w 9667345"/>
              <a:gd name="connsiteY833" fmla="*/ 2014016 h 6858889"/>
              <a:gd name="connsiteX834" fmla="*/ 1235277 w 9667345"/>
              <a:gd name="connsiteY834" fmla="*/ 116260 h 6858889"/>
              <a:gd name="connsiteX835" fmla="*/ 1225337 w 9667345"/>
              <a:gd name="connsiteY835" fmla="*/ 433 h 6858889"/>
              <a:gd name="connsiteX836" fmla="*/ 1074069 w 9667345"/>
              <a:gd name="connsiteY836" fmla="*/ 433 h 6858889"/>
              <a:gd name="connsiteX837" fmla="*/ 1090925 w 9667345"/>
              <a:gd name="connsiteY837" fmla="*/ 433 h 6858889"/>
              <a:gd name="connsiteX838" fmla="*/ 1104323 w 9667345"/>
              <a:gd name="connsiteY838" fmla="*/ 149107 h 6858889"/>
              <a:gd name="connsiteX839" fmla="*/ 983741 w 9667345"/>
              <a:gd name="connsiteY839" fmla="*/ 2053345 h 6858889"/>
              <a:gd name="connsiteX840" fmla="*/ 930150 w 9667345"/>
              <a:gd name="connsiteY840" fmla="*/ 2315686 h 6858889"/>
              <a:gd name="connsiteX841" fmla="*/ 789687 w 9667345"/>
              <a:gd name="connsiteY841" fmla="*/ 3249221 h 6858889"/>
              <a:gd name="connsiteX842" fmla="*/ 990657 w 9667345"/>
              <a:gd name="connsiteY842" fmla="*/ 4356065 h 6858889"/>
              <a:gd name="connsiteX843" fmla="*/ 1991614 w 9667345"/>
              <a:gd name="connsiteY843" fmla="*/ 5966845 h 6858889"/>
              <a:gd name="connsiteX844" fmla="*/ 2362867 w 9667345"/>
              <a:gd name="connsiteY844" fmla="*/ 6276726 h 6858889"/>
              <a:gd name="connsiteX845" fmla="*/ 3342214 w 9667345"/>
              <a:gd name="connsiteY845" fmla="*/ 6858024 h 6858889"/>
              <a:gd name="connsiteX846" fmla="*/ 3320605 w 9667345"/>
              <a:gd name="connsiteY846" fmla="*/ 6858024 h 6858889"/>
              <a:gd name="connsiteX847" fmla="*/ 2352927 w 9667345"/>
              <a:gd name="connsiteY847" fmla="*/ 6283209 h 6858889"/>
              <a:gd name="connsiteX848" fmla="*/ 1978216 w 9667345"/>
              <a:gd name="connsiteY848" fmla="*/ 5971166 h 6858889"/>
              <a:gd name="connsiteX849" fmla="*/ 977691 w 9667345"/>
              <a:gd name="connsiteY849" fmla="*/ 4358225 h 6858889"/>
              <a:gd name="connsiteX850" fmla="*/ 776722 w 9667345"/>
              <a:gd name="connsiteY850" fmla="*/ 3249221 h 6858889"/>
              <a:gd name="connsiteX851" fmla="*/ 913294 w 9667345"/>
              <a:gd name="connsiteY851" fmla="*/ 2313525 h 6858889"/>
              <a:gd name="connsiteX852" fmla="*/ 970344 w 9667345"/>
              <a:gd name="connsiteY852" fmla="*/ 2053345 h 6858889"/>
              <a:gd name="connsiteX853" fmla="*/ 1090925 w 9667345"/>
              <a:gd name="connsiteY853" fmla="*/ 149107 h 6858889"/>
              <a:gd name="connsiteX854" fmla="*/ 1074069 w 9667345"/>
              <a:gd name="connsiteY854" fmla="*/ 433 h 6858889"/>
              <a:gd name="connsiteX855" fmla="*/ 780179 w 9667345"/>
              <a:gd name="connsiteY855" fmla="*/ 433 h 6858889"/>
              <a:gd name="connsiteX856" fmla="*/ 793577 w 9667345"/>
              <a:gd name="connsiteY856" fmla="*/ 433 h 6858889"/>
              <a:gd name="connsiteX857" fmla="*/ 816915 w 9667345"/>
              <a:gd name="connsiteY857" fmla="*/ 213072 h 6858889"/>
              <a:gd name="connsiteX858" fmla="*/ 703249 w 9667345"/>
              <a:gd name="connsiteY858" fmla="*/ 2131572 h 6858889"/>
              <a:gd name="connsiteX859" fmla="*/ 653115 w 9667345"/>
              <a:gd name="connsiteY859" fmla="*/ 2377489 h 6858889"/>
              <a:gd name="connsiteX860" fmla="*/ 522593 w 9667345"/>
              <a:gd name="connsiteY860" fmla="*/ 3335659 h 6858889"/>
              <a:gd name="connsiteX861" fmla="*/ 739985 w 9667345"/>
              <a:gd name="connsiteY861" fmla="*/ 4444664 h 6858889"/>
              <a:gd name="connsiteX862" fmla="*/ 1767306 w 9667345"/>
              <a:gd name="connsiteY862" fmla="*/ 6057605 h 6858889"/>
              <a:gd name="connsiteX863" fmla="*/ 2145475 w 9667345"/>
              <a:gd name="connsiteY863" fmla="*/ 6367487 h 6858889"/>
              <a:gd name="connsiteX864" fmla="*/ 2960590 w 9667345"/>
              <a:gd name="connsiteY864" fmla="*/ 6857160 h 6858889"/>
              <a:gd name="connsiteX865" fmla="*/ 2936818 w 9667345"/>
              <a:gd name="connsiteY865" fmla="*/ 6857160 h 6858889"/>
              <a:gd name="connsiteX866" fmla="*/ 2135535 w 9667345"/>
              <a:gd name="connsiteY866" fmla="*/ 6373105 h 6858889"/>
              <a:gd name="connsiteX867" fmla="*/ 1753909 w 9667345"/>
              <a:gd name="connsiteY867" fmla="*/ 6063223 h 6858889"/>
              <a:gd name="connsiteX868" fmla="*/ 726587 w 9667345"/>
              <a:gd name="connsiteY868" fmla="*/ 4446393 h 6858889"/>
              <a:gd name="connsiteX869" fmla="*/ 509195 w 9667345"/>
              <a:gd name="connsiteY869" fmla="*/ 3335227 h 6858889"/>
              <a:gd name="connsiteX870" fmla="*/ 639717 w 9667345"/>
              <a:gd name="connsiteY870" fmla="*/ 2377057 h 6858889"/>
              <a:gd name="connsiteX871" fmla="*/ 686393 w 9667345"/>
              <a:gd name="connsiteY871" fmla="*/ 2129411 h 6858889"/>
              <a:gd name="connsiteX872" fmla="*/ 803517 w 9667345"/>
              <a:gd name="connsiteY872" fmla="*/ 215232 h 6858889"/>
              <a:gd name="connsiteX873" fmla="*/ 780179 w 9667345"/>
              <a:gd name="connsiteY873" fmla="*/ 433 h 6858889"/>
              <a:gd name="connsiteX874" fmla="*/ 628912 w 9667345"/>
              <a:gd name="connsiteY874" fmla="*/ 433 h 6858889"/>
              <a:gd name="connsiteX875" fmla="*/ 645768 w 9667345"/>
              <a:gd name="connsiteY875" fmla="*/ 433 h 6858889"/>
              <a:gd name="connsiteX876" fmla="*/ 672563 w 9667345"/>
              <a:gd name="connsiteY876" fmla="*/ 246350 h 6858889"/>
              <a:gd name="connsiteX877" fmla="*/ 558897 w 9667345"/>
              <a:gd name="connsiteY877" fmla="*/ 2170901 h 6858889"/>
              <a:gd name="connsiteX878" fmla="*/ 515245 w 9667345"/>
              <a:gd name="connsiteY878" fmla="*/ 2408175 h 6858889"/>
              <a:gd name="connsiteX879" fmla="*/ 391639 w 9667345"/>
              <a:gd name="connsiteY879" fmla="*/ 3378879 h 6858889"/>
              <a:gd name="connsiteX880" fmla="*/ 612488 w 9667345"/>
              <a:gd name="connsiteY880" fmla="*/ 4490044 h 6858889"/>
              <a:gd name="connsiteX881" fmla="*/ 1653207 w 9667345"/>
              <a:gd name="connsiteY881" fmla="*/ 6102985 h 6858889"/>
              <a:gd name="connsiteX882" fmla="*/ 2034834 w 9667345"/>
              <a:gd name="connsiteY882" fmla="*/ 6412867 h 6858889"/>
              <a:gd name="connsiteX883" fmla="*/ 2768696 w 9667345"/>
              <a:gd name="connsiteY883" fmla="*/ 6857592 h 6858889"/>
              <a:gd name="connsiteX884" fmla="*/ 2748382 w 9667345"/>
              <a:gd name="connsiteY884" fmla="*/ 6857592 h 6858889"/>
              <a:gd name="connsiteX885" fmla="*/ 2024893 w 9667345"/>
              <a:gd name="connsiteY885" fmla="*/ 6419349 h 6858889"/>
              <a:gd name="connsiteX886" fmla="*/ 1643267 w 9667345"/>
              <a:gd name="connsiteY886" fmla="*/ 6109468 h 6858889"/>
              <a:gd name="connsiteX887" fmla="*/ 599091 w 9667345"/>
              <a:gd name="connsiteY887" fmla="*/ 4492205 h 6858889"/>
              <a:gd name="connsiteX888" fmla="*/ 374782 w 9667345"/>
              <a:gd name="connsiteY888" fmla="*/ 3379311 h 6858889"/>
              <a:gd name="connsiteX889" fmla="*/ 501847 w 9667345"/>
              <a:gd name="connsiteY889" fmla="*/ 2408607 h 6858889"/>
              <a:gd name="connsiteX890" fmla="*/ 545499 w 9667345"/>
              <a:gd name="connsiteY890" fmla="*/ 2169173 h 6858889"/>
              <a:gd name="connsiteX891" fmla="*/ 659165 w 9667345"/>
              <a:gd name="connsiteY891" fmla="*/ 246350 h 6858889"/>
              <a:gd name="connsiteX892" fmla="*/ 628912 w 9667345"/>
              <a:gd name="connsiteY892" fmla="*/ 433 h 6858889"/>
              <a:gd name="connsiteX893" fmla="*/ 4150413 w 9667345"/>
              <a:gd name="connsiteY893" fmla="*/ 0 h 6858889"/>
              <a:gd name="connsiteX894" fmla="*/ 4163811 w 9667345"/>
              <a:gd name="connsiteY894" fmla="*/ 0 h 6858889"/>
              <a:gd name="connsiteX895" fmla="*/ 3952901 w 9667345"/>
              <a:gd name="connsiteY895" fmla="*/ 1239096 h 6858889"/>
              <a:gd name="connsiteX896" fmla="*/ 3822380 w 9667345"/>
              <a:gd name="connsiteY896" fmla="*/ 1596518 h 6858889"/>
              <a:gd name="connsiteX897" fmla="*/ 3588131 w 9667345"/>
              <a:gd name="connsiteY897" fmla="*/ 2348100 h 6858889"/>
              <a:gd name="connsiteX898" fmla="*/ 3638265 w 9667345"/>
              <a:gd name="connsiteY898" fmla="*/ 3413886 h 6858889"/>
              <a:gd name="connsiteX899" fmla="*/ 4350951 w 9667345"/>
              <a:gd name="connsiteY899" fmla="*/ 5010403 h 6858889"/>
              <a:gd name="connsiteX900" fmla="*/ 4658670 w 9667345"/>
              <a:gd name="connsiteY900" fmla="*/ 5326336 h 6858889"/>
              <a:gd name="connsiteX901" fmla="*/ 6081015 w 9667345"/>
              <a:gd name="connsiteY901" fmla="*/ 6214491 h 6858889"/>
              <a:gd name="connsiteX902" fmla="*/ 6522715 w 9667345"/>
              <a:gd name="connsiteY902" fmla="*/ 6404654 h 6858889"/>
              <a:gd name="connsiteX903" fmla="*/ 7824477 w 9667345"/>
              <a:gd name="connsiteY903" fmla="*/ 6826042 h 6858889"/>
              <a:gd name="connsiteX904" fmla="*/ 7951543 w 9667345"/>
              <a:gd name="connsiteY904" fmla="*/ 6857160 h 6858889"/>
              <a:gd name="connsiteX905" fmla="*/ 7910051 w 9667345"/>
              <a:gd name="connsiteY905" fmla="*/ 6857160 h 6858889"/>
              <a:gd name="connsiteX906" fmla="*/ 7817994 w 9667345"/>
              <a:gd name="connsiteY906" fmla="*/ 6833822 h 6858889"/>
              <a:gd name="connsiteX907" fmla="*/ 6516232 w 9667345"/>
              <a:gd name="connsiteY907" fmla="*/ 6410273 h 6858889"/>
              <a:gd name="connsiteX908" fmla="*/ 6071074 w 9667345"/>
              <a:gd name="connsiteY908" fmla="*/ 6220110 h 6858889"/>
              <a:gd name="connsiteX909" fmla="*/ 4648731 w 9667345"/>
              <a:gd name="connsiteY909" fmla="*/ 5330225 h 6858889"/>
              <a:gd name="connsiteX910" fmla="*/ 4337553 w 9667345"/>
              <a:gd name="connsiteY910" fmla="*/ 5014293 h 6858889"/>
              <a:gd name="connsiteX911" fmla="*/ 3621411 w 9667345"/>
              <a:gd name="connsiteY911" fmla="*/ 3413886 h 6858889"/>
              <a:gd name="connsiteX912" fmla="*/ 3574733 w 9667345"/>
              <a:gd name="connsiteY912" fmla="*/ 2348100 h 6858889"/>
              <a:gd name="connsiteX913" fmla="*/ 3808982 w 9667345"/>
              <a:gd name="connsiteY913" fmla="*/ 1594358 h 6858889"/>
              <a:gd name="connsiteX914" fmla="*/ 3939503 w 9667345"/>
              <a:gd name="connsiteY914" fmla="*/ 1239096 h 6858889"/>
              <a:gd name="connsiteX915" fmla="*/ 4150413 w 9667345"/>
              <a:gd name="connsiteY915" fmla="*/ 0 h 685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</a:cxnLst>
            <a:rect l="l" t="t" r="r" b="b"/>
            <a:pathLst>
              <a:path w="9667345" h="6858889">
                <a:moveTo>
                  <a:pt x="0" y="6810685"/>
                </a:moveTo>
                <a:lnTo>
                  <a:pt x="59283" y="6858456"/>
                </a:lnTo>
                <a:lnTo>
                  <a:pt x="39402" y="6858456"/>
                </a:lnTo>
                <a:lnTo>
                  <a:pt x="0" y="6827674"/>
                </a:lnTo>
                <a:close/>
                <a:moveTo>
                  <a:pt x="0" y="6672270"/>
                </a:moveTo>
                <a:lnTo>
                  <a:pt x="80461" y="6741333"/>
                </a:lnTo>
                <a:cubicBezTo>
                  <a:pt x="130162" y="6780662"/>
                  <a:pt x="180728" y="6819559"/>
                  <a:pt x="232159" y="6857592"/>
                </a:cubicBezTo>
                <a:lnTo>
                  <a:pt x="213144" y="6857592"/>
                </a:lnTo>
                <a:cubicBezTo>
                  <a:pt x="164738" y="6821288"/>
                  <a:pt x="117197" y="6784552"/>
                  <a:pt x="70519" y="6747384"/>
                </a:cubicBezTo>
                <a:lnTo>
                  <a:pt x="0" y="6686879"/>
                </a:lnTo>
                <a:close/>
                <a:moveTo>
                  <a:pt x="0" y="6527854"/>
                </a:moveTo>
                <a:lnTo>
                  <a:pt x="2977" y="6530761"/>
                </a:lnTo>
                <a:cubicBezTo>
                  <a:pt x="64732" y="6587479"/>
                  <a:pt x="128433" y="6642523"/>
                  <a:pt x="194126" y="6695952"/>
                </a:cubicBezTo>
                <a:cubicBezTo>
                  <a:pt x="261117" y="6750841"/>
                  <a:pt x="331564" y="6805297"/>
                  <a:pt x="404173" y="6858024"/>
                </a:cubicBezTo>
                <a:lnTo>
                  <a:pt x="386452" y="6858024"/>
                </a:lnTo>
                <a:cubicBezTo>
                  <a:pt x="315573" y="6807459"/>
                  <a:pt x="246854" y="6755595"/>
                  <a:pt x="180728" y="6702435"/>
                </a:cubicBezTo>
                <a:lnTo>
                  <a:pt x="0" y="6545608"/>
                </a:lnTo>
                <a:close/>
                <a:moveTo>
                  <a:pt x="0" y="6370764"/>
                </a:moveTo>
                <a:lnTo>
                  <a:pt x="116037" y="6485384"/>
                </a:lnTo>
                <a:cubicBezTo>
                  <a:pt x="177042" y="6542099"/>
                  <a:pt x="239940" y="6597143"/>
                  <a:pt x="304768" y="6650572"/>
                </a:cubicBezTo>
                <a:cubicBezTo>
                  <a:pt x="392072" y="6721019"/>
                  <a:pt x="483697" y="6790170"/>
                  <a:pt x="578345" y="6858024"/>
                </a:cubicBezTo>
                <a:lnTo>
                  <a:pt x="559329" y="6858024"/>
                </a:lnTo>
                <a:cubicBezTo>
                  <a:pt x="466839" y="6793196"/>
                  <a:pt x="377808" y="6726206"/>
                  <a:pt x="294395" y="6657055"/>
                </a:cubicBezTo>
                <a:cubicBezTo>
                  <a:pt x="229134" y="6603409"/>
                  <a:pt x="165865" y="6548177"/>
                  <a:pt x="104541" y="6491293"/>
                </a:cubicBezTo>
                <a:lnTo>
                  <a:pt x="0" y="6388228"/>
                </a:lnTo>
                <a:close/>
                <a:moveTo>
                  <a:pt x="0" y="6202503"/>
                </a:moveTo>
                <a:lnTo>
                  <a:pt x="55211" y="6264794"/>
                </a:lnTo>
                <a:cubicBezTo>
                  <a:pt x="168600" y="6385017"/>
                  <a:pt x="289533" y="6498333"/>
                  <a:pt x="418434" y="6605192"/>
                </a:cubicBezTo>
                <a:cubicBezTo>
                  <a:pt x="522593" y="6691631"/>
                  <a:pt x="635828" y="6776340"/>
                  <a:pt x="754680" y="6857592"/>
                </a:cubicBezTo>
                <a:lnTo>
                  <a:pt x="735663" y="6857592"/>
                </a:lnTo>
                <a:cubicBezTo>
                  <a:pt x="620270" y="6778069"/>
                  <a:pt x="510060" y="6695520"/>
                  <a:pt x="408494" y="6611243"/>
                </a:cubicBezTo>
                <a:cubicBezTo>
                  <a:pt x="278836" y="6503843"/>
                  <a:pt x="157336" y="6390123"/>
                  <a:pt x="43521" y="6269568"/>
                </a:cubicBezTo>
                <a:lnTo>
                  <a:pt x="0" y="6220508"/>
                </a:lnTo>
                <a:close/>
                <a:moveTo>
                  <a:pt x="0" y="6024018"/>
                </a:moveTo>
                <a:lnTo>
                  <a:pt x="8034" y="6034410"/>
                </a:lnTo>
                <a:cubicBezTo>
                  <a:pt x="165001" y="6225012"/>
                  <a:pt x="338317" y="6399523"/>
                  <a:pt x="529076" y="6559812"/>
                </a:cubicBezTo>
                <a:cubicBezTo>
                  <a:pt x="652683" y="6662242"/>
                  <a:pt x="789255" y="6762942"/>
                  <a:pt x="932743" y="6858024"/>
                </a:cubicBezTo>
                <a:lnTo>
                  <a:pt x="913294" y="6858024"/>
                </a:lnTo>
                <a:cubicBezTo>
                  <a:pt x="773696" y="6765103"/>
                  <a:pt x="640149" y="6666563"/>
                  <a:pt x="519135" y="6564134"/>
                </a:cubicBezTo>
                <a:cubicBezTo>
                  <a:pt x="391098" y="6457275"/>
                  <a:pt x="271003" y="6343959"/>
                  <a:pt x="158491" y="6223702"/>
                </a:cubicBezTo>
                <a:lnTo>
                  <a:pt x="0" y="6043322"/>
                </a:lnTo>
                <a:close/>
                <a:moveTo>
                  <a:pt x="0" y="5825690"/>
                </a:moveTo>
                <a:lnTo>
                  <a:pt x="125453" y="5989143"/>
                </a:lnTo>
                <a:cubicBezTo>
                  <a:pt x="281200" y="6179631"/>
                  <a:pt x="453280" y="6354142"/>
                  <a:pt x="642743" y="6514432"/>
                </a:cubicBezTo>
                <a:cubicBezTo>
                  <a:pt x="770240" y="6619886"/>
                  <a:pt x="907245" y="6722749"/>
                  <a:pt x="1051163" y="6819992"/>
                </a:cubicBezTo>
                <a:cubicBezTo>
                  <a:pt x="1070613" y="6832525"/>
                  <a:pt x="1090493" y="6845058"/>
                  <a:pt x="1109942" y="6858456"/>
                </a:cubicBezTo>
                <a:lnTo>
                  <a:pt x="1090062" y="6858456"/>
                </a:lnTo>
                <a:cubicBezTo>
                  <a:pt x="1073637" y="6848084"/>
                  <a:pt x="1057215" y="6837712"/>
                  <a:pt x="1040791" y="6826907"/>
                </a:cubicBezTo>
                <a:cubicBezTo>
                  <a:pt x="896871" y="6729664"/>
                  <a:pt x="755977" y="6626369"/>
                  <a:pt x="632370" y="6519185"/>
                </a:cubicBezTo>
                <a:cubicBezTo>
                  <a:pt x="441611" y="6358896"/>
                  <a:pt x="268781" y="6184081"/>
                  <a:pt x="112604" y="5993214"/>
                </a:cubicBezTo>
                <a:lnTo>
                  <a:pt x="0" y="5846530"/>
                </a:lnTo>
                <a:close/>
                <a:moveTo>
                  <a:pt x="0" y="5604549"/>
                </a:moveTo>
                <a:lnTo>
                  <a:pt x="95478" y="5747885"/>
                </a:lnTo>
                <a:cubicBezTo>
                  <a:pt x="286291" y="6016330"/>
                  <a:pt x="505520" y="6255332"/>
                  <a:pt x="756408" y="6469052"/>
                </a:cubicBezTo>
                <a:cubicBezTo>
                  <a:pt x="880449" y="6574506"/>
                  <a:pt x="1017453" y="6677369"/>
                  <a:pt x="1161372" y="6774611"/>
                </a:cubicBezTo>
                <a:cubicBezTo>
                  <a:pt x="1202863" y="6803136"/>
                  <a:pt x="1246083" y="6830364"/>
                  <a:pt x="1289734" y="6857592"/>
                </a:cubicBezTo>
                <a:lnTo>
                  <a:pt x="1271150" y="6857592"/>
                </a:lnTo>
                <a:cubicBezTo>
                  <a:pt x="1230523" y="6832093"/>
                  <a:pt x="1190329" y="6806593"/>
                  <a:pt x="1151432" y="6780662"/>
                </a:cubicBezTo>
                <a:cubicBezTo>
                  <a:pt x="1004054" y="6683419"/>
                  <a:pt x="870076" y="6580125"/>
                  <a:pt x="743010" y="6472941"/>
                </a:cubicBezTo>
                <a:cubicBezTo>
                  <a:pt x="491907" y="6260303"/>
                  <a:pt x="272678" y="6021301"/>
                  <a:pt x="81919" y="5752315"/>
                </a:cubicBezTo>
                <a:lnTo>
                  <a:pt x="0" y="5628996"/>
                </a:lnTo>
                <a:close/>
                <a:moveTo>
                  <a:pt x="0" y="5359076"/>
                </a:moveTo>
                <a:lnTo>
                  <a:pt x="78670" y="5496155"/>
                </a:lnTo>
                <a:cubicBezTo>
                  <a:pt x="296387" y="5850882"/>
                  <a:pt x="557492" y="6157873"/>
                  <a:pt x="867049" y="6423672"/>
                </a:cubicBezTo>
                <a:cubicBezTo>
                  <a:pt x="991088" y="6529127"/>
                  <a:pt x="1128093" y="6631988"/>
                  <a:pt x="1272015" y="6729231"/>
                </a:cubicBezTo>
                <a:cubicBezTo>
                  <a:pt x="1335979" y="6773315"/>
                  <a:pt x="1402536" y="6816102"/>
                  <a:pt x="1469526" y="6857592"/>
                </a:cubicBezTo>
                <a:lnTo>
                  <a:pt x="1450509" y="6857592"/>
                </a:lnTo>
                <a:cubicBezTo>
                  <a:pt x="1385681" y="6818263"/>
                  <a:pt x="1321284" y="6777637"/>
                  <a:pt x="1258184" y="6735282"/>
                </a:cubicBezTo>
                <a:cubicBezTo>
                  <a:pt x="1114264" y="6638039"/>
                  <a:pt x="980285" y="6534745"/>
                  <a:pt x="856678" y="6427561"/>
                </a:cubicBezTo>
                <a:cubicBezTo>
                  <a:pt x="547120" y="6161763"/>
                  <a:pt x="284664" y="5854772"/>
                  <a:pt x="65196" y="5499518"/>
                </a:cubicBezTo>
                <a:lnTo>
                  <a:pt x="0" y="5386698"/>
                </a:lnTo>
                <a:close/>
                <a:moveTo>
                  <a:pt x="0" y="5079907"/>
                </a:moveTo>
                <a:lnTo>
                  <a:pt x="75746" y="5232455"/>
                </a:lnTo>
                <a:cubicBezTo>
                  <a:pt x="314438" y="5681597"/>
                  <a:pt x="611840" y="6058901"/>
                  <a:pt x="980716" y="6377859"/>
                </a:cubicBezTo>
                <a:cubicBezTo>
                  <a:pt x="1100866" y="6483315"/>
                  <a:pt x="1238303" y="6586176"/>
                  <a:pt x="1378765" y="6683419"/>
                </a:cubicBezTo>
                <a:cubicBezTo>
                  <a:pt x="1466068" y="6743925"/>
                  <a:pt x="1558557" y="6801840"/>
                  <a:pt x="1652775" y="6858024"/>
                </a:cubicBezTo>
                <a:lnTo>
                  <a:pt x="1631165" y="6858024"/>
                </a:lnTo>
                <a:cubicBezTo>
                  <a:pt x="1540405" y="6804432"/>
                  <a:pt x="1452670" y="6748680"/>
                  <a:pt x="1368824" y="6690334"/>
                </a:cubicBezTo>
                <a:cubicBezTo>
                  <a:pt x="1224905" y="6593091"/>
                  <a:pt x="1090925" y="6489797"/>
                  <a:pt x="967318" y="6382614"/>
                </a:cubicBezTo>
                <a:cubicBezTo>
                  <a:pt x="600712" y="6063656"/>
                  <a:pt x="301932" y="5685380"/>
                  <a:pt x="62592" y="5235569"/>
                </a:cubicBezTo>
                <a:lnTo>
                  <a:pt x="0" y="5109615"/>
                </a:lnTo>
                <a:close/>
                <a:moveTo>
                  <a:pt x="0" y="4754262"/>
                </a:moveTo>
                <a:lnTo>
                  <a:pt x="86287" y="4958028"/>
                </a:lnTo>
                <a:cubicBezTo>
                  <a:pt x="336960" y="5509160"/>
                  <a:pt x="666675" y="5960362"/>
                  <a:pt x="1091358" y="6332479"/>
                </a:cubicBezTo>
                <a:cubicBezTo>
                  <a:pt x="1214964" y="6437934"/>
                  <a:pt x="1348944" y="6540795"/>
                  <a:pt x="1489406" y="6638039"/>
                </a:cubicBezTo>
                <a:cubicBezTo>
                  <a:pt x="1600048" y="6714537"/>
                  <a:pt x="1716308" y="6787577"/>
                  <a:pt x="1836889" y="6857592"/>
                </a:cubicBezTo>
                <a:lnTo>
                  <a:pt x="1816575" y="6857592"/>
                </a:lnTo>
                <a:cubicBezTo>
                  <a:pt x="1699884" y="6789306"/>
                  <a:pt x="1586651" y="6718427"/>
                  <a:pt x="1479466" y="6644089"/>
                </a:cubicBezTo>
                <a:cubicBezTo>
                  <a:pt x="1335546" y="6546846"/>
                  <a:pt x="1201999" y="6443552"/>
                  <a:pt x="1081417" y="6336369"/>
                </a:cubicBezTo>
                <a:cubicBezTo>
                  <a:pt x="656734" y="5964251"/>
                  <a:pt x="324372" y="5511395"/>
                  <a:pt x="73038" y="4959848"/>
                </a:cubicBezTo>
                <a:lnTo>
                  <a:pt x="0" y="4787554"/>
                </a:lnTo>
                <a:close/>
                <a:moveTo>
                  <a:pt x="0" y="4357497"/>
                </a:moveTo>
                <a:lnTo>
                  <a:pt x="3590" y="4371077"/>
                </a:lnTo>
                <a:cubicBezTo>
                  <a:pt x="33405" y="4468408"/>
                  <a:pt x="67926" y="4568055"/>
                  <a:pt x="107256" y="4670269"/>
                </a:cubicBezTo>
                <a:cubicBezTo>
                  <a:pt x="364842" y="5332819"/>
                  <a:pt x="723130" y="5861822"/>
                  <a:pt x="1205024" y="6287099"/>
                </a:cubicBezTo>
                <a:cubicBezTo>
                  <a:pt x="1325606" y="6392554"/>
                  <a:pt x="1456128" y="6495415"/>
                  <a:pt x="1600048" y="6592659"/>
                </a:cubicBezTo>
                <a:cubicBezTo>
                  <a:pt x="1733164" y="6685148"/>
                  <a:pt x="1874923" y="6773747"/>
                  <a:pt x="2023165" y="6858024"/>
                </a:cubicBezTo>
                <a:lnTo>
                  <a:pt x="2001554" y="6858024"/>
                </a:lnTo>
                <a:cubicBezTo>
                  <a:pt x="1858500" y="6775908"/>
                  <a:pt x="1719334" y="6689469"/>
                  <a:pt x="1587082" y="6599142"/>
                </a:cubicBezTo>
                <a:cubicBezTo>
                  <a:pt x="1446188" y="6501898"/>
                  <a:pt x="1315665" y="6398605"/>
                  <a:pt x="1192058" y="6291421"/>
                </a:cubicBezTo>
                <a:cubicBezTo>
                  <a:pt x="713190" y="5866144"/>
                  <a:pt x="351877" y="5337573"/>
                  <a:pt x="94290" y="4672429"/>
                </a:cubicBezTo>
                <a:lnTo>
                  <a:pt x="0" y="4400852"/>
                </a:lnTo>
                <a:close/>
                <a:moveTo>
                  <a:pt x="0" y="3631903"/>
                </a:moveTo>
                <a:lnTo>
                  <a:pt x="10844" y="3768898"/>
                </a:lnTo>
                <a:cubicBezTo>
                  <a:pt x="44858" y="4035486"/>
                  <a:pt x="118926" y="4317816"/>
                  <a:pt x="234320" y="4624456"/>
                </a:cubicBezTo>
                <a:cubicBezTo>
                  <a:pt x="488449" y="5287439"/>
                  <a:pt x="839822" y="5816009"/>
                  <a:pt x="1315233" y="6239558"/>
                </a:cubicBezTo>
                <a:cubicBezTo>
                  <a:pt x="1435814" y="6347174"/>
                  <a:pt x="1566337" y="6450035"/>
                  <a:pt x="1706800" y="6547278"/>
                </a:cubicBezTo>
                <a:cubicBezTo>
                  <a:pt x="1864118" y="6656623"/>
                  <a:pt x="2028350" y="6758620"/>
                  <a:pt x="2205549" y="6857592"/>
                </a:cubicBezTo>
                <a:lnTo>
                  <a:pt x="2183507" y="6857592"/>
                </a:lnTo>
                <a:cubicBezTo>
                  <a:pt x="2010198" y="6760782"/>
                  <a:pt x="1848127" y="6660513"/>
                  <a:pt x="1696860" y="6553329"/>
                </a:cubicBezTo>
                <a:cubicBezTo>
                  <a:pt x="1556397" y="6456086"/>
                  <a:pt x="1425874" y="6352792"/>
                  <a:pt x="1305292" y="6245609"/>
                </a:cubicBezTo>
                <a:cubicBezTo>
                  <a:pt x="829883" y="5820332"/>
                  <a:pt x="475051" y="5291760"/>
                  <a:pt x="220923" y="4626617"/>
                </a:cubicBezTo>
                <a:cubicBezTo>
                  <a:pt x="142263" y="4421110"/>
                  <a:pt x="82837" y="4226947"/>
                  <a:pt x="42265" y="4041321"/>
                </a:cubicBezTo>
                <a:lnTo>
                  <a:pt x="0" y="3795139"/>
                </a:lnTo>
                <a:close/>
                <a:moveTo>
                  <a:pt x="5434888" y="1729"/>
                </a:moveTo>
                <a:lnTo>
                  <a:pt x="5448286" y="1729"/>
                </a:lnTo>
                <a:cubicBezTo>
                  <a:pt x="5418033" y="302967"/>
                  <a:pt x="5344560" y="600316"/>
                  <a:pt x="5227436" y="893774"/>
                </a:cubicBezTo>
                <a:cubicBezTo>
                  <a:pt x="5173844" y="1019974"/>
                  <a:pt x="5117227" y="1145742"/>
                  <a:pt x="5060177" y="1269781"/>
                </a:cubicBezTo>
                <a:cubicBezTo>
                  <a:pt x="4952995" y="1494521"/>
                  <a:pt x="4842785" y="1727905"/>
                  <a:pt x="4785736" y="1963449"/>
                </a:cubicBezTo>
                <a:cubicBezTo>
                  <a:pt x="4695407" y="2329084"/>
                  <a:pt x="4728687" y="2696879"/>
                  <a:pt x="4768880" y="3010651"/>
                </a:cubicBezTo>
                <a:cubicBezTo>
                  <a:pt x="4832844" y="3470935"/>
                  <a:pt x="4956451" y="4067793"/>
                  <a:pt x="5361416" y="4600686"/>
                </a:cubicBezTo>
                <a:cubicBezTo>
                  <a:pt x="5441371" y="4710462"/>
                  <a:pt x="5538614" y="4817646"/>
                  <a:pt x="5642341" y="4920939"/>
                </a:cubicBezTo>
                <a:cubicBezTo>
                  <a:pt x="5986797" y="5257618"/>
                  <a:pt x="6438438" y="5559287"/>
                  <a:pt x="6990779" y="5817306"/>
                </a:cubicBezTo>
                <a:cubicBezTo>
                  <a:pt x="7131674" y="5883431"/>
                  <a:pt x="7275593" y="5945235"/>
                  <a:pt x="7425997" y="6003148"/>
                </a:cubicBezTo>
                <a:cubicBezTo>
                  <a:pt x="7821020" y="6156144"/>
                  <a:pt x="8255805" y="6287963"/>
                  <a:pt x="8717818" y="6393418"/>
                </a:cubicBezTo>
                <a:cubicBezTo>
                  <a:pt x="9019489" y="6462137"/>
                  <a:pt x="9337150" y="6520050"/>
                  <a:pt x="9666913" y="6567592"/>
                </a:cubicBezTo>
                <a:lnTo>
                  <a:pt x="9666913" y="6576236"/>
                </a:lnTo>
                <a:cubicBezTo>
                  <a:pt x="9335853" y="6528262"/>
                  <a:pt x="9016896" y="6470348"/>
                  <a:pt x="8714362" y="6401198"/>
                </a:cubicBezTo>
                <a:cubicBezTo>
                  <a:pt x="8249322" y="6295742"/>
                  <a:pt x="7814105" y="6163492"/>
                  <a:pt x="7416056" y="6008767"/>
                </a:cubicBezTo>
                <a:cubicBezTo>
                  <a:pt x="7268679" y="5950854"/>
                  <a:pt x="7124759" y="5889050"/>
                  <a:pt x="6984296" y="5822924"/>
                </a:cubicBezTo>
                <a:cubicBezTo>
                  <a:pt x="6428930" y="5564474"/>
                  <a:pt x="5973832" y="5263236"/>
                  <a:pt x="5632400" y="4924397"/>
                </a:cubicBezTo>
                <a:cubicBezTo>
                  <a:pt x="5525216" y="4821103"/>
                  <a:pt x="5431863" y="4713487"/>
                  <a:pt x="5348018" y="4604143"/>
                </a:cubicBezTo>
                <a:cubicBezTo>
                  <a:pt x="4943053" y="4069089"/>
                  <a:pt x="4819014" y="3472232"/>
                  <a:pt x="4755482" y="3009786"/>
                </a:cubicBezTo>
                <a:cubicBezTo>
                  <a:pt x="4712262" y="2697743"/>
                  <a:pt x="4682010" y="2328220"/>
                  <a:pt x="4772337" y="1962585"/>
                </a:cubicBezTo>
                <a:cubicBezTo>
                  <a:pt x="4828955" y="1725312"/>
                  <a:pt x="4939596" y="1491927"/>
                  <a:pt x="5043322" y="1266755"/>
                </a:cubicBezTo>
                <a:cubicBezTo>
                  <a:pt x="5103397" y="1142716"/>
                  <a:pt x="5160446" y="1016517"/>
                  <a:pt x="5210581" y="890749"/>
                </a:cubicBezTo>
                <a:cubicBezTo>
                  <a:pt x="5327704" y="597723"/>
                  <a:pt x="5404635" y="300374"/>
                  <a:pt x="5434888" y="1729"/>
                </a:cubicBezTo>
                <a:close/>
                <a:moveTo>
                  <a:pt x="5575783" y="1297"/>
                </a:moveTo>
                <a:lnTo>
                  <a:pt x="5589181" y="1297"/>
                </a:lnTo>
                <a:cubicBezTo>
                  <a:pt x="5555902" y="288272"/>
                  <a:pt x="5481997" y="573087"/>
                  <a:pt x="5368330" y="854012"/>
                </a:cubicBezTo>
                <a:cubicBezTo>
                  <a:pt x="5314738" y="979780"/>
                  <a:pt x="5254664" y="1107709"/>
                  <a:pt x="5197614" y="1231748"/>
                </a:cubicBezTo>
                <a:cubicBezTo>
                  <a:pt x="5090430" y="1454760"/>
                  <a:pt x="4979790" y="1685982"/>
                  <a:pt x="4919715" y="1921527"/>
                </a:cubicBezTo>
                <a:cubicBezTo>
                  <a:pt x="4825929" y="2282839"/>
                  <a:pt x="4856183" y="2652364"/>
                  <a:pt x="4896376" y="2964406"/>
                </a:cubicBezTo>
                <a:cubicBezTo>
                  <a:pt x="4956883" y="3424691"/>
                  <a:pt x="5077033" y="4021548"/>
                  <a:pt x="5472057" y="4554441"/>
                </a:cubicBezTo>
                <a:cubicBezTo>
                  <a:pt x="5555470" y="4664218"/>
                  <a:pt x="5649256" y="4771402"/>
                  <a:pt x="5752981" y="4874695"/>
                </a:cubicBezTo>
                <a:cubicBezTo>
                  <a:pt x="6094413" y="5213533"/>
                  <a:pt x="6546053" y="5515204"/>
                  <a:pt x="7094937" y="5773223"/>
                </a:cubicBezTo>
                <a:cubicBezTo>
                  <a:pt x="7232375" y="5837187"/>
                  <a:pt x="7376294" y="5898990"/>
                  <a:pt x="7526698" y="5956904"/>
                </a:cubicBezTo>
                <a:cubicBezTo>
                  <a:pt x="7921721" y="6109900"/>
                  <a:pt x="8353481" y="6239990"/>
                  <a:pt x="8818519" y="6343283"/>
                </a:cubicBezTo>
                <a:cubicBezTo>
                  <a:pt x="9090369" y="6405087"/>
                  <a:pt x="9373886" y="6457382"/>
                  <a:pt x="9666913" y="6500602"/>
                </a:cubicBezTo>
                <a:lnTo>
                  <a:pt x="9666913" y="6509246"/>
                </a:lnTo>
                <a:cubicBezTo>
                  <a:pt x="9372158" y="6465594"/>
                  <a:pt x="9086479" y="6413299"/>
                  <a:pt x="8811605" y="6351496"/>
                </a:cubicBezTo>
                <a:cubicBezTo>
                  <a:pt x="8349591" y="6248201"/>
                  <a:pt x="7914374" y="6118112"/>
                  <a:pt x="7516324" y="5965116"/>
                </a:cubicBezTo>
                <a:cubicBezTo>
                  <a:pt x="7368947" y="5907202"/>
                  <a:pt x="7225028" y="5845399"/>
                  <a:pt x="7084564" y="5779273"/>
                </a:cubicBezTo>
                <a:cubicBezTo>
                  <a:pt x="6535681" y="5521255"/>
                  <a:pt x="6080582" y="5217856"/>
                  <a:pt x="5739151" y="4879017"/>
                </a:cubicBezTo>
                <a:cubicBezTo>
                  <a:pt x="5635425" y="4775724"/>
                  <a:pt x="5542072" y="4668108"/>
                  <a:pt x="5458226" y="4558762"/>
                </a:cubicBezTo>
                <a:cubicBezTo>
                  <a:pt x="5059745" y="4023709"/>
                  <a:pt x="4942621" y="3427284"/>
                  <a:pt x="4882546" y="2966567"/>
                </a:cubicBezTo>
                <a:cubicBezTo>
                  <a:pt x="4842352" y="2652364"/>
                  <a:pt x="4812099" y="2282839"/>
                  <a:pt x="4905886" y="1919366"/>
                </a:cubicBezTo>
                <a:cubicBezTo>
                  <a:pt x="4965960" y="1683821"/>
                  <a:pt x="5076601" y="1452598"/>
                  <a:pt x="5180327" y="1229587"/>
                </a:cubicBezTo>
                <a:cubicBezTo>
                  <a:pt x="5240834" y="1105980"/>
                  <a:pt x="5300909" y="977619"/>
                  <a:pt x="5354501" y="851851"/>
                </a:cubicBezTo>
                <a:cubicBezTo>
                  <a:pt x="5468599" y="573087"/>
                  <a:pt x="5542072" y="287840"/>
                  <a:pt x="5575783" y="1297"/>
                </a:cubicBezTo>
                <a:close/>
                <a:moveTo>
                  <a:pt x="5293994" y="1297"/>
                </a:moveTo>
                <a:lnTo>
                  <a:pt x="5307392" y="1297"/>
                </a:lnTo>
                <a:cubicBezTo>
                  <a:pt x="5277139" y="315069"/>
                  <a:pt x="5203665" y="624950"/>
                  <a:pt x="5083083" y="930511"/>
                </a:cubicBezTo>
                <a:cubicBezTo>
                  <a:pt x="5036406" y="1056710"/>
                  <a:pt x="4976332" y="1182478"/>
                  <a:pt x="4919283" y="1306517"/>
                </a:cubicBezTo>
                <a:cubicBezTo>
                  <a:pt x="4815557" y="1533851"/>
                  <a:pt x="4708806" y="1768963"/>
                  <a:pt x="4651756" y="2006668"/>
                </a:cubicBezTo>
                <a:cubicBezTo>
                  <a:pt x="4564885" y="2374031"/>
                  <a:pt x="4598597" y="2741827"/>
                  <a:pt x="4645273" y="3055599"/>
                </a:cubicBezTo>
                <a:cubicBezTo>
                  <a:pt x="4712262" y="3515884"/>
                  <a:pt x="4839328" y="4112741"/>
                  <a:pt x="5247749" y="4645633"/>
                </a:cubicBezTo>
                <a:cubicBezTo>
                  <a:pt x="5331595" y="4755410"/>
                  <a:pt x="5428405" y="4862594"/>
                  <a:pt x="5535589" y="4965888"/>
                </a:cubicBezTo>
                <a:cubicBezTo>
                  <a:pt x="5877020" y="5300404"/>
                  <a:pt x="6335575" y="5602075"/>
                  <a:pt x="6890942" y="5862254"/>
                </a:cubicBezTo>
                <a:cubicBezTo>
                  <a:pt x="7031838" y="5926218"/>
                  <a:pt x="7175758" y="5988023"/>
                  <a:pt x="7326160" y="6045935"/>
                </a:cubicBezTo>
                <a:cubicBezTo>
                  <a:pt x="7721184" y="6201092"/>
                  <a:pt x="8159427" y="6335072"/>
                  <a:pt x="8617983" y="6440527"/>
                </a:cubicBezTo>
                <a:cubicBezTo>
                  <a:pt x="8950770" y="6516161"/>
                  <a:pt x="9301711" y="6580989"/>
                  <a:pt x="9667345" y="6632852"/>
                </a:cubicBezTo>
                <a:lnTo>
                  <a:pt x="9667345" y="6642793"/>
                </a:lnTo>
                <a:cubicBezTo>
                  <a:pt x="9298685" y="6590498"/>
                  <a:pt x="8946016" y="6526101"/>
                  <a:pt x="8614525" y="6448739"/>
                </a:cubicBezTo>
                <a:cubicBezTo>
                  <a:pt x="8152944" y="6341123"/>
                  <a:pt x="7714269" y="6208872"/>
                  <a:pt x="7316220" y="6054147"/>
                </a:cubicBezTo>
                <a:cubicBezTo>
                  <a:pt x="7168842" y="5996234"/>
                  <a:pt x="7021464" y="5934431"/>
                  <a:pt x="6884460" y="5868305"/>
                </a:cubicBezTo>
                <a:cubicBezTo>
                  <a:pt x="6325635" y="5607693"/>
                  <a:pt x="5867512" y="5306455"/>
                  <a:pt x="5522623" y="4969778"/>
                </a:cubicBezTo>
                <a:cubicBezTo>
                  <a:pt x="5415440" y="4866483"/>
                  <a:pt x="5318629" y="4758867"/>
                  <a:pt x="5234783" y="4649523"/>
                </a:cubicBezTo>
                <a:cubicBezTo>
                  <a:pt x="4826361" y="4114469"/>
                  <a:pt x="4695840" y="3515884"/>
                  <a:pt x="4628850" y="3055167"/>
                </a:cubicBezTo>
                <a:cubicBezTo>
                  <a:pt x="4585198" y="2741395"/>
                  <a:pt x="4551920" y="2371870"/>
                  <a:pt x="4638790" y="2004076"/>
                </a:cubicBezTo>
                <a:cubicBezTo>
                  <a:pt x="4695407" y="1766370"/>
                  <a:pt x="4802591" y="1531258"/>
                  <a:pt x="4906318" y="1303924"/>
                </a:cubicBezTo>
                <a:cubicBezTo>
                  <a:pt x="4962934" y="1179885"/>
                  <a:pt x="5019984" y="1053685"/>
                  <a:pt x="5070118" y="927917"/>
                </a:cubicBezTo>
                <a:cubicBezTo>
                  <a:pt x="5190699" y="624518"/>
                  <a:pt x="5264173" y="312908"/>
                  <a:pt x="5293994" y="1297"/>
                </a:cubicBezTo>
                <a:close/>
                <a:moveTo>
                  <a:pt x="5150073" y="1297"/>
                </a:moveTo>
                <a:lnTo>
                  <a:pt x="5163472" y="1297"/>
                </a:lnTo>
                <a:cubicBezTo>
                  <a:pt x="5140133" y="327603"/>
                  <a:pt x="5066228" y="651747"/>
                  <a:pt x="4942621" y="969840"/>
                </a:cubicBezTo>
                <a:cubicBezTo>
                  <a:pt x="4895512" y="1096040"/>
                  <a:pt x="4838895" y="1221807"/>
                  <a:pt x="4781845" y="1343686"/>
                </a:cubicBezTo>
                <a:cubicBezTo>
                  <a:pt x="4681145" y="1572748"/>
                  <a:pt x="4574394" y="1810454"/>
                  <a:pt x="4517344" y="2049888"/>
                </a:cubicBezTo>
                <a:cubicBezTo>
                  <a:pt x="4433499" y="2417251"/>
                  <a:pt x="4470667" y="2786775"/>
                  <a:pt x="4517344" y="3098818"/>
                </a:cubicBezTo>
                <a:cubicBezTo>
                  <a:pt x="4587359" y="3559535"/>
                  <a:pt x="4721339" y="4155959"/>
                  <a:pt x="5136243" y="4691014"/>
                </a:cubicBezTo>
                <a:cubicBezTo>
                  <a:pt x="5220088" y="4800790"/>
                  <a:pt x="5316900" y="4907974"/>
                  <a:pt x="5424084" y="5011268"/>
                </a:cubicBezTo>
                <a:cubicBezTo>
                  <a:pt x="5768540" y="5343623"/>
                  <a:pt x="6230554" y="5645293"/>
                  <a:pt x="6789377" y="5905473"/>
                </a:cubicBezTo>
                <a:cubicBezTo>
                  <a:pt x="6930272" y="5971598"/>
                  <a:pt x="7074193" y="6033402"/>
                  <a:pt x="7224595" y="6091316"/>
                </a:cubicBezTo>
                <a:cubicBezTo>
                  <a:pt x="7623076" y="6248201"/>
                  <a:pt x="8057862" y="6380452"/>
                  <a:pt x="8519875" y="6487636"/>
                </a:cubicBezTo>
                <a:cubicBezTo>
                  <a:pt x="8879026" y="6571913"/>
                  <a:pt x="9262813" y="6643225"/>
                  <a:pt x="9666480" y="6699411"/>
                </a:cubicBezTo>
                <a:lnTo>
                  <a:pt x="9666480" y="6708918"/>
                </a:lnTo>
                <a:cubicBezTo>
                  <a:pt x="9261516" y="6651869"/>
                  <a:pt x="8875568" y="6580557"/>
                  <a:pt x="8513393" y="6495848"/>
                </a:cubicBezTo>
                <a:cubicBezTo>
                  <a:pt x="8051379" y="6388664"/>
                  <a:pt x="7616161" y="6254252"/>
                  <a:pt x="7218112" y="6099527"/>
                </a:cubicBezTo>
                <a:cubicBezTo>
                  <a:pt x="7067710" y="6039452"/>
                  <a:pt x="6920332" y="5977649"/>
                  <a:pt x="6779869" y="5911524"/>
                </a:cubicBezTo>
                <a:cubicBezTo>
                  <a:pt x="6221045" y="5651345"/>
                  <a:pt x="5759032" y="5349674"/>
                  <a:pt x="5411118" y="5015158"/>
                </a:cubicBezTo>
                <a:cubicBezTo>
                  <a:pt x="5303934" y="4911864"/>
                  <a:pt x="5207123" y="4804248"/>
                  <a:pt x="5123278" y="4694903"/>
                </a:cubicBezTo>
                <a:cubicBezTo>
                  <a:pt x="4708373" y="4157688"/>
                  <a:pt x="4574826" y="3561263"/>
                  <a:pt x="4504379" y="3100547"/>
                </a:cubicBezTo>
                <a:cubicBezTo>
                  <a:pt x="4457701" y="2786775"/>
                  <a:pt x="4420534" y="2416819"/>
                  <a:pt x="4504379" y="2047294"/>
                </a:cubicBezTo>
                <a:cubicBezTo>
                  <a:pt x="4561428" y="1807860"/>
                  <a:pt x="4668612" y="1570154"/>
                  <a:pt x="4768880" y="1341093"/>
                </a:cubicBezTo>
                <a:cubicBezTo>
                  <a:pt x="4825929" y="1219214"/>
                  <a:pt x="4882979" y="1093015"/>
                  <a:pt x="4929656" y="967246"/>
                </a:cubicBezTo>
                <a:cubicBezTo>
                  <a:pt x="5053263" y="649153"/>
                  <a:pt x="5127167" y="327170"/>
                  <a:pt x="5150073" y="1297"/>
                </a:cubicBezTo>
                <a:close/>
                <a:moveTo>
                  <a:pt x="5008747" y="1297"/>
                </a:moveTo>
                <a:lnTo>
                  <a:pt x="5022145" y="1297"/>
                </a:lnTo>
                <a:cubicBezTo>
                  <a:pt x="4998807" y="340136"/>
                  <a:pt x="4924902" y="676814"/>
                  <a:pt x="4801294" y="1009169"/>
                </a:cubicBezTo>
                <a:cubicBezTo>
                  <a:pt x="4754618" y="1132776"/>
                  <a:pt x="4697569" y="1258976"/>
                  <a:pt x="4643977" y="1378694"/>
                </a:cubicBezTo>
                <a:cubicBezTo>
                  <a:pt x="4543708" y="1612077"/>
                  <a:pt x="4439982" y="1851512"/>
                  <a:pt x="4386390" y="2093107"/>
                </a:cubicBezTo>
                <a:cubicBezTo>
                  <a:pt x="4302977" y="2462631"/>
                  <a:pt x="4343171" y="2832155"/>
                  <a:pt x="4389848" y="3144198"/>
                </a:cubicBezTo>
                <a:cubicBezTo>
                  <a:pt x="4463320" y="3604915"/>
                  <a:pt x="4600325" y="4201340"/>
                  <a:pt x="5022145" y="4736393"/>
                </a:cubicBezTo>
                <a:cubicBezTo>
                  <a:pt x="5109448" y="4846171"/>
                  <a:pt x="5206258" y="4953355"/>
                  <a:pt x="5313442" y="5056648"/>
                </a:cubicBezTo>
                <a:cubicBezTo>
                  <a:pt x="5661356" y="5386843"/>
                  <a:pt x="6122938" y="5686351"/>
                  <a:pt x="6688676" y="5948692"/>
                </a:cubicBezTo>
                <a:cubicBezTo>
                  <a:pt x="6829571" y="6014818"/>
                  <a:pt x="6973492" y="6076622"/>
                  <a:pt x="7123895" y="6136696"/>
                </a:cubicBezTo>
                <a:cubicBezTo>
                  <a:pt x="7522376" y="6293582"/>
                  <a:pt x="7960618" y="6427993"/>
                  <a:pt x="8419174" y="6537339"/>
                </a:cubicBezTo>
                <a:cubicBezTo>
                  <a:pt x="8805986" y="6628962"/>
                  <a:pt x="9224349" y="6706325"/>
                  <a:pt x="9666049" y="6767264"/>
                </a:cubicBezTo>
                <a:lnTo>
                  <a:pt x="9666049" y="6775908"/>
                </a:lnTo>
                <a:cubicBezTo>
                  <a:pt x="9222187" y="6714537"/>
                  <a:pt x="8802529" y="6637175"/>
                  <a:pt x="8412691" y="6545550"/>
                </a:cubicBezTo>
                <a:cubicBezTo>
                  <a:pt x="7954135" y="6436206"/>
                  <a:pt x="7515460" y="6299633"/>
                  <a:pt x="7117412" y="6142747"/>
                </a:cubicBezTo>
                <a:cubicBezTo>
                  <a:pt x="6967009" y="6084833"/>
                  <a:pt x="6819631" y="6023030"/>
                  <a:pt x="6679169" y="5956904"/>
                </a:cubicBezTo>
                <a:cubicBezTo>
                  <a:pt x="6113862" y="5692402"/>
                  <a:pt x="5651848" y="5392893"/>
                  <a:pt x="5303934" y="5060537"/>
                </a:cubicBezTo>
                <a:cubicBezTo>
                  <a:pt x="5193725" y="4957244"/>
                  <a:pt x="5096482" y="4849628"/>
                  <a:pt x="5009611" y="4740283"/>
                </a:cubicBezTo>
                <a:cubicBezTo>
                  <a:pt x="4588224" y="4203068"/>
                  <a:pt x="4450787" y="3606643"/>
                  <a:pt x="4377314" y="3145926"/>
                </a:cubicBezTo>
                <a:cubicBezTo>
                  <a:pt x="4327180" y="2831723"/>
                  <a:pt x="4290444" y="2462199"/>
                  <a:pt x="4370831" y="2090514"/>
                </a:cubicBezTo>
                <a:cubicBezTo>
                  <a:pt x="4424423" y="1848919"/>
                  <a:pt x="4531607" y="1609484"/>
                  <a:pt x="4631875" y="1376100"/>
                </a:cubicBezTo>
                <a:cubicBezTo>
                  <a:pt x="4685467" y="1256383"/>
                  <a:pt x="4742516" y="1130616"/>
                  <a:pt x="4789193" y="1006575"/>
                </a:cubicBezTo>
                <a:cubicBezTo>
                  <a:pt x="4912800" y="675949"/>
                  <a:pt x="4986705" y="339703"/>
                  <a:pt x="5008747" y="1297"/>
                </a:cubicBezTo>
                <a:close/>
                <a:moveTo>
                  <a:pt x="4865691" y="1297"/>
                </a:moveTo>
                <a:lnTo>
                  <a:pt x="4879089" y="1297"/>
                </a:lnTo>
                <a:cubicBezTo>
                  <a:pt x="4862666" y="352670"/>
                  <a:pt x="4788761" y="703609"/>
                  <a:pt x="4661697" y="1048499"/>
                </a:cubicBezTo>
                <a:cubicBezTo>
                  <a:pt x="4615020" y="1172538"/>
                  <a:pt x="4561428" y="1296577"/>
                  <a:pt x="4507836" y="1416295"/>
                </a:cubicBezTo>
                <a:cubicBezTo>
                  <a:pt x="4407567" y="1649678"/>
                  <a:pt x="4303842" y="1891273"/>
                  <a:pt x="4253707" y="2135030"/>
                </a:cubicBezTo>
                <a:cubicBezTo>
                  <a:pt x="4173320" y="2511036"/>
                  <a:pt x="4216971" y="2895255"/>
                  <a:pt x="4267105" y="3190442"/>
                </a:cubicBezTo>
                <a:cubicBezTo>
                  <a:pt x="4344036" y="3651159"/>
                  <a:pt x="4484930" y="4247584"/>
                  <a:pt x="4909775" y="4782638"/>
                </a:cubicBezTo>
                <a:cubicBezTo>
                  <a:pt x="4996645" y="4892416"/>
                  <a:pt x="5096914" y="4999599"/>
                  <a:pt x="5207555" y="5102893"/>
                </a:cubicBezTo>
                <a:cubicBezTo>
                  <a:pt x="5555470" y="5431358"/>
                  <a:pt x="6020509" y="5730435"/>
                  <a:pt x="6586247" y="5994937"/>
                </a:cubicBezTo>
                <a:cubicBezTo>
                  <a:pt x="6730168" y="6061062"/>
                  <a:pt x="6874087" y="6122866"/>
                  <a:pt x="7024491" y="6180779"/>
                </a:cubicBezTo>
                <a:cubicBezTo>
                  <a:pt x="7426430" y="6339826"/>
                  <a:pt x="7861214" y="6476399"/>
                  <a:pt x="8319770" y="6585744"/>
                </a:cubicBezTo>
                <a:cubicBezTo>
                  <a:pt x="8733378" y="6684284"/>
                  <a:pt x="9185883" y="6769425"/>
                  <a:pt x="9666913" y="6835982"/>
                </a:cubicBezTo>
                <a:lnTo>
                  <a:pt x="9666913" y="6844626"/>
                </a:lnTo>
                <a:cubicBezTo>
                  <a:pt x="9184585" y="6778069"/>
                  <a:pt x="8730784" y="6692928"/>
                  <a:pt x="8316312" y="6593955"/>
                </a:cubicBezTo>
                <a:cubicBezTo>
                  <a:pt x="7854731" y="6484179"/>
                  <a:pt x="7419514" y="6348038"/>
                  <a:pt x="7018008" y="6188992"/>
                </a:cubicBezTo>
                <a:cubicBezTo>
                  <a:pt x="6867604" y="6131078"/>
                  <a:pt x="6720226" y="6067113"/>
                  <a:pt x="6579764" y="6000988"/>
                </a:cubicBezTo>
                <a:cubicBezTo>
                  <a:pt x="6010567" y="5736486"/>
                  <a:pt x="5545529" y="5437409"/>
                  <a:pt x="5194157" y="5106782"/>
                </a:cubicBezTo>
                <a:cubicBezTo>
                  <a:pt x="5083948" y="5003488"/>
                  <a:pt x="4986705" y="4895872"/>
                  <a:pt x="4899835" y="4786528"/>
                </a:cubicBezTo>
                <a:cubicBezTo>
                  <a:pt x="4471532" y="4249313"/>
                  <a:pt x="4327612" y="3650727"/>
                  <a:pt x="4254139" y="3190010"/>
                </a:cubicBezTo>
                <a:cubicBezTo>
                  <a:pt x="4204005" y="2896552"/>
                  <a:pt x="4156895" y="2510604"/>
                  <a:pt x="4240741" y="2134598"/>
                </a:cubicBezTo>
                <a:cubicBezTo>
                  <a:pt x="4290876" y="1890841"/>
                  <a:pt x="4394601" y="1647084"/>
                  <a:pt x="4494870" y="1413701"/>
                </a:cubicBezTo>
                <a:cubicBezTo>
                  <a:pt x="4548030" y="1293552"/>
                  <a:pt x="4601622" y="1169945"/>
                  <a:pt x="4645273" y="1045906"/>
                </a:cubicBezTo>
                <a:cubicBezTo>
                  <a:pt x="4775796" y="701016"/>
                  <a:pt x="4849268" y="351805"/>
                  <a:pt x="4865691" y="1297"/>
                </a:cubicBezTo>
                <a:close/>
                <a:moveTo>
                  <a:pt x="4438253" y="1297"/>
                </a:moveTo>
                <a:lnTo>
                  <a:pt x="4451652" y="1297"/>
                </a:lnTo>
                <a:cubicBezTo>
                  <a:pt x="4441278" y="391567"/>
                  <a:pt x="4371263" y="779675"/>
                  <a:pt x="4237284" y="1163894"/>
                </a:cubicBezTo>
                <a:cubicBezTo>
                  <a:pt x="4194064" y="1285772"/>
                  <a:pt x="4143498" y="1407650"/>
                  <a:pt x="4096821" y="1525207"/>
                </a:cubicBezTo>
                <a:cubicBezTo>
                  <a:pt x="4000010" y="1765073"/>
                  <a:pt x="3899309" y="2014880"/>
                  <a:pt x="3852633" y="2264687"/>
                </a:cubicBezTo>
                <a:cubicBezTo>
                  <a:pt x="3782187" y="2644584"/>
                  <a:pt x="3832320" y="3030532"/>
                  <a:pt x="3889369" y="3323990"/>
                </a:cubicBezTo>
                <a:cubicBezTo>
                  <a:pt x="3972783" y="3784706"/>
                  <a:pt x="4130100" y="4381564"/>
                  <a:pt x="4575258" y="4918347"/>
                </a:cubicBezTo>
                <a:cubicBezTo>
                  <a:pt x="4665586" y="5027691"/>
                  <a:pt x="4766286" y="5135307"/>
                  <a:pt x="4879953" y="5236440"/>
                </a:cubicBezTo>
                <a:cubicBezTo>
                  <a:pt x="5231326" y="5560584"/>
                  <a:pt x="5706304" y="5860093"/>
                  <a:pt x="6285442" y="6126323"/>
                </a:cubicBezTo>
                <a:cubicBezTo>
                  <a:pt x="6425904" y="6192449"/>
                  <a:pt x="6573281" y="6256413"/>
                  <a:pt x="6723685" y="6314327"/>
                </a:cubicBezTo>
                <a:cubicBezTo>
                  <a:pt x="7128648" y="6475103"/>
                  <a:pt x="7566892" y="6615565"/>
                  <a:pt x="8021989" y="6729231"/>
                </a:cubicBezTo>
                <a:cubicBezTo>
                  <a:pt x="8202645" y="6774179"/>
                  <a:pt x="8391946" y="6816966"/>
                  <a:pt x="8590321" y="6858456"/>
                </a:cubicBezTo>
                <a:lnTo>
                  <a:pt x="8546671" y="6858456"/>
                </a:lnTo>
                <a:cubicBezTo>
                  <a:pt x="8362557" y="6819992"/>
                  <a:pt x="8186222" y="6779798"/>
                  <a:pt x="8018964" y="6737876"/>
                </a:cubicBezTo>
                <a:cubicBezTo>
                  <a:pt x="7560409" y="6624641"/>
                  <a:pt x="7122165" y="6484179"/>
                  <a:pt x="6717202" y="6322971"/>
                </a:cubicBezTo>
                <a:cubicBezTo>
                  <a:pt x="6566798" y="6262896"/>
                  <a:pt x="6419421" y="6198932"/>
                  <a:pt x="6275502" y="6134968"/>
                </a:cubicBezTo>
                <a:cubicBezTo>
                  <a:pt x="5696365" y="5866576"/>
                  <a:pt x="5221385" y="5564906"/>
                  <a:pt x="4866555" y="5242923"/>
                </a:cubicBezTo>
                <a:cubicBezTo>
                  <a:pt x="4752457" y="5139629"/>
                  <a:pt x="4652188" y="5032013"/>
                  <a:pt x="4561860" y="4922669"/>
                </a:cubicBezTo>
                <a:cubicBezTo>
                  <a:pt x="4117134" y="4383293"/>
                  <a:pt x="3959817" y="3784706"/>
                  <a:pt x="3875971" y="3326151"/>
                </a:cubicBezTo>
                <a:cubicBezTo>
                  <a:pt x="3819355" y="3030964"/>
                  <a:pt x="3765762" y="2644584"/>
                  <a:pt x="3839235" y="2262526"/>
                </a:cubicBezTo>
                <a:cubicBezTo>
                  <a:pt x="3885911" y="2012287"/>
                  <a:pt x="3986180" y="1764641"/>
                  <a:pt x="4083423" y="1523045"/>
                </a:cubicBezTo>
                <a:cubicBezTo>
                  <a:pt x="4130100" y="1405489"/>
                  <a:pt x="4180235" y="1283611"/>
                  <a:pt x="4223886" y="1161733"/>
                </a:cubicBezTo>
                <a:cubicBezTo>
                  <a:pt x="4357866" y="779675"/>
                  <a:pt x="4428313" y="391567"/>
                  <a:pt x="4438253" y="1297"/>
                </a:cubicBezTo>
                <a:close/>
                <a:moveTo>
                  <a:pt x="3715197" y="1297"/>
                </a:moveTo>
                <a:lnTo>
                  <a:pt x="3728595" y="1297"/>
                </a:lnTo>
                <a:cubicBezTo>
                  <a:pt x="3738534" y="453370"/>
                  <a:pt x="3671545" y="907604"/>
                  <a:pt x="3531083" y="1357948"/>
                </a:cubicBezTo>
                <a:cubicBezTo>
                  <a:pt x="3494347" y="1473776"/>
                  <a:pt x="3450694" y="1591332"/>
                  <a:pt x="3410501" y="1704998"/>
                </a:cubicBezTo>
                <a:cubicBezTo>
                  <a:pt x="3320173" y="1956967"/>
                  <a:pt x="3226388" y="2217146"/>
                  <a:pt x="3186194" y="2479486"/>
                </a:cubicBezTo>
                <a:cubicBezTo>
                  <a:pt x="3142542" y="2782886"/>
                  <a:pt x="3162423" y="3121725"/>
                  <a:pt x="3259665" y="3549162"/>
                </a:cubicBezTo>
                <a:cubicBezTo>
                  <a:pt x="3410070" y="4230297"/>
                  <a:pt x="3641292" y="4723861"/>
                  <a:pt x="4012544" y="5147409"/>
                </a:cubicBezTo>
                <a:cubicBezTo>
                  <a:pt x="4106330" y="5254592"/>
                  <a:pt x="4213513" y="5362207"/>
                  <a:pt x="4330638" y="5463341"/>
                </a:cubicBezTo>
                <a:cubicBezTo>
                  <a:pt x="4691950" y="5774951"/>
                  <a:pt x="5177302" y="6072299"/>
                  <a:pt x="5776320" y="6347174"/>
                </a:cubicBezTo>
                <a:cubicBezTo>
                  <a:pt x="5923697" y="6415028"/>
                  <a:pt x="6071074" y="6478992"/>
                  <a:pt x="6221478" y="6539067"/>
                </a:cubicBezTo>
                <a:cubicBezTo>
                  <a:pt x="6514504" y="6655326"/>
                  <a:pt x="6818767" y="6762510"/>
                  <a:pt x="7132106" y="6858889"/>
                </a:cubicBezTo>
                <a:lnTo>
                  <a:pt x="7102285" y="6858889"/>
                </a:lnTo>
                <a:cubicBezTo>
                  <a:pt x="6797589" y="6765103"/>
                  <a:pt x="6500242" y="6660513"/>
                  <a:pt x="6214995" y="6546414"/>
                </a:cubicBezTo>
                <a:cubicBezTo>
                  <a:pt x="6064159" y="6486339"/>
                  <a:pt x="5913757" y="6422375"/>
                  <a:pt x="5769837" y="6356249"/>
                </a:cubicBezTo>
                <a:cubicBezTo>
                  <a:pt x="5167361" y="6079214"/>
                  <a:pt x="4682010" y="5781866"/>
                  <a:pt x="4320697" y="5468095"/>
                </a:cubicBezTo>
                <a:cubicBezTo>
                  <a:pt x="4203573" y="5366962"/>
                  <a:pt x="4096821" y="5259346"/>
                  <a:pt x="3999578" y="5152162"/>
                </a:cubicBezTo>
                <a:cubicBezTo>
                  <a:pt x="3627894" y="4726885"/>
                  <a:pt x="3397102" y="4233322"/>
                  <a:pt x="3243243" y="3549594"/>
                </a:cubicBezTo>
                <a:cubicBezTo>
                  <a:pt x="3186194" y="3281203"/>
                  <a:pt x="3112721" y="2878400"/>
                  <a:pt x="3172796" y="2477758"/>
                </a:cubicBezTo>
                <a:cubicBezTo>
                  <a:pt x="3212988" y="2215417"/>
                  <a:pt x="3306775" y="1955237"/>
                  <a:pt x="3397102" y="1703270"/>
                </a:cubicBezTo>
                <a:cubicBezTo>
                  <a:pt x="3437296" y="1589603"/>
                  <a:pt x="3477491" y="1472047"/>
                  <a:pt x="3514226" y="1356220"/>
                </a:cubicBezTo>
                <a:cubicBezTo>
                  <a:pt x="3658147" y="908036"/>
                  <a:pt x="3725137" y="453370"/>
                  <a:pt x="3715197" y="1297"/>
                </a:cubicBezTo>
                <a:close/>
                <a:moveTo>
                  <a:pt x="3566955" y="1297"/>
                </a:moveTo>
                <a:lnTo>
                  <a:pt x="3583809" y="1297"/>
                </a:lnTo>
                <a:cubicBezTo>
                  <a:pt x="3593751" y="465903"/>
                  <a:pt x="3530218" y="932671"/>
                  <a:pt x="3386299" y="1395117"/>
                </a:cubicBezTo>
                <a:cubicBezTo>
                  <a:pt x="3353019" y="1510944"/>
                  <a:pt x="3312826" y="1628500"/>
                  <a:pt x="3272631" y="1740006"/>
                </a:cubicBezTo>
                <a:cubicBezTo>
                  <a:pt x="3182303" y="1994135"/>
                  <a:pt x="3091976" y="2258205"/>
                  <a:pt x="3055239" y="2520545"/>
                </a:cubicBezTo>
                <a:cubicBezTo>
                  <a:pt x="3011588" y="2826105"/>
                  <a:pt x="3034926" y="3167104"/>
                  <a:pt x="3132169" y="3592381"/>
                </a:cubicBezTo>
                <a:cubicBezTo>
                  <a:pt x="3228980" y="4015497"/>
                  <a:pt x="3413094" y="4643472"/>
                  <a:pt x="3898445" y="5192789"/>
                </a:cubicBezTo>
                <a:cubicBezTo>
                  <a:pt x="3995256" y="5299972"/>
                  <a:pt x="4102439" y="5407588"/>
                  <a:pt x="4223022" y="5508721"/>
                </a:cubicBezTo>
                <a:cubicBezTo>
                  <a:pt x="4587792" y="5822492"/>
                  <a:pt x="5063203" y="6111629"/>
                  <a:pt x="5675619" y="6392554"/>
                </a:cubicBezTo>
                <a:cubicBezTo>
                  <a:pt x="5822996" y="6458678"/>
                  <a:pt x="5973400" y="6522644"/>
                  <a:pt x="6120777" y="6584447"/>
                </a:cubicBezTo>
                <a:cubicBezTo>
                  <a:pt x="6369287" y="6682122"/>
                  <a:pt x="6624280" y="6773747"/>
                  <a:pt x="6884460" y="6858024"/>
                </a:cubicBezTo>
                <a:lnTo>
                  <a:pt x="6853343" y="6858024"/>
                </a:lnTo>
                <a:cubicBezTo>
                  <a:pt x="6600943" y="6775908"/>
                  <a:pt x="6353296" y="6686444"/>
                  <a:pt x="6113862" y="6590931"/>
                </a:cubicBezTo>
                <a:cubicBezTo>
                  <a:pt x="5963026" y="6531288"/>
                  <a:pt x="5812624" y="6467323"/>
                  <a:pt x="5665247" y="6399037"/>
                </a:cubicBezTo>
                <a:cubicBezTo>
                  <a:pt x="5052831" y="6118112"/>
                  <a:pt x="4577851" y="5828975"/>
                  <a:pt x="4209623" y="5513043"/>
                </a:cubicBezTo>
                <a:cubicBezTo>
                  <a:pt x="4092499" y="5411910"/>
                  <a:pt x="3982290" y="5304294"/>
                  <a:pt x="3888505" y="5197111"/>
                </a:cubicBezTo>
                <a:cubicBezTo>
                  <a:pt x="3399696" y="4645633"/>
                  <a:pt x="3216015" y="4018091"/>
                  <a:pt x="3118771" y="3594543"/>
                </a:cubicBezTo>
                <a:cubicBezTo>
                  <a:pt x="3021528" y="3168832"/>
                  <a:pt x="2994731" y="2826105"/>
                  <a:pt x="3038384" y="2520545"/>
                </a:cubicBezTo>
                <a:cubicBezTo>
                  <a:pt x="3078578" y="2256043"/>
                  <a:pt x="3168906" y="1994135"/>
                  <a:pt x="3259234" y="1737845"/>
                </a:cubicBezTo>
                <a:cubicBezTo>
                  <a:pt x="3295971" y="1626340"/>
                  <a:pt x="3339622" y="1510944"/>
                  <a:pt x="3372899" y="1395117"/>
                </a:cubicBezTo>
                <a:cubicBezTo>
                  <a:pt x="3516821" y="932671"/>
                  <a:pt x="3580353" y="465903"/>
                  <a:pt x="3566955" y="1297"/>
                </a:cubicBezTo>
                <a:close/>
                <a:moveTo>
                  <a:pt x="3423467" y="1297"/>
                </a:moveTo>
                <a:lnTo>
                  <a:pt x="3436865" y="1297"/>
                </a:lnTo>
                <a:cubicBezTo>
                  <a:pt x="3453720" y="478437"/>
                  <a:pt x="3390188" y="959467"/>
                  <a:pt x="3246268" y="1434446"/>
                </a:cubicBezTo>
                <a:cubicBezTo>
                  <a:pt x="3212557" y="1549842"/>
                  <a:pt x="3172364" y="1663508"/>
                  <a:pt x="3135627" y="1775013"/>
                </a:cubicBezTo>
                <a:cubicBezTo>
                  <a:pt x="3048324" y="2033033"/>
                  <a:pt x="2957995" y="2297534"/>
                  <a:pt x="2921258" y="2563764"/>
                </a:cubicBezTo>
                <a:cubicBezTo>
                  <a:pt x="2878041" y="2871485"/>
                  <a:pt x="2907861" y="3212484"/>
                  <a:pt x="3005104" y="3637761"/>
                </a:cubicBezTo>
                <a:cubicBezTo>
                  <a:pt x="3165880" y="4311116"/>
                  <a:pt x="3413525" y="4818942"/>
                  <a:pt x="3788238" y="5238168"/>
                </a:cubicBezTo>
                <a:cubicBezTo>
                  <a:pt x="3885047" y="5345352"/>
                  <a:pt x="3992231" y="5452968"/>
                  <a:pt x="4112813" y="5554101"/>
                </a:cubicBezTo>
                <a:cubicBezTo>
                  <a:pt x="4481040" y="5865712"/>
                  <a:pt x="4956451" y="6154848"/>
                  <a:pt x="5575351" y="6435773"/>
                </a:cubicBezTo>
                <a:cubicBezTo>
                  <a:pt x="5722728" y="6503627"/>
                  <a:pt x="5873131" y="6567592"/>
                  <a:pt x="6020509" y="6627666"/>
                </a:cubicBezTo>
                <a:cubicBezTo>
                  <a:pt x="6223206" y="6709783"/>
                  <a:pt x="6432387" y="6786281"/>
                  <a:pt x="6644161" y="6857592"/>
                </a:cubicBezTo>
                <a:lnTo>
                  <a:pt x="6615637" y="6857592"/>
                </a:lnTo>
                <a:cubicBezTo>
                  <a:pt x="6411209" y="6788009"/>
                  <a:pt x="6210240" y="6714537"/>
                  <a:pt x="6014025" y="6635877"/>
                </a:cubicBezTo>
                <a:cubicBezTo>
                  <a:pt x="5863191" y="6574074"/>
                  <a:pt x="5712788" y="6510110"/>
                  <a:pt x="5565410" y="6443985"/>
                </a:cubicBezTo>
                <a:cubicBezTo>
                  <a:pt x="4949536" y="6160899"/>
                  <a:pt x="4467642" y="5871762"/>
                  <a:pt x="4102871" y="5557991"/>
                </a:cubicBezTo>
                <a:cubicBezTo>
                  <a:pt x="3982290" y="5456858"/>
                  <a:pt x="3872082" y="5349242"/>
                  <a:pt x="3774838" y="5242058"/>
                </a:cubicBezTo>
                <a:cubicBezTo>
                  <a:pt x="3400127" y="4822832"/>
                  <a:pt x="3149025" y="4312846"/>
                  <a:pt x="2991707" y="3639491"/>
                </a:cubicBezTo>
                <a:cubicBezTo>
                  <a:pt x="2891006" y="3214213"/>
                  <a:pt x="2864210" y="2871485"/>
                  <a:pt x="2907861" y="2563764"/>
                </a:cubicBezTo>
                <a:cubicBezTo>
                  <a:pt x="2941572" y="2297534"/>
                  <a:pt x="3031900" y="2031303"/>
                  <a:pt x="3122227" y="1775013"/>
                </a:cubicBezTo>
                <a:cubicBezTo>
                  <a:pt x="3159398" y="1663508"/>
                  <a:pt x="3199590" y="1548113"/>
                  <a:pt x="3232870" y="1432286"/>
                </a:cubicBezTo>
                <a:cubicBezTo>
                  <a:pt x="3376790" y="957306"/>
                  <a:pt x="3440323" y="476276"/>
                  <a:pt x="3423467" y="1297"/>
                </a:cubicBezTo>
                <a:close/>
                <a:moveTo>
                  <a:pt x="3276521" y="1297"/>
                </a:moveTo>
                <a:lnTo>
                  <a:pt x="3293377" y="1297"/>
                </a:lnTo>
                <a:cubicBezTo>
                  <a:pt x="3313258" y="490971"/>
                  <a:pt x="3249726" y="984535"/>
                  <a:pt x="3105805" y="1473776"/>
                </a:cubicBezTo>
                <a:cubicBezTo>
                  <a:pt x="3072095" y="1587442"/>
                  <a:pt x="3035357" y="1701108"/>
                  <a:pt x="2998622" y="1812614"/>
                </a:cubicBezTo>
                <a:cubicBezTo>
                  <a:pt x="2911319" y="2071065"/>
                  <a:pt x="2820991" y="2339456"/>
                  <a:pt x="2787713" y="2607848"/>
                </a:cubicBezTo>
                <a:cubicBezTo>
                  <a:pt x="2747519" y="2917297"/>
                  <a:pt x="2777772" y="3258297"/>
                  <a:pt x="2881497" y="3683573"/>
                </a:cubicBezTo>
                <a:cubicBezTo>
                  <a:pt x="3042273" y="4356929"/>
                  <a:pt x="3296402" y="4864755"/>
                  <a:pt x="3674571" y="5283981"/>
                </a:cubicBezTo>
                <a:cubicBezTo>
                  <a:pt x="3771814" y="5391164"/>
                  <a:pt x="3882022" y="5498780"/>
                  <a:pt x="4002604" y="5599913"/>
                </a:cubicBezTo>
                <a:cubicBezTo>
                  <a:pt x="4370831" y="5909363"/>
                  <a:pt x="4852726" y="6196771"/>
                  <a:pt x="5471625" y="6481585"/>
                </a:cubicBezTo>
                <a:cubicBezTo>
                  <a:pt x="5619002" y="6547711"/>
                  <a:pt x="5769837" y="6611675"/>
                  <a:pt x="5920240" y="6673478"/>
                </a:cubicBezTo>
                <a:cubicBezTo>
                  <a:pt x="6081880" y="6737876"/>
                  <a:pt x="6244384" y="6799679"/>
                  <a:pt x="6409913" y="6858024"/>
                </a:cubicBezTo>
                <a:lnTo>
                  <a:pt x="6380956" y="6858024"/>
                </a:lnTo>
                <a:cubicBezTo>
                  <a:pt x="6222774" y="6801840"/>
                  <a:pt x="6066753" y="6742629"/>
                  <a:pt x="5913757" y="6679961"/>
                </a:cubicBezTo>
                <a:cubicBezTo>
                  <a:pt x="5762922" y="6620318"/>
                  <a:pt x="5612519" y="6556355"/>
                  <a:pt x="5465142" y="6488068"/>
                </a:cubicBezTo>
                <a:cubicBezTo>
                  <a:pt x="4842785" y="6203253"/>
                  <a:pt x="4360891" y="5916278"/>
                  <a:pt x="3992663" y="5604236"/>
                </a:cubicBezTo>
                <a:cubicBezTo>
                  <a:pt x="3872082" y="5503103"/>
                  <a:pt x="3761872" y="5395487"/>
                  <a:pt x="3664629" y="5288303"/>
                </a:cubicBezTo>
                <a:cubicBezTo>
                  <a:pt x="3283004" y="4869077"/>
                  <a:pt x="3028443" y="4359091"/>
                  <a:pt x="2864642" y="3685734"/>
                </a:cubicBezTo>
                <a:cubicBezTo>
                  <a:pt x="2764374" y="3260457"/>
                  <a:pt x="2734121" y="2917730"/>
                  <a:pt x="2774314" y="2605687"/>
                </a:cubicBezTo>
                <a:cubicBezTo>
                  <a:pt x="2807594" y="2336863"/>
                  <a:pt x="2897921" y="2068472"/>
                  <a:pt x="2981766" y="1810454"/>
                </a:cubicBezTo>
                <a:cubicBezTo>
                  <a:pt x="3018935" y="1698947"/>
                  <a:pt x="3059128" y="1585281"/>
                  <a:pt x="3092408" y="1471615"/>
                </a:cubicBezTo>
                <a:cubicBezTo>
                  <a:pt x="3236328" y="982373"/>
                  <a:pt x="3296402" y="488809"/>
                  <a:pt x="3276521" y="1297"/>
                </a:cubicBezTo>
                <a:close/>
                <a:moveTo>
                  <a:pt x="3132169" y="1297"/>
                </a:moveTo>
                <a:lnTo>
                  <a:pt x="3145566" y="1297"/>
                </a:lnTo>
                <a:cubicBezTo>
                  <a:pt x="3168906" y="501343"/>
                  <a:pt x="3108830" y="1009169"/>
                  <a:pt x="2964911" y="1513105"/>
                </a:cubicBezTo>
                <a:cubicBezTo>
                  <a:pt x="2931201" y="1624611"/>
                  <a:pt x="2894463" y="1738277"/>
                  <a:pt x="2857726" y="1845461"/>
                </a:cubicBezTo>
                <a:cubicBezTo>
                  <a:pt x="2774314" y="2107801"/>
                  <a:pt x="2687012" y="2378353"/>
                  <a:pt x="2653732" y="2651066"/>
                </a:cubicBezTo>
                <a:cubicBezTo>
                  <a:pt x="2616996" y="2960516"/>
                  <a:pt x="2650275" y="3303677"/>
                  <a:pt x="2754001" y="3728954"/>
                </a:cubicBezTo>
                <a:cubicBezTo>
                  <a:pt x="2921258" y="4400148"/>
                  <a:pt x="3179278" y="4910135"/>
                  <a:pt x="3563930" y="5329361"/>
                </a:cubicBezTo>
                <a:cubicBezTo>
                  <a:pt x="3661173" y="5436545"/>
                  <a:pt x="3774838" y="5544161"/>
                  <a:pt x="3895420" y="5643133"/>
                </a:cubicBezTo>
                <a:cubicBezTo>
                  <a:pt x="4263647" y="5950854"/>
                  <a:pt x="4745542" y="6239990"/>
                  <a:pt x="5371356" y="6524804"/>
                </a:cubicBezTo>
                <a:cubicBezTo>
                  <a:pt x="5518733" y="6593091"/>
                  <a:pt x="5672594" y="6657055"/>
                  <a:pt x="5819971" y="6718859"/>
                </a:cubicBezTo>
                <a:cubicBezTo>
                  <a:pt x="5940552" y="6766400"/>
                  <a:pt x="6061566" y="6813076"/>
                  <a:pt x="6183877" y="6858024"/>
                </a:cubicBezTo>
                <a:lnTo>
                  <a:pt x="6156648" y="6858024"/>
                </a:lnTo>
                <a:cubicBezTo>
                  <a:pt x="6040821" y="6815238"/>
                  <a:pt x="5925858" y="6771154"/>
                  <a:pt x="5813056" y="6725342"/>
                </a:cubicBezTo>
                <a:cubicBezTo>
                  <a:pt x="5662221" y="6665699"/>
                  <a:pt x="5511818" y="6599574"/>
                  <a:pt x="5364441" y="6531288"/>
                </a:cubicBezTo>
                <a:cubicBezTo>
                  <a:pt x="4735169" y="6246473"/>
                  <a:pt x="4253275" y="5957337"/>
                  <a:pt x="3882022" y="5649616"/>
                </a:cubicBezTo>
                <a:cubicBezTo>
                  <a:pt x="3761440" y="5548483"/>
                  <a:pt x="3650800" y="5443028"/>
                  <a:pt x="3550532" y="5333683"/>
                </a:cubicBezTo>
                <a:cubicBezTo>
                  <a:pt x="3165448" y="4912296"/>
                  <a:pt x="2907861" y="4404038"/>
                  <a:pt x="2740603" y="3728954"/>
                </a:cubicBezTo>
                <a:cubicBezTo>
                  <a:pt x="2633852" y="3303677"/>
                  <a:pt x="2603598" y="2960948"/>
                  <a:pt x="2640334" y="2648906"/>
                </a:cubicBezTo>
                <a:cubicBezTo>
                  <a:pt x="2673614" y="2378353"/>
                  <a:pt x="2760485" y="2105641"/>
                  <a:pt x="2844328" y="1845461"/>
                </a:cubicBezTo>
                <a:cubicBezTo>
                  <a:pt x="2881065" y="1736116"/>
                  <a:pt x="2917801" y="1622449"/>
                  <a:pt x="2948056" y="1510944"/>
                </a:cubicBezTo>
                <a:cubicBezTo>
                  <a:pt x="3095432" y="1007009"/>
                  <a:pt x="3155507" y="500911"/>
                  <a:pt x="3132169" y="1297"/>
                </a:cubicBezTo>
                <a:close/>
                <a:moveTo>
                  <a:pt x="1666605" y="1297"/>
                </a:moveTo>
                <a:lnTo>
                  <a:pt x="1680003" y="1297"/>
                </a:lnTo>
                <a:cubicBezTo>
                  <a:pt x="1680003" y="7348"/>
                  <a:pt x="1680003" y="13831"/>
                  <a:pt x="1680003" y="19882"/>
                </a:cubicBezTo>
                <a:cubicBezTo>
                  <a:pt x="1737053" y="624950"/>
                  <a:pt x="1693402" y="1256815"/>
                  <a:pt x="1549482" y="1899053"/>
                </a:cubicBezTo>
                <a:cubicBezTo>
                  <a:pt x="1529168" y="1995864"/>
                  <a:pt x="1505831" y="2093107"/>
                  <a:pt x="1482491" y="2186028"/>
                </a:cubicBezTo>
                <a:cubicBezTo>
                  <a:pt x="1408587" y="2477326"/>
                  <a:pt x="1335114" y="2778564"/>
                  <a:pt x="1321715" y="3078073"/>
                </a:cubicBezTo>
                <a:cubicBezTo>
                  <a:pt x="1308318" y="3402217"/>
                  <a:pt x="1365367" y="3761800"/>
                  <a:pt x="1495889" y="4176705"/>
                </a:cubicBezTo>
                <a:cubicBezTo>
                  <a:pt x="1706800" y="4847899"/>
                  <a:pt x="2008038" y="5360047"/>
                  <a:pt x="2439797" y="5785324"/>
                </a:cubicBezTo>
                <a:cubicBezTo>
                  <a:pt x="2550006" y="5892940"/>
                  <a:pt x="2670587" y="5996234"/>
                  <a:pt x="2801111" y="6095205"/>
                </a:cubicBezTo>
                <a:cubicBezTo>
                  <a:pt x="3137787" y="6352360"/>
                  <a:pt x="3550964" y="6591363"/>
                  <a:pt x="4120160" y="6858024"/>
                </a:cubicBezTo>
                <a:lnTo>
                  <a:pt x="4095092" y="6858024"/>
                </a:lnTo>
                <a:cubicBezTo>
                  <a:pt x="3533675" y="6593955"/>
                  <a:pt x="3123958" y="6356681"/>
                  <a:pt x="2790738" y="6101688"/>
                </a:cubicBezTo>
                <a:cubicBezTo>
                  <a:pt x="2660216" y="6002284"/>
                  <a:pt x="2536609" y="5896829"/>
                  <a:pt x="2425967" y="5789646"/>
                </a:cubicBezTo>
                <a:cubicBezTo>
                  <a:pt x="1994207" y="5364369"/>
                  <a:pt x="1693402" y="4852221"/>
                  <a:pt x="1479034" y="4178866"/>
                </a:cubicBezTo>
                <a:cubicBezTo>
                  <a:pt x="1348512" y="3763530"/>
                  <a:pt x="1294921" y="3404378"/>
                  <a:pt x="1308318" y="3078073"/>
                </a:cubicBezTo>
                <a:cubicBezTo>
                  <a:pt x="1321715" y="2776403"/>
                  <a:pt x="1395622" y="2475165"/>
                  <a:pt x="1469093" y="2183867"/>
                </a:cubicBezTo>
                <a:cubicBezTo>
                  <a:pt x="1489406" y="2090946"/>
                  <a:pt x="1512745" y="1994135"/>
                  <a:pt x="1536083" y="1899053"/>
                </a:cubicBezTo>
                <a:cubicBezTo>
                  <a:pt x="1680003" y="1256815"/>
                  <a:pt x="1723655" y="624950"/>
                  <a:pt x="1666605" y="19882"/>
                </a:cubicBezTo>
                <a:cubicBezTo>
                  <a:pt x="1666605" y="13831"/>
                  <a:pt x="1666605" y="7348"/>
                  <a:pt x="1666605" y="1297"/>
                </a:cubicBezTo>
                <a:close/>
                <a:moveTo>
                  <a:pt x="5716245" y="865"/>
                </a:moveTo>
                <a:lnTo>
                  <a:pt x="5729643" y="865"/>
                </a:lnTo>
                <a:cubicBezTo>
                  <a:pt x="5692906" y="275739"/>
                  <a:pt x="5619434" y="548452"/>
                  <a:pt x="5508793" y="814683"/>
                </a:cubicBezTo>
                <a:cubicBezTo>
                  <a:pt x="5455201" y="942611"/>
                  <a:pt x="5394694" y="1070541"/>
                  <a:pt x="5334619" y="1194580"/>
                </a:cubicBezTo>
                <a:cubicBezTo>
                  <a:pt x="5223979" y="1415429"/>
                  <a:pt x="5113769" y="1644491"/>
                  <a:pt x="5053695" y="1878739"/>
                </a:cubicBezTo>
                <a:cubicBezTo>
                  <a:pt x="4956451" y="2237891"/>
                  <a:pt x="4983248" y="2607416"/>
                  <a:pt x="5023441" y="2919458"/>
                </a:cubicBezTo>
                <a:cubicBezTo>
                  <a:pt x="5077033" y="3379743"/>
                  <a:pt x="5194157" y="3976600"/>
                  <a:pt x="5585723" y="4509493"/>
                </a:cubicBezTo>
                <a:cubicBezTo>
                  <a:pt x="5990687" y="5060537"/>
                  <a:pt x="6716769" y="5560584"/>
                  <a:pt x="7626966" y="5911524"/>
                </a:cubicBezTo>
                <a:cubicBezTo>
                  <a:pt x="8232035" y="6146204"/>
                  <a:pt x="8915763" y="6321675"/>
                  <a:pt x="9666913" y="6434908"/>
                </a:cubicBezTo>
                <a:lnTo>
                  <a:pt x="9666913" y="6443985"/>
                </a:lnTo>
                <a:cubicBezTo>
                  <a:pt x="8913170" y="6330750"/>
                  <a:pt x="8225552" y="6154848"/>
                  <a:pt x="7617025" y="5919736"/>
                </a:cubicBezTo>
                <a:cubicBezTo>
                  <a:pt x="7171868" y="5746426"/>
                  <a:pt x="6770362" y="5539838"/>
                  <a:pt x="6425472" y="5306455"/>
                </a:cubicBezTo>
                <a:cubicBezTo>
                  <a:pt x="6067617" y="5062699"/>
                  <a:pt x="5779778" y="4796468"/>
                  <a:pt x="5572325" y="4513383"/>
                </a:cubicBezTo>
                <a:cubicBezTo>
                  <a:pt x="5180759" y="3980490"/>
                  <a:pt x="5063635" y="3381904"/>
                  <a:pt x="5006586" y="2921188"/>
                </a:cubicBezTo>
                <a:cubicBezTo>
                  <a:pt x="4969849" y="2607416"/>
                  <a:pt x="4943053" y="2237459"/>
                  <a:pt x="5036839" y="1876146"/>
                </a:cubicBezTo>
                <a:cubicBezTo>
                  <a:pt x="5100372" y="1642763"/>
                  <a:pt x="5210581" y="1413269"/>
                  <a:pt x="5321221" y="1192419"/>
                </a:cubicBezTo>
                <a:cubicBezTo>
                  <a:pt x="5381728" y="1068812"/>
                  <a:pt x="5441803" y="940451"/>
                  <a:pt x="5495395" y="812521"/>
                </a:cubicBezTo>
                <a:cubicBezTo>
                  <a:pt x="5605604" y="545859"/>
                  <a:pt x="5679509" y="273579"/>
                  <a:pt x="5716245" y="865"/>
                </a:cubicBezTo>
                <a:close/>
                <a:moveTo>
                  <a:pt x="4726525" y="865"/>
                </a:moveTo>
                <a:lnTo>
                  <a:pt x="4739923" y="865"/>
                </a:lnTo>
                <a:cubicBezTo>
                  <a:pt x="4723068" y="366500"/>
                  <a:pt x="4649595" y="727812"/>
                  <a:pt x="4519073" y="1085235"/>
                </a:cubicBezTo>
                <a:cubicBezTo>
                  <a:pt x="4475422" y="1209274"/>
                  <a:pt x="4421830" y="1333313"/>
                  <a:pt x="4371695" y="1453030"/>
                </a:cubicBezTo>
                <a:cubicBezTo>
                  <a:pt x="4274453" y="1688575"/>
                  <a:pt x="4170726" y="1931899"/>
                  <a:pt x="4120592" y="2177816"/>
                </a:cubicBezTo>
                <a:cubicBezTo>
                  <a:pt x="4043230" y="2555552"/>
                  <a:pt x="4090338" y="2939771"/>
                  <a:pt x="4140473" y="3234958"/>
                </a:cubicBezTo>
                <a:cubicBezTo>
                  <a:pt x="4220429" y="3693514"/>
                  <a:pt x="4367806" y="4290372"/>
                  <a:pt x="4799566" y="4827154"/>
                </a:cubicBezTo>
                <a:cubicBezTo>
                  <a:pt x="4886436" y="4936498"/>
                  <a:pt x="4986705" y="5044114"/>
                  <a:pt x="5097346" y="5145247"/>
                </a:cubicBezTo>
                <a:cubicBezTo>
                  <a:pt x="5448718" y="5473714"/>
                  <a:pt x="5913757" y="5772791"/>
                  <a:pt x="6485979" y="6037292"/>
                </a:cubicBezTo>
                <a:cubicBezTo>
                  <a:pt x="6626441" y="6103417"/>
                  <a:pt x="6773819" y="6167382"/>
                  <a:pt x="6924221" y="6225295"/>
                </a:cubicBezTo>
                <a:cubicBezTo>
                  <a:pt x="7325729" y="6384342"/>
                  <a:pt x="7763970" y="6520482"/>
                  <a:pt x="8222527" y="6631988"/>
                </a:cubicBezTo>
                <a:cubicBezTo>
                  <a:pt x="8573466" y="6718427"/>
                  <a:pt x="8955524" y="6793628"/>
                  <a:pt x="9362217" y="6858024"/>
                </a:cubicBezTo>
                <a:lnTo>
                  <a:pt x="9306465" y="6858024"/>
                </a:lnTo>
                <a:cubicBezTo>
                  <a:pt x="8917924" y="6795789"/>
                  <a:pt x="8552290" y="6723181"/>
                  <a:pt x="8216044" y="6640632"/>
                </a:cubicBezTo>
                <a:cubicBezTo>
                  <a:pt x="7757921" y="6529127"/>
                  <a:pt x="7319246" y="6392986"/>
                  <a:pt x="6917738" y="6233939"/>
                </a:cubicBezTo>
                <a:cubicBezTo>
                  <a:pt x="6767336" y="6173865"/>
                  <a:pt x="6619958" y="6112061"/>
                  <a:pt x="6479496" y="6045935"/>
                </a:cubicBezTo>
                <a:cubicBezTo>
                  <a:pt x="5903817" y="5779706"/>
                  <a:pt x="5435320" y="5478035"/>
                  <a:pt x="5083948" y="5151730"/>
                </a:cubicBezTo>
                <a:cubicBezTo>
                  <a:pt x="4973739" y="5048437"/>
                  <a:pt x="4873038" y="4940821"/>
                  <a:pt x="4786168" y="4831476"/>
                </a:cubicBezTo>
                <a:cubicBezTo>
                  <a:pt x="4354840" y="4294261"/>
                  <a:pt x="4207463" y="3695676"/>
                  <a:pt x="4127075" y="3234958"/>
                </a:cubicBezTo>
                <a:cubicBezTo>
                  <a:pt x="4076940" y="2939771"/>
                  <a:pt x="4026807" y="2553824"/>
                  <a:pt x="4107194" y="2177816"/>
                </a:cubicBezTo>
                <a:cubicBezTo>
                  <a:pt x="4157329" y="1930170"/>
                  <a:pt x="4261054" y="1686415"/>
                  <a:pt x="4358298" y="1450869"/>
                </a:cubicBezTo>
                <a:cubicBezTo>
                  <a:pt x="4408432" y="1330721"/>
                  <a:pt x="4462023" y="1207113"/>
                  <a:pt x="4505676" y="1083075"/>
                </a:cubicBezTo>
                <a:cubicBezTo>
                  <a:pt x="4636198" y="727812"/>
                  <a:pt x="4709670" y="364338"/>
                  <a:pt x="4726525" y="865"/>
                </a:cubicBezTo>
                <a:close/>
                <a:moveTo>
                  <a:pt x="4581741" y="865"/>
                </a:moveTo>
                <a:lnTo>
                  <a:pt x="4595139" y="865"/>
                </a:lnTo>
                <a:cubicBezTo>
                  <a:pt x="4581741" y="378601"/>
                  <a:pt x="4511725" y="754608"/>
                  <a:pt x="4377746" y="1124132"/>
                </a:cubicBezTo>
                <a:cubicBezTo>
                  <a:pt x="4334094" y="1246011"/>
                  <a:pt x="4283961" y="1370050"/>
                  <a:pt x="4233826" y="1489767"/>
                </a:cubicBezTo>
                <a:cubicBezTo>
                  <a:pt x="4136583" y="1727473"/>
                  <a:pt x="4036314" y="1973390"/>
                  <a:pt x="3986180" y="2221036"/>
                </a:cubicBezTo>
                <a:cubicBezTo>
                  <a:pt x="3912708" y="2598772"/>
                  <a:pt x="3962841" y="2984720"/>
                  <a:pt x="4012976" y="3278178"/>
                </a:cubicBezTo>
                <a:cubicBezTo>
                  <a:pt x="4096389" y="3738894"/>
                  <a:pt x="4247224" y="4335752"/>
                  <a:pt x="4685467" y="4872534"/>
                </a:cubicBezTo>
                <a:cubicBezTo>
                  <a:pt x="4775796" y="4981879"/>
                  <a:pt x="4876064" y="5089495"/>
                  <a:pt x="4986705" y="5190628"/>
                </a:cubicBezTo>
                <a:cubicBezTo>
                  <a:pt x="5341534" y="5516933"/>
                  <a:pt x="5810031" y="5816441"/>
                  <a:pt x="6385711" y="6082672"/>
                </a:cubicBezTo>
                <a:cubicBezTo>
                  <a:pt x="6526173" y="6148797"/>
                  <a:pt x="6673550" y="6210601"/>
                  <a:pt x="6823953" y="6270675"/>
                </a:cubicBezTo>
                <a:cubicBezTo>
                  <a:pt x="7228916" y="6429723"/>
                  <a:pt x="7663702" y="6568024"/>
                  <a:pt x="8122259" y="6681690"/>
                </a:cubicBezTo>
                <a:cubicBezTo>
                  <a:pt x="8381573" y="6745655"/>
                  <a:pt x="8658608" y="6804432"/>
                  <a:pt x="8951634" y="6858456"/>
                </a:cubicBezTo>
                <a:lnTo>
                  <a:pt x="8900205" y="6858456"/>
                </a:lnTo>
                <a:cubicBezTo>
                  <a:pt x="8623169" y="6807459"/>
                  <a:pt x="8360829" y="6751273"/>
                  <a:pt x="8115776" y="6690766"/>
                </a:cubicBezTo>
                <a:cubicBezTo>
                  <a:pt x="7657652" y="6577100"/>
                  <a:pt x="7222433" y="6438798"/>
                  <a:pt x="6817470" y="6277591"/>
                </a:cubicBezTo>
                <a:cubicBezTo>
                  <a:pt x="6667067" y="6219676"/>
                  <a:pt x="6519690" y="6155712"/>
                  <a:pt x="6375770" y="6089588"/>
                </a:cubicBezTo>
                <a:cubicBezTo>
                  <a:pt x="5800090" y="5823356"/>
                  <a:pt x="5328136" y="5521687"/>
                  <a:pt x="4976765" y="5197543"/>
                </a:cubicBezTo>
                <a:cubicBezTo>
                  <a:pt x="4863098" y="5094249"/>
                  <a:pt x="4762397" y="4986633"/>
                  <a:pt x="4675527" y="4877289"/>
                </a:cubicBezTo>
                <a:cubicBezTo>
                  <a:pt x="4233826" y="4337913"/>
                  <a:pt x="4083423" y="3741488"/>
                  <a:pt x="3999578" y="3280771"/>
                </a:cubicBezTo>
                <a:cubicBezTo>
                  <a:pt x="3945986" y="2985584"/>
                  <a:pt x="3895852" y="2599204"/>
                  <a:pt x="3972783" y="2219307"/>
                </a:cubicBezTo>
                <a:cubicBezTo>
                  <a:pt x="4022916" y="1971229"/>
                  <a:pt x="4123185" y="1725312"/>
                  <a:pt x="4220429" y="1488038"/>
                </a:cubicBezTo>
                <a:cubicBezTo>
                  <a:pt x="4270562" y="1368320"/>
                  <a:pt x="4320697" y="1244281"/>
                  <a:pt x="4364348" y="1122404"/>
                </a:cubicBezTo>
                <a:cubicBezTo>
                  <a:pt x="4494870" y="752447"/>
                  <a:pt x="4568343" y="376872"/>
                  <a:pt x="4581741" y="865"/>
                </a:cubicBezTo>
                <a:close/>
                <a:moveTo>
                  <a:pt x="4293901" y="865"/>
                </a:moveTo>
                <a:lnTo>
                  <a:pt x="4307299" y="865"/>
                </a:lnTo>
                <a:cubicBezTo>
                  <a:pt x="4300384" y="403668"/>
                  <a:pt x="4230369" y="806471"/>
                  <a:pt x="4096389" y="1202791"/>
                </a:cubicBezTo>
                <a:cubicBezTo>
                  <a:pt x="4053170" y="1322508"/>
                  <a:pt x="4006061" y="1444386"/>
                  <a:pt x="3959384" y="1561942"/>
                </a:cubicBezTo>
                <a:cubicBezTo>
                  <a:pt x="3865599" y="1803538"/>
                  <a:pt x="3765330" y="2053345"/>
                  <a:pt x="3721679" y="2305314"/>
                </a:cubicBezTo>
                <a:cubicBezTo>
                  <a:pt x="3648207" y="2689532"/>
                  <a:pt x="3704824" y="3075480"/>
                  <a:pt x="3761872" y="3368937"/>
                </a:cubicBezTo>
                <a:cubicBezTo>
                  <a:pt x="3895420" y="4050505"/>
                  <a:pt x="4109787" y="4544068"/>
                  <a:pt x="4461159" y="4965455"/>
                </a:cubicBezTo>
                <a:cubicBezTo>
                  <a:pt x="4551488" y="5072639"/>
                  <a:pt x="4655214" y="5180255"/>
                  <a:pt x="4768880" y="5281388"/>
                </a:cubicBezTo>
                <a:cubicBezTo>
                  <a:pt x="5123710" y="5603372"/>
                  <a:pt x="5599121" y="5900719"/>
                  <a:pt x="6181283" y="6171271"/>
                </a:cubicBezTo>
                <a:cubicBezTo>
                  <a:pt x="6325203" y="6237397"/>
                  <a:pt x="6472580" y="6299201"/>
                  <a:pt x="6622984" y="6359275"/>
                </a:cubicBezTo>
                <a:cubicBezTo>
                  <a:pt x="7030974" y="6520050"/>
                  <a:pt x="7466191" y="6660513"/>
                  <a:pt x="7921289" y="6776340"/>
                </a:cubicBezTo>
                <a:cubicBezTo>
                  <a:pt x="8031066" y="6804865"/>
                  <a:pt x="8143003" y="6831661"/>
                  <a:pt x="8257533" y="6857592"/>
                </a:cubicBezTo>
                <a:lnTo>
                  <a:pt x="8219501" y="6857592"/>
                </a:lnTo>
                <a:cubicBezTo>
                  <a:pt x="8116640" y="6833822"/>
                  <a:pt x="8015939" y="6809619"/>
                  <a:pt x="7917399" y="6784552"/>
                </a:cubicBezTo>
                <a:cubicBezTo>
                  <a:pt x="7458844" y="6669157"/>
                  <a:pt x="7024058" y="6528695"/>
                  <a:pt x="6615637" y="6367487"/>
                </a:cubicBezTo>
                <a:cubicBezTo>
                  <a:pt x="6465233" y="6307412"/>
                  <a:pt x="6317856" y="6243448"/>
                  <a:pt x="6173937" y="6177322"/>
                </a:cubicBezTo>
                <a:cubicBezTo>
                  <a:pt x="5588317" y="5906770"/>
                  <a:pt x="5113337" y="5607693"/>
                  <a:pt x="4755050" y="5287439"/>
                </a:cubicBezTo>
                <a:cubicBezTo>
                  <a:pt x="4644841" y="5184144"/>
                  <a:pt x="4541115" y="5076528"/>
                  <a:pt x="4447329" y="4967184"/>
                </a:cubicBezTo>
                <a:cubicBezTo>
                  <a:pt x="4095957" y="4546229"/>
                  <a:pt x="3882022" y="4052666"/>
                  <a:pt x="3748043" y="3368937"/>
                </a:cubicBezTo>
                <a:cubicBezTo>
                  <a:pt x="3690994" y="3075480"/>
                  <a:pt x="3633944" y="2689532"/>
                  <a:pt x="3704392" y="2305314"/>
                </a:cubicBezTo>
                <a:cubicBezTo>
                  <a:pt x="3751501" y="2053345"/>
                  <a:pt x="3848311" y="1801378"/>
                  <a:pt x="3945554" y="1559782"/>
                </a:cubicBezTo>
                <a:cubicBezTo>
                  <a:pt x="3992663" y="1442226"/>
                  <a:pt x="4039340" y="1320347"/>
                  <a:pt x="4079533" y="1200631"/>
                </a:cubicBezTo>
                <a:cubicBezTo>
                  <a:pt x="4216971" y="804310"/>
                  <a:pt x="4287418" y="403668"/>
                  <a:pt x="4293901" y="865"/>
                </a:cubicBezTo>
                <a:close/>
                <a:moveTo>
                  <a:pt x="3858684" y="865"/>
                </a:moveTo>
                <a:lnTo>
                  <a:pt x="3872082" y="865"/>
                </a:lnTo>
                <a:cubicBezTo>
                  <a:pt x="3878564" y="440836"/>
                  <a:pt x="3811575" y="882969"/>
                  <a:pt x="3671113" y="1318619"/>
                </a:cubicBezTo>
                <a:cubicBezTo>
                  <a:pt x="3631351" y="1436175"/>
                  <a:pt x="3591157" y="1553731"/>
                  <a:pt x="3547506" y="1669558"/>
                </a:cubicBezTo>
                <a:cubicBezTo>
                  <a:pt x="3456745" y="1919366"/>
                  <a:pt x="3363393" y="2175656"/>
                  <a:pt x="3319740" y="2435835"/>
                </a:cubicBezTo>
                <a:cubicBezTo>
                  <a:pt x="3272631" y="2741395"/>
                  <a:pt x="3292945" y="3071590"/>
                  <a:pt x="3383272" y="3503350"/>
                </a:cubicBezTo>
                <a:cubicBezTo>
                  <a:pt x="3530650" y="4184484"/>
                  <a:pt x="3757983" y="4678048"/>
                  <a:pt x="4126211" y="5101596"/>
                </a:cubicBezTo>
                <a:cubicBezTo>
                  <a:pt x="4219996" y="5208780"/>
                  <a:pt x="4323722" y="5316396"/>
                  <a:pt x="4440846" y="5417529"/>
                </a:cubicBezTo>
                <a:cubicBezTo>
                  <a:pt x="4799134" y="5731300"/>
                  <a:pt x="5284053" y="6030809"/>
                  <a:pt x="5876588" y="6303522"/>
                </a:cubicBezTo>
                <a:cubicBezTo>
                  <a:pt x="6023965" y="6369648"/>
                  <a:pt x="6171343" y="6433612"/>
                  <a:pt x="6321746" y="6493687"/>
                </a:cubicBezTo>
                <a:cubicBezTo>
                  <a:pt x="6662314" y="6630260"/>
                  <a:pt x="7021033" y="6753003"/>
                  <a:pt x="7390557" y="6857592"/>
                </a:cubicBezTo>
                <a:lnTo>
                  <a:pt x="7359439" y="6857592"/>
                </a:lnTo>
                <a:cubicBezTo>
                  <a:pt x="6997262" y="6753867"/>
                  <a:pt x="6647187" y="6635445"/>
                  <a:pt x="6314831" y="6501898"/>
                </a:cubicBezTo>
                <a:cubicBezTo>
                  <a:pt x="6163995" y="6442256"/>
                  <a:pt x="6013593" y="6378291"/>
                  <a:pt x="5869673" y="6310005"/>
                </a:cubicBezTo>
                <a:cubicBezTo>
                  <a:pt x="5274112" y="6037292"/>
                  <a:pt x="4788761" y="5737783"/>
                  <a:pt x="4427449" y="5421850"/>
                </a:cubicBezTo>
                <a:cubicBezTo>
                  <a:pt x="4313782" y="5320717"/>
                  <a:pt x="4206598" y="5213101"/>
                  <a:pt x="4112813" y="5105917"/>
                </a:cubicBezTo>
                <a:cubicBezTo>
                  <a:pt x="3744585" y="4682803"/>
                  <a:pt x="3517253" y="4189238"/>
                  <a:pt x="3369875" y="3505511"/>
                </a:cubicBezTo>
                <a:cubicBezTo>
                  <a:pt x="3276089" y="3071590"/>
                  <a:pt x="3259665" y="2741395"/>
                  <a:pt x="3306342" y="2433674"/>
                </a:cubicBezTo>
                <a:cubicBezTo>
                  <a:pt x="3346536" y="2175224"/>
                  <a:pt x="3443780" y="1917204"/>
                  <a:pt x="3534108" y="1667398"/>
                </a:cubicBezTo>
                <a:cubicBezTo>
                  <a:pt x="3573869" y="1552002"/>
                  <a:pt x="3617522" y="1434014"/>
                  <a:pt x="3657715" y="1316458"/>
                </a:cubicBezTo>
                <a:cubicBezTo>
                  <a:pt x="3798609" y="880808"/>
                  <a:pt x="3865167" y="440836"/>
                  <a:pt x="3858684" y="865"/>
                </a:cubicBezTo>
                <a:close/>
                <a:moveTo>
                  <a:pt x="2985225" y="865"/>
                </a:moveTo>
                <a:lnTo>
                  <a:pt x="2998622" y="865"/>
                </a:lnTo>
                <a:cubicBezTo>
                  <a:pt x="3028875" y="513013"/>
                  <a:pt x="2968801" y="1033372"/>
                  <a:pt x="2821423" y="1551570"/>
                </a:cubicBezTo>
                <a:cubicBezTo>
                  <a:pt x="2791602" y="1661347"/>
                  <a:pt x="2757890" y="1772853"/>
                  <a:pt x="2721154" y="1880037"/>
                </a:cubicBezTo>
                <a:cubicBezTo>
                  <a:pt x="2637310" y="2144538"/>
                  <a:pt x="2553464" y="2418979"/>
                  <a:pt x="2520184" y="2691693"/>
                </a:cubicBezTo>
                <a:cubicBezTo>
                  <a:pt x="2486906" y="3005464"/>
                  <a:pt x="2520184" y="3348193"/>
                  <a:pt x="2627369" y="3771741"/>
                </a:cubicBezTo>
                <a:cubicBezTo>
                  <a:pt x="2801543" y="4445097"/>
                  <a:pt x="3062587" y="4955083"/>
                  <a:pt x="3450694" y="5374309"/>
                </a:cubicBezTo>
                <a:cubicBezTo>
                  <a:pt x="3550964" y="5481493"/>
                  <a:pt x="3664629" y="5589109"/>
                  <a:pt x="3785211" y="5688081"/>
                </a:cubicBezTo>
                <a:cubicBezTo>
                  <a:pt x="4153439" y="5994072"/>
                  <a:pt x="4641816" y="6283209"/>
                  <a:pt x="5271088" y="6568024"/>
                </a:cubicBezTo>
                <a:cubicBezTo>
                  <a:pt x="5418033" y="6636310"/>
                  <a:pt x="5572325" y="6702003"/>
                  <a:pt x="5722728" y="6762078"/>
                </a:cubicBezTo>
                <a:cubicBezTo>
                  <a:pt x="5802252" y="6794493"/>
                  <a:pt x="5882639" y="6826475"/>
                  <a:pt x="5963890" y="6858024"/>
                </a:cubicBezTo>
                <a:lnTo>
                  <a:pt x="5935798" y="6858024"/>
                </a:lnTo>
                <a:cubicBezTo>
                  <a:pt x="5861029" y="6829499"/>
                  <a:pt x="5787125" y="6800544"/>
                  <a:pt x="5712788" y="6770722"/>
                </a:cubicBezTo>
                <a:cubicBezTo>
                  <a:pt x="5562385" y="6708918"/>
                  <a:pt x="5411550" y="6644955"/>
                  <a:pt x="5261147" y="6576668"/>
                </a:cubicBezTo>
                <a:cubicBezTo>
                  <a:pt x="4631875" y="6289692"/>
                  <a:pt x="4143498" y="6000555"/>
                  <a:pt x="3775272" y="5694996"/>
                </a:cubicBezTo>
                <a:cubicBezTo>
                  <a:pt x="3651663" y="5593862"/>
                  <a:pt x="3537566" y="5488408"/>
                  <a:pt x="3437296" y="5379064"/>
                </a:cubicBezTo>
                <a:cubicBezTo>
                  <a:pt x="3049189" y="4957676"/>
                  <a:pt x="2788145" y="4447689"/>
                  <a:pt x="2613972" y="3774334"/>
                </a:cubicBezTo>
                <a:cubicBezTo>
                  <a:pt x="2506787" y="3348625"/>
                  <a:pt x="2473508" y="3005897"/>
                  <a:pt x="2506787" y="2692125"/>
                </a:cubicBezTo>
                <a:cubicBezTo>
                  <a:pt x="2537042" y="2417251"/>
                  <a:pt x="2623912" y="2144538"/>
                  <a:pt x="2707756" y="1878307"/>
                </a:cubicBezTo>
                <a:cubicBezTo>
                  <a:pt x="2741035" y="1770692"/>
                  <a:pt x="2777772" y="1659186"/>
                  <a:pt x="2808025" y="1549842"/>
                </a:cubicBezTo>
                <a:cubicBezTo>
                  <a:pt x="2954970" y="1031211"/>
                  <a:pt x="3012020" y="513013"/>
                  <a:pt x="2985225" y="865"/>
                </a:cubicBezTo>
                <a:close/>
                <a:moveTo>
                  <a:pt x="2838710" y="865"/>
                </a:moveTo>
                <a:lnTo>
                  <a:pt x="2855567" y="865"/>
                </a:lnTo>
                <a:cubicBezTo>
                  <a:pt x="2885387" y="525114"/>
                  <a:pt x="2828770" y="1058007"/>
                  <a:pt x="2681392" y="1588739"/>
                </a:cubicBezTo>
                <a:cubicBezTo>
                  <a:pt x="2651139" y="1698083"/>
                  <a:pt x="2617428" y="1807860"/>
                  <a:pt x="2584149" y="1915044"/>
                </a:cubicBezTo>
                <a:cubicBezTo>
                  <a:pt x="2503762" y="2181274"/>
                  <a:pt x="2416891" y="2458309"/>
                  <a:pt x="2390096" y="2734912"/>
                </a:cubicBezTo>
                <a:cubicBezTo>
                  <a:pt x="2356383" y="3050844"/>
                  <a:pt x="2393120" y="3393572"/>
                  <a:pt x="2503762" y="3817122"/>
                </a:cubicBezTo>
                <a:cubicBezTo>
                  <a:pt x="2677936" y="4490477"/>
                  <a:pt x="2945462" y="4998302"/>
                  <a:pt x="3340485" y="5419690"/>
                </a:cubicBezTo>
                <a:cubicBezTo>
                  <a:pt x="3440755" y="5526873"/>
                  <a:pt x="3554421" y="5634489"/>
                  <a:pt x="3675002" y="5733461"/>
                </a:cubicBezTo>
                <a:cubicBezTo>
                  <a:pt x="4046255" y="6037292"/>
                  <a:pt x="4535064" y="6324267"/>
                  <a:pt x="5170819" y="6613403"/>
                </a:cubicBezTo>
                <a:cubicBezTo>
                  <a:pt x="5317764" y="6681690"/>
                  <a:pt x="5472057" y="6745655"/>
                  <a:pt x="5622459" y="6807459"/>
                </a:cubicBezTo>
                <a:cubicBezTo>
                  <a:pt x="5663518" y="6824314"/>
                  <a:pt x="5705440" y="6841169"/>
                  <a:pt x="5747363" y="6858024"/>
                </a:cubicBezTo>
                <a:lnTo>
                  <a:pt x="5722728" y="6858024"/>
                </a:lnTo>
                <a:cubicBezTo>
                  <a:pt x="5685992" y="6843330"/>
                  <a:pt x="5649256" y="6828635"/>
                  <a:pt x="5612519" y="6813941"/>
                </a:cubicBezTo>
                <a:cubicBezTo>
                  <a:pt x="5462117" y="6754299"/>
                  <a:pt x="5311281" y="6688173"/>
                  <a:pt x="5160879" y="6619886"/>
                </a:cubicBezTo>
                <a:cubicBezTo>
                  <a:pt x="4525124" y="6330750"/>
                  <a:pt x="4036314" y="6043343"/>
                  <a:pt x="3665063" y="5739943"/>
                </a:cubicBezTo>
                <a:cubicBezTo>
                  <a:pt x="3541456" y="5638810"/>
                  <a:pt x="3427357" y="5533356"/>
                  <a:pt x="3327087" y="5424011"/>
                </a:cubicBezTo>
                <a:cubicBezTo>
                  <a:pt x="2932064" y="5002624"/>
                  <a:pt x="2664538" y="4492638"/>
                  <a:pt x="2490364" y="3819282"/>
                </a:cubicBezTo>
                <a:cubicBezTo>
                  <a:pt x="2376698" y="3393572"/>
                  <a:pt x="2342986" y="3050844"/>
                  <a:pt x="2373240" y="2734912"/>
                </a:cubicBezTo>
                <a:cubicBezTo>
                  <a:pt x="2403493" y="2457877"/>
                  <a:pt x="2490364" y="2181274"/>
                  <a:pt x="2570751" y="1912883"/>
                </a:cubicBezTo>
                <a:cubicBezTo>
                  <a:pt x="2604462" y="1807428"/>
                  <a:pt x="2637742" y="1695923"/>
                  <a:pt x="2667995" y="1588739"/>
                </a:cubicBezTo>
                <a:cubicBezTo>
                  <a:pt x="2815373" y="1056278"/>
                  <a:pt x="2871989" y="523385"/>
                  <a:pt x="2838710" y="865"/>
                </a:cubicBezTo>
                <a:close/>
                <a:moveTo>
                  <a:pt x="2693495" y="865"/>
                </a:moveTo>
                <a:lnTo>
                  <a:pt x="2706893" y="865"/>
                </a:lnTo>
                <a:cubicBezTo>
                  <a:pt x="2740603" y="535486"/>
                  <a:pt x="2687012" y="1083075"/>
                  <a:pt x="2539633" y="1628068"/>
                </a:cubicBezTo>
                <a:cubicBezTo>
                  <a:pt x="2509381" y="1735252"/>
                  <a:pt x="2476102" y="1844596"/>
                  <a:pt x="2445847" y="1950052"/>
                </a:cubicBezTo>
                <a:cubicBezTo>
                  <a:pt x="2365893" y="2218443"/>
                  <a:pt x="2282048" y="2499368"/>
                  <a:pt x="2255252" y="2778131"/>
                </a:cubicBezTo>
                <a:cubicBezTo>
                  <a:pt x="2225430" y="3094064"/>
                  <a:pt x="2262167" y="3438954"/>
                  <a:pt x="2375833" y="3862501"/>
                </a:cubicBezTo>
                <a:cubicBezTo>
                  <a:pt x="2556490" y="4533696"/>
                  <a:pt x="2827906" y="5043682"/>
                  <a:pt x="3225955" y="5465070"/>
                </a:cubicBezTo>
                <a:cubicBezTo>
                  <a:pt x="3326224" y="5572253"/>
                  <a:pt x="3443780" y="5679869"/>
                  <a:pt x="3567387" y="5778841"/>
                </a:cubicBezTo>
                <a:cubicBezTo>
                  <a:pt x="3935614" y="6080510"/>
                  <a:pt x="4427449" y="6367487"/>
                  <a:pt x="5066660" y="6656623"/>
                </a:cubicBezTo>
                <a:cubicBezTo>
                  <a:pt x="5217064" y="6724910"/>
                  <a:pt x="5371356" y="6791034"/>
                  <a:pt x="5521759" y="6852838"/>
                </a:cubicBezTo>
                <a:cubicBezTo>
                  <a:pt x="5526081" y="6854568"/>
                  <a:pt x="5529970" y="6856296"/>
                  <a:pt x="5533428" y="6857592"/>
                </a:cubicBezTo>
                <a:lnTo>
                  <a:pt x="5507928" y="6857592"/>
                </a:lnTo>
                <a:cubicBezTo>
                  <a:pt x="5358390" y="6795789"/>
                  <a:pt x="5209284" y="6732257"/>
                  <a:pt x="5059745" y="6664835"/>
                </a:cubicBezTo>
                <a:cubicBezTo>
                  <a:pt x="4417508" y="6373537"/>
                  <a:pt x="3925241" y="6086561"/>
                  <a:pt x="3553989" y="5784892"/>
                </a:cubicBezTo>
                <a:cubicBezTo>
                  <a:pt x="3429949" y="5683759"/>
                  <a:pt x="3316284" y="5578303"/>
                  <a:pt x="3212557" y="5468959"/>
                </a:cubicBezTo>
                <a:cubicBezTo>
                  <a:pt x="2814076" y="5048005"/>
                  <a:pt x="2543090" y="4537585"/>
                  <a:pt x="2362435" y="3862501"/>
                </a:cubicBezTo>
                <a:cubicBezTo>
                  <a:pt x="2248336" y="3438954"/>
                  <a:pt x="2208575" y="3094064"/>
                  <a:pt x="2241852" y="2778131"/>
                </a:cubicBezTo>
                <a:cubicBezTo>
                  <a:pt x="2268650" y="2497207"/>
                  <a:pt x="2352062" y="2218443"/>
                  <a:pt x="2432449" y="1947890"/>
                </a:cubicBezTo>
                <a:cubicBezTo>
                  <a:pt x="2462704" y="1842868"/>
                  <a:pt x="2495983" y="1733091"/>
                  <a:pt x="2526235" y="1625908"/>
                </a:cubicBezTo>
                <a:cubicBezTo>
                  <a:pt x="2670155" y="1080913"/>
                  <a:pt x="2726772" y="535919"/>
                  <a:pt x="2693495" y="865"/>
                </a:cubicBezTo>
                <a:close/>
                <a:moveTo>
                  <a:pt x="2546980" y="865"/>
                </a:moveTo>
                <a:lnTo>
                  <a:pt x="2560380" y="865"/>
                </a:lnTo>
                <a:cubicBezTo>
                  <a:pt x="2600573" y="548020"/>
                  <a:pt x="2543525" y="1107709"/>
                  <a:pt x="2399604" y="1667398"/>
                </a:cubicBezTo>
                <a:cubicBezTo>
                  <a:pt x="2369351" y="1772853"/>
                  <a:pt x="2339529" y="1880037"/>
                  <a:pt x="2309276" y="1983330"/>
                </a:cubicBezTo>
                <a:cubicBezTo>
                  <a:pt x="2228887" y="2256043"/>
                  <a:pt x="2148500" y="2538697"/>
                  <a:pt x="2121704" y="2821783"/>
                </a:cubicBezTo>
                <a:cubicBezTo>
                  <a:pt x="2094908" y="3139444"/>
                  <a:pt x="2135103" y="3484333"/>
                  <a:pt x="2248768" y="3907881"/>
                </a:cubicBezTo>
                <a:cubicBezTo>
                  <a:pt x="2436341" y="4579076"/>
                  <a:pt x="2710782" y="5089063"/>
                  <a:pt x="3112289" y="5510450"/>
                </a:cubicBezTo>
                <a:cubicBezTo>
                  <a:pt x="3216015" y="5617634"/>
                  <a:pt x="3333571" y="5723088"/>
                  <a:pt x="3457178" y="5824221"/>
                </a:cubicBezTo>
                <a:cubicBezTo>
                  <a:pt x="3828431" y="6121569"/>
                  <a:pt x="4320697" y="6408545"/>
                  <a:pt x="4966392" y="6702003"/>
                </a:cubicBezTo>
                <a:cubicBezTo>
                  <a:pt x="5086109" y="6756459"/>
                  <a:pt x="5207555" y="6807891"/>
                  <a:pt x="5328136" y="6857160"/>
                </a:cubicBezTo>
                <a:lnTo>
                  <a:pt x="5299612" y="6857160"/>
                </a:lnTo>
                <a:cubicBezTo>
                  <a:pt x="5186378" y="6809187"/>
                  <a:pt x="5073143" y="6759485"/>
                  <a:pt x="4959910" y="6708054"/>
                </a:cubicBezTo>
                <a:cubicBezTo>
                  <a:pt x="4313782" y="6416756"/>
                  <a:pt x="3818491" y="6127620"/>
                  <a:pt x="3447237" y="5830272"/>
                </a:cubicBezTo>
                <a:cubicBezTo>
                  <a:pt x="3319740" y="5729139"/>
                  <a:pt x="3206074" y="5623684"/>
                  <a:pt x="3102348" y="5514339"/>
                </a:cubicBezTo>
                <a:cubicBezTo>
                  <a:pt x="2697816" y="5093385"/>
                  <a:pt x="2423375" y="4581237"/>
                  <a:pt x="2235803" y="3907881"/>
                </a:cubicBezTo>
                <a:cubicBezTo>
                  <a:pt x="2118679" y="3484765"/>
                  <a:pt x="2078484" y="3139876"/>
                  <a:pt x="2108737" y="2819622"/>
                </a:cubicBezTo>
                <a:cubicBezTo>
                  <a:pt x="2132508" y="2536968"/>
                  <a:pt x="2215922" y="2256043"/>
                  <a:pt x="2296308" y="1983330"/>
                </a:cubicBezTo>
                <a:cubicBezTo>
                  <a:pt x="2326131" y="1877875"/>
                  <a:pt x="2356383" y="1770692"/>
                  <a:pt x="2383181" y="1665237"/>
                </a:cubicBezTo>
                <a:cubicBezTo>
                  <a:pt x="2530125" y="1105548"/>
                  <a:pt x="2583717" y="545859"/>
                  <a:pt x="2546980" y="865"/>
                </a:cubicBezTo>
                <a:close/>
                <a:moveTo>
                  <a:pt x="2400036" y="865"/>
                </a:moveTo>
                <a:lnTo>
                  <a:pt x="2413434" y="865"/>
                </a:lnTo>
                <a:cubicBezTo>
                  <a:pt x="2457084" y="558392"/>
                  <a:pt x="2403493" y="1130616"/>
                  <a:pt x="2256115" y="1706727"/>
                </a:cubicBezTo>
                <a:cubicBezTo>
                  <a:pt x="2229320" y="1810022"/>
                  <a:pt x="2199067" y="1915476"/>
                  <a:pt x="2172271" y="2018770"/>
                </a:cubicBezTo>
                <a:cubicBezTo>
                  <a:pt x="2091882" y="2293212"/>
                  <a:pt x="2011496" y="2578459"/>
                  <a:pt x="1988157" y="2863273"/>
                </a:cubicBezTo>
                <a:cubicBezTo>
                  <a:pt x="1961361" y="3183095"/>
                  <a:pt x="2004581" y="3530145"/>
                  <a:pt x="2125161" y="3951533"/>
                </a:cubicBezTo>
                <a:cubicBezTo>
                  <a:pt x="2316190" y="4624888"/>
                  <a:pt x="2593657" y="5134875"/>
                  <a:pt x="3002080" y="5556263"/>
                </a:cubicBezTo>
                <a:cubicBezTo>
                  <a:pt x="3105805" y="5663445"/>
                  <a:pt x="3223362" y="5768900"/>
                  <a:pt x="3346969" y="5870033"/>
                </a:cubicBezTo>
                <a:cubicBezTo>
                  <a:pt x="3725137" y="6169543"/>
                  <a:pt x="4207030" y="6448307"/>
                  <a:pt x="4866123" y="6745655"/>
                </a:cubicBezTo>
                <a:cubicBezTo>
                  <a:pt x="4950400" y="6783688"/>
                  <a:pt x="5035542" y="6821288"/>
                  <a:pt x="5120684" y="6857592"/>
                </a:cubicBezTo>
                <a:lnTo>
                  <a:pt x="5091296" y="6857592"/>
                </a:lnTo>
                <a:cubicBezTo>
                  <a:pt x="5012636" y="6823881"/>
                  <a:pt x="4933545" y="6789306"/>
                  <a:pt x="4855751" y="6753867"/>
                </a:cubicBezTo>
                <a:cubicBezTo>
                  <a:pt x="4196658" y="6454357"/>
                  <a:pt x="3714765" y="6175593"/>
                  <a:pt x="3336595" y="5876084"/>
                </a:cubicBezTo>
                <a:cubicBezTo>
                  <a:pt x="3209531" y="5774951"/>
                  <a:pt x="3092408" y="5669496"/>
                  <a:pt x="2988682" y="5562313"/>
                </a:cubicBezTo>
                <a:cubicBezTo>
                  <a:pt x="2580259" y="5139197"/>
                  <a:pt x="2302360" y="4627049"/>
                  <a:pt x="2111764" y="3953694"/>
                </a:cubicBezTo>
                <a:cubicBezTo>
                  <a:pt x="1991614" y="3530145"/>
                  <a:pt x="1947963" y="3185257"/>
                  <a:pt x="1974759" y="2863273"/>
                </a:cubicBezTo>
                <a:cubicBezTo>
                  <a:pt x="1998098" y="2578459"/>
                  <a:pt x="2078484" y="2293212"/>
                  <a:pt x="2158874" y="2016609"/>
                </a:cubicBezTo>
                <a:cubicBezTo>
                  <a:pt x="2185669" y="1915044"/>
                  <a:pt x="2215922" y="1810022"/>
                  <a:pt x="2242718" y="1704566"/>
                </a:cubicBezTo>
                <a:cubicBezTo>
                  <a:pt x="2390096" y="1130616"/>
                  <a:pt x="2443687" y="558392"/>
                  <a:pt x="2400036" y="865"/>
                </a:cubicBezTo>
                <a:close/>
                <a:moveTo>
                  <a:pt x="2252226" y="865"/>
                </a:moveTo>
                <a:lnTo>
                  <a:pt x="2265624" y="865"/>
                </a:lnTo>
                <a:cubicBezTo>
                  <a:pt x="2312734" y="568766"/>
                  <a:pt x="2262599" y="1155250"/>
                  <a:pt x="2115221" y="1743896"/>
                </a:cubicBezTo>
                <a:cubicBezTo>
                  <a:pt x="2088426" y="1847189"/>
                  <a:pt x="2061629" y="1952644"/>
                  <a:pt x="2034834" y="2051617"/>
                </a:cubicBezTo>
                <a:cubicBezTo>
                  <a:pt x="1957904" y="2330380"/>
                  <a:pt x="1877515" y="2619518"/>
                  <a:pt x="1854176" y="2906493"/>
                </a:cubicBezTo>
                <a:cubicBezTo>
                  <a:pt x="1830839" y="3228475"/>
                  <a:pt x="1877515" y="3575525"/>
                  <a:pt x="1998098" y="3996913"/>
                </a:cubicBezTo>
                <a:cubicBezTo>
                  <a:pt x="2192151" y="4670269"/>
                  <a:pt x="2476966" y="5180255"/>
                  <a:pt x="2888413" y="5601642"/>
                </a:cubicBezTo>
                <a:cubicBezTo>
                  <a:pt x="2995596" y="5710987"/>
                  <a:pt x="3112721" y="5814281"/>
                  <a:pt x="3239786" y="5915414"/>
                </a:cubicBezTo>
                <a:cubicBezTo>
                  <a:pt x="3614496" y="6212762"/>
                  <a:pt x="4099847" y="6489365"/>
                  <a:pt x="4765854" y="6791034"/>
                </a:cubicBezTo>
                <a:cubicBezTo>
                  <a:pt x="4815125" y="6813509"/>
                  <a:pt x="4865259" y="6835982"/>
                  <a:pt x="4915393" y="6858024"/>
                </a:cubicBezTo>
                <a:lnTo>
                  <a:pt x="4892055" y="6858024"/>
                </a:lnTo>
                <a:cubicBezTo>
                  <a:pt x="4846243" y="6838144"/>
                  <a:pt x="4800862" y="6817831"/>
                  <a:pt x="4755482" y="6797517"/>
                </a:cubicBezTo>
                <a:cubicBezTo>
                  <a:pt x="4089474" y="6498009"/>
                  <a:pt x="3604123" y="6219244"/>
                  <a:pt x="3225955" y="5919736"/>
                </a:cubicBezTo>
                <a:cubicBezTo>
                  <a:pt x="3098891" y="5820332"/>
                  <a:pt x="2981766" y="5714876"/>
                  <a:pt x="2878041" y="5607693"/>
                </a:cubicBezTo>
                <a:cubicBezTo>
                  <a:pt x="2463136" y="5182416"/>
                  <a:pt x="2178753" y="4672429"/>
                  <a:pt x="1984699" y="3999074"/>
                </a:cubicBezTo>
                <a:cubicBezTo>
                  <a:pt x="1864118" y="3575525"/>
                  <a:pt x="1817441" y="3228475"/>
                  <a:pt x="1840778" y="2906493"/>
                </a:cubicBezTo>
                <a:cubicBezTo>
                  <a:pt x="1864118" y="2617356"/>
                  <a:pt x="1941048" y="2330380"/>
                  <a:pt x="2017978" y="2051617"/>
                </a:cubicBezTo>
                <a:cubicBezTo>
                  <a:pt x="2048231" y="1950484"/>
                  <a:pt x="2075028" y="1847189"/>
                  <a:pt x="2101823" y="1743896"/>
                </a:cubicBezTo>
                <a:cubicBezTo>
                  <a:pt x="2248768" y="1155250"/>
                  <a:pt x="2298903" y="568766"/>
                  <a:pt x="2252226" y="865"/>
                </a:cubicBezTo>
                <a:close/>
                <a:moveTo>
                  <a:pt x="2105282" y="865"/>
                </a:moveTo>
                <a:lnTo>
                  <a:pt x="2122137" y="865"/>
                </a:lnTo>
                <a:cubicBezTo>
                  <a:pt x="2168812" y="581299"/>
                  <a:pt x="2122137" y="1180317"/>
                  <a:pt x="1974759" y="1783225"/>
                </a:cubicBezTo>
                <a:cubicBezTo>
                  <a:pt x="1947963" y="1884358"/>
                  <a:pt x="1921168" y="1987652"/>
                  <a:pt x="1894371" y="2086624"/>
                </a:cubicBezTo>
                <a:cubicBezTo>
                  <a:pt x="1820899" y="2367549"/>
                  <a:pt x="1743537" y="2658415"/>
                  <a:pt x="1723655" y="2949711"/>
                </a:cubicBezTo>
                <a:cubicBezTo>
                  <a:pt x="1699884" y="3273856"/>
                  <a:pt x="1746993" y="3620906"/>
                  <a:pt x="1874058" y="4042292"/>
                </a:cubicBezTo>
                <a:cubicBezTo>
                  <a:pt x="2071570" y="4713055"/>
                  <a:pt x="2359410" y="5223475"/>
                  <a:pt x="2777772" y="5648752"/>
                </a:cubicBezTo>
                <a:cubicBezTo>
                  <a:pt x="2881497" y="5756367"/>
                  <a:pt x="3002080" y="5859661"/>
                  <a:pt x="3129144" y="5960794"/>
                </a:cubicBezTo>
                <a:cubicBezTo>
                  <a:pt x="3507312" y="6253820"/>
                  <a:pt x="3992231" y="6532584"/>
                  <a:pt x="4661697" y="6834254"/>
                </a:cubicBezTo>
                <a:cubicBezTo>
                  <a:pt x="4678984" y="6842033"/>
                  <a:pt x="4695840" y="6849813"/>
                  <a:pt x="4712694" y="6858024"/>
                </a:cubicBezTo>
                <a:lnTo>
                  <a:pt x="4691518" y="6858024"/>
                </a:lnTo>
                <a:cubicBezTo>
                  <a:pt x="4678984" y="6852406"/>
                  <a:pt x="4666883" y="6846356"/>
                  <a:pt x="4654782" y="6840737"/>
                </a:cubicBezTo>
                <a:cubicBezTo>
                  <a:pt x="3982290" y="6539067"/>
                  <a:pt x="3493482" y="6260303"/>
                  <a:pt x="3118771" y="5965116"/>
                </a:cubicBezTo>
                <a:cubicBezTo>
                  <a:pt x="2988249" y="5865712"/>
                  <a:pt x="2871126" y="5760257"/>
                  <a:pt x="2763942" y="5653073"/>
                </a:cubicBezTo>
                <a:cubicBezTo>
                  <a:pt x="2345580" y="5227796"/>
                  <a:pt x="2058173" y="4717377"/>
                  <a:pt x="1857203" y="4042292"/>
                </a:cubicBezTo>
                <a:cubicBezTo>
                  <a:pt x="1733596" y="3620906"/>
                  <a:pt x="1686919" y="3273856"/>
                  <a:pt x="1706800" y="2949711"/>
                </a:cubicBezTo>
                <a:cubicBezTo>
                  <a:pt x="1727112" y="2658415"/>
                  <a:pt x="1807501" y="2365387"/>
                  <a:pt x="1880974" y="2084463"/>
                </a:cubicBezTo>
                <a:cubicBezTo>
                  <a:pt x="1907769" y="1985491"/>
                  <a:pt x="1934566" y="1882197"/>
                  <a:pt x="1961361" y="1781064"/>
                </a:cubicBezTo>
                <a:cubicBezTo>
                  <a:pt x="2105282" y="1178156"/>
                  <a:pt x="2155414" y="579138"/>
                  <a:pt x="2105282" y="865"/>
                </a:cubicBezTo>
                <a:close/>
                <a:moveTo>
                  <a:pt x="1957472" y="865"/>
                </a:moveTo>
                <a:lnTo>
                  <a:pt x="1974327" y="865"/>
                </a:lnTo>
                <a:cubicBezTo>
                  <a:pt x="2024460" y="591240"/>
                  <a:pt x="1977783" y="1202791"/>
                  <a:pt x="1833865" y="1822122"/>
                </a:cubicBezTo>
                <a:cubicBezTo>
                  <a:pt x="1810526" y="1921094"/>
                  <a:pt x="1783730" y="2022227"/>
                  <a:pt x="1756935" y="2119471"/>
                </a:cubicBezTo>
                <a:cubicBezTo>
                  <a:pt x="1683462" y="2404286"/>
                  <a:pt x="1606530" y="2697743"/>
                  <a:pt x="1589675" y="2992931"/>
                </a:cubicBezTo>
                <a:cubicBezTo>
                  <a:pt x="1569795" y="3313185"/>
                  <a:pt x="1619928" y="3670607"/>
                  <a:pt x="1746993" y="4085512"/>
                </a:cubicBezTo>
                <a:cubicBezTo>
                  <a:pt x="1951420" y="4758435"/>
                  <a:pt x="2242284" y="5268854"/>
                  <a:pt x="2664105" y="5694131"/>
                </a:cubicBezTo>
                <a:cubicBezTo>
                  <a:pt x="2771288" y="5801747"/>
                  <a:pt x="2891871" y="5905041"/>
                  <a:pt x="3018935" y="6006174"/>
                </a:cubicBezTo>
                <a:cubicBezTo>
                  <a:pt x="3388459" y="6290989"/>
                  <a:pt x="3863871" y="6561973"/>
                  <a:pt x="4516912" y="6858024"/>
                </a:cubicBezTo>
                <a:lnTo>
                  <a:pt x="4491845" y="6858024"/>
                </a:lnTo>
                <a:cubicBezTo>
                  <a:pt x="3844854" y="6564998"/>
                  <a:pt x="3375061" y="6294446"/>
                  <a:pt x="3008562" y="6010496"/>
                </a:cubicBezTo>
                <a:cubicBezTo>
                  <a:pt x="2878041" y="5911092"/>
                  <a:pt x="2760917" y="5805637"/>
                  <a:pt x="2653732" y="5698453"/>
                </a:cubicBezTo>
                <a:cubicBezTo>
                  <a:pt x="2228887" y="5273176"/>
                  <a:pt x="1937590" y="4761029"/>
                  <a:pt x="1733596" y="4087673"/>
                </a:cubicBezTo>
                <a:cubicBezTo>
                  <a:pt x="1606530" y="3672769"/>
                  <a:pt x="1556397" y="3313617"/>
                  <a:pt x="1576277" y="2993363"/>
                </a:cubicBezTo>
                <a:cubicBezTo>
                  <a:pt x="1593132" y="2698176"/>
                  <a:pt x="1670063" y="2402556"/>
                  <a:pt x="1743537" y="2117741"/>
                </a:cubicBezTo>
                <a:cubicBezTo>
                  <a:pt x="1770332" y="2020499"/>
                  <a:pt x="1793670" y="1919366"/>
                  <a:pt x="1817009" y="1820394"/>
                </a:cubicBezTo>
                <a:cubicBezTo>
                  <a:pt x="1963953" y="1202791"/>
                  <a:pt x="2011063" y="589510"/>
                  <a:pt x="1957472" y="865"/>
                </a:cubicBezTo>
                <a:close/>
                <a:moveTo>
                  <a:pt x="1813983" y="865"/>
                </a:moveTo>
                <a:lnTo>
                  <a:pt x="1827381" y="865"/>
                </a:lnTo>
                <a:cubicBezTo>
                  <a:pt x="1884431" y="601612"/>
                  <a:pt x="1837754" y="1227426"/>
                  <a:pt x="1690376" y="1861452"/>
                </a:cubicBezTo>
                <a:cubicBezTo>
                  <a:pt x="1670063" y="1958695"/>
                  <a:pt x="1643267" y="2057667"/>
                  <a:pt x="1619928" y="2152749"/>
                </a:cubicBezTo>
                <a:cubicBezTo>
                  <a:pt x="1546455" y="2439725"/>
                  <a:pt x="1472983" y="2739234"/>
                  <a:pt x="1456128" y="3034421"/>
                </a:cubicBezTo>
                <a:cubicBezTo>
                  <a:pt x="1439272" y="3358565"/>
                  <a:pt x="1492863" y="3715988"/>
                  <a:pt x="1619928" y="4130892"/>
                </a:cubicBezTo>
                <a:cubicBezTo>
                  <a:pt x="1827381" y="4803816"/>
                  <a:pt x="2125161" y="5314234"/>
                  <a:pt x="2553464" y="5739511"/>
                </a:cubicBezTo>
                <a:cubicBezTo>
                  <a:pt x="2660648" y="5847127"/>
                  <a:pt x="2781230" y="5950421"/>
                  <a:pt x="2911750" y="6051554"/>
                </a:cubicBezTo>
                <a:cubicBezTo>
                  <a:pt x="3259665" y="6319945"/>
                  <a:pt x="3708281" y="6577532"/>
                  <a:pt x="4316807" y="6857592"/>
                </a:cubicBezTo>
                <a:lnTo>
                  <a:pt x="4293901" y="6857592"/>
                </a:lnTo>
                <a:cubicBezTo>
                  <a:pt x="3694452" y="6580125"/>
                  <a:pt x="3246700" y="6324267"/>
                  <a:pt x="2898352" y="6055876"/>
                </a:cubicBezTo>
                <a:cubicBezTo>
                  <a:pt x="2770856" y="5956471"/>
                  <a:pt x="2647250" y="5851017"/>
                  <a:pt x="2540066" y="5743834"/>
                </a:cubicBezTo>
                <a:cubicBezTo>
                  <a:pt x="2111764" y="5318557"/>
                  <a:pt x="1813983" y="4806409"/>
                  <a:pt x="1606530" y="4133053"/>
                </a:cubicBezTo>
                <a:cubicBezTo>
                  <a:pt x="1479466" y="3718149"/>
                  <a:pt x="1425874" y="3358565"/>
                  <a:pt x="1442730" y="3034421"/>
                </a:cubicBezTo>
                <a:cubicBezTo>
                  <a:pt x="1459154" y="2737073"/>
                  <a:pt x="1533058" y="2439725"/>
                  <a:pt x="1606530" y="2150589"/>
                </a:cubicBezTo>
                <a:cubicBezTo>
                  <a:pt x="1630301" y="2055506"/>
                  <a:pt x="1653639" y="1956534"/>
                  <a:pt x="1676978" y="1859291"/>
                </a:cubicBezTo>
                <a:cubicBezTo>
                  <a:pt x="1823923" y="1225697"/>
                  <a:pt x="1867576" y="599883"/>
                  <a:pt x="1813983" y="865"/>
                </a:cubicBezTo>
                <a:close/>
                <a:moveTo>
                  <a:pt x="1519660" y="865"/>
                </a:moveTo>
                <a:lnTo>
                  <a:pt x="1533058" y="865"/>
                </a:lnTo>
                <a:cubicBezTo>
                  <a:pt x="1533058" y="17288"/>
                  <a:pt x="1536516" y="35873"/>
                  <a:pt x="1536516" y="52296"/>
                </a:cubicBezTo>
                <a:cubicBezTo>
                  <a:pt x="1593565" y="657364"/>
                  <a:pt x="1549913" y="1291390"/>
                  <a:pt x="1409451" y="1937950"/>
                </a:cubicBezTo>
                <a:cubicBezTo>
                  <a:pt x="1389138" y="2030871"/>
                  <a:pt x="1365799" y="2125954"/>
                  <a:pt x="1342461" y="2218875"/>
                </a:cubicBezTo>
                <a:cubicBezTo>
                  <a:pt x="1275471" y="2511901"/>
                  <a:pt x="1201999" y="2817893"/>
                  <a:pt x="1188601" y="3121292"/>
                </a:cubicBezTo>
                <a:cubicBezTo>
                  <a:pt x="1178660" y="3447597"/>
                  <a:pt x="1235277" y="3807181"/>
                  <a:pt x="1369256" y="4222085"/>
                </a:cubicBezTo>
                <a:cubicBezTo>
                  <a:pt x="1586651" y="4893280"/>
                  <a:pt x="1891345" y="5405427"/>
                  <a:pt x="2329588" y="5830704"/>
                </a:cubicBezTo>
                <a:cubicBezTo>
                  <a:pt x="2436773" y="5938320"/>
                  <a:pt x="2560380" y="6041613"/>
                  <a:pt x="2690902" y="6140585"/>
                </a:cubicBezTo>
                <a:cubicBezTo>
                  <a:pt x="3009859" y="6381316"/>
                  <a:pt x="3397102" y="6607353"/>
                  <a:pt x="3923512" y="6858024"/>
                </a:cubicBezTo>
                <a:lnTo>
                  <a:pt x="3900606" y="6858024"/>
                </a:lnTo>
                <a:cubicBezTo>
                  <a:pt x="3380248" y="6609946"/>
                  <a:pt x="2996461" y="6385639"/>
                  <a:pt x="2680528" y="6147068"/>
                </a:cubicBezTo>
                <a:cubicBezTo>
                  <a:pt x="2550006" y="6047664"/>
                  <a:pt x="2426399" y="5942210"/>
                  <a:pt x="2315758" y="5835026"/>
                </a:cubicBezTo>
                <a:cubicBezTo>
                  <a:pt x="1877515" y="5409749"/>
                  <a:pt x="1572820" y="4895440"/>
                  <a:pt x="1355426" y="4222085"/>
                </a:cubicBezTo>
                <a:cubicBezTo>
                  <a:pt x="1221447" y="3808910"/>
                  <a:pt x="1161372" y="3447597"/>
                  <a:pt x="1174770" y="3121292"/>
                </a:cubicBezTo>
                <a:cubicBezTo>
                  <a:pt x="1188168" y="2817893"/>
                  <a:pt x="1258617" y="2511901"/>
                  <a:pt x="1329063" y="2216714"/>
                </a:cubicBezTo>
                <a:cubicBezTo>
                  <a:pt x="1352401" y="2125954"/>
                  <a:pt x="1372715" y="2030871"/>
                  <a:pt x="1396053" y="1937950"/>
                </a:cubicBezTo>
                <a:cubicBezTo>
                  <a:pt x="1536516" y="1291390"/>
                  <a:pt x="1580167" y="657364"/>
                  <a:pt x="1523118" y="52296"/>
                </a:cubicBezTo>
                <a:cubicBezTo>
                  <a:pt x="1523118" y="35873"/>
                  <a:pt x="1519660" y="17288"/>
                  <a:pt x="1519660" y="865"/>
                </a:cubicBezTo>
                <a:close/>
                <a:moveTo>
                  <a:pt x="927556" y="865"/>
                </a:moveTo>
                <a:lnTo>
                  <a:pt x="940955" y="865"/>
                </a:lnTo>
                <a:cubicBezTo>
                  <a:pt x="950895" y="58347"/>
                  <a:pt x="957379" y="118421"/>
                  <a:pt x="960836" y="182386"/>
                </a:cubicBezTo>
                <a:cubicBezTo>
                  <a:pt x="1010970" y="785294"/>
                  <a:pt x="970777" y="1429692"/>
                  <a:pt x="843711" y="2092675"/>
                </a:cubicBezTo>
                <a:cubicBezTo>
                  <a:pt x="826856" y="2177384"/>
                  <a:pt x="810000" y="2264255"/>
                  <a:pt x="790119" y="2346804"/>
                </a:cubicBezTo>
                <a:cubicBezTo>
                  <a:pt x="726587" y="2656253"/>
                  <a:pt x="659598" y="2974346"/>
                  <a:pt x="656141" y="3292440"/>
                </a:cubicBezTo>
                <a:cubicBezTo>
                  <a:pt x="652683" y="3624796"/>
                  <a:pt x="723130" y="3988269"/>
                  <a:pt x="863592" y="4401445"/>
                </a:cubicBezTo>
                <a:cubicBezTo>
                  <a:pt x="1097840" y="5072639"/>
                  <a:pt x="1422417" y="5584786"/>
                  <a:pt x="1877515" y="6012225"/>
                </a:cubicBezTo>
                <a:cubicBezTo>
                  <a:pt x="1991181" y="6119841"/>
                  <a:pt x="2118679" y="6223134"/>
                  <a:pt x="2255684" y="6322107"/>
                </a:cubicBezTo>
                <a:cubicBezTo>
                  <a:pt x="2527965" y="6522644"/>
                  <a:pt x="2838710" y="6698979"/>
                  <a:pt x="3150753" y="6858024"/>
                </a:cubicBezTo>
                <a:lnTo>
                  <a:pt x="3127414" y="6858024"/>
                </a:lnTo>
                <a:cubicBezTo>
                  <a:pt x="2819694" y="6700707"/>
                  <a:pt x="2514135" y="6525237"/>
                  <a:pt x="2242284" y="6328590"/>
                </a:cubicBezTo>
                <a:cubicBezTo>
                  <a:pt x="2108737" y="6229185"/>
                  <a:pt x="1981241" y="6123730"/>
                  <a:pt x="1867576" y="6016547"/>
                </a:cubicBezTo>
                <a:cubicBezTo>
                  <a:pt x="1409019" y="5589109"/>
                  <a:pt x="1084443" y="5074800"/>
                  <a:pt x="850194" y="4401445"/>
                </a:cubicBezTo>
                <a:cubicBezTo>
                  <a:pt x="706275" y="3990430"/>
                  <a:pt x="639285" y="3626957"/>
                  <a:pt x="642743" y="3292440"/>
                </a:cubicBezTo>
                <a:cubicBezTo>
                  <a:pt x="646200" y="2974346"/>
                  <a:pt x="713190" y="2654525"/>
                  <a:pt x="776722" y="2344643"/>
                </a:cubicBezTo>
                <a:cubicBezTo>
                  <a:pt x="793577" y="2262094"/>
                  <a:pt x="813457" y="2177384"/>
                  <a:pt x="830313" y="2092675"/>
                </a:cubicBezTo>
                <a:cubicBezTo>
                  <a:pt x="957379" y="1429692"/>
                  <a:pt x="997572" y="785294"/>
                  <a:pt x="947438" y="182386"/>
                </a:cubicBezTo>
                <a:cubicBezTo>
                  <a:pt x="944413" y="118421"/>
                  <a:pt x="937497" y="58779"/>
                  <a:pt x="927556" y="865"/>
                </a:cubicBezTo>
                <a:close/>
                <a:moveTo>
                  <a:pt x="482400" y="865"/>
                </a:moveTo>
                <a:lnTo>
                  <a:pt x="495797" y="865"/>
                </a:lnTo>
                <a:cubicBezTo>
                  <a:pt x="515678" y="98108"/>
                  <a:pt x="522593" y="192758"/>
                  <a:pt x="529076" y="279629"/>
                </a:cubicBezTo>
                <a:cubicBezTo>
                  <a:pt x="575753" y="882536"/>
                  <a:pt x="539016" y="1531258"/>
                  <a:pt x="418434" y="2208502"/>
                </a:cubicBezTo>
                <a:cubicBezTo>
                  <a:pt x="405036" y="2286729"/>
                  <a:pt x="391639" y="2365387"/>
                  <a:pt x="374782" y="2439725"/>
                </a:cubicBezTo>
                <a:cubicBezTo>
                  <a:pt x="314708" y="2762141"/>
                  <a:pt x="254202" y="3092335"/>
                  <a:pt x="257659" y="3420801"/>
                </a:cubicBezTo>
                <a:cubicBezTo>
                  <a:pt x="261117" y="3759207"/>
                  <a:pt x="335022" y="4124842"/>
                  <a:pt x="485424" y="4535856"/>
                </a:cubicBezTo>
                <a:cubicBezTo>
                  <a:pt x="729612" y="5198839"/>
                  <a:pt x="1074502" y="5725249"/>
                  <a:pt x="1542998" y="6148797"/>
                </a:cubicBezTo>
                <a:cubicBezTo>
                  <a:pt x="1660122" y="6256413"/>
                  <a:pt x="1787188" y="6359708"/>
                  <a:pt x="1927651" y="6458678"/>
                </a:cubicBezTo>
                <a:cubicBezTo>
                  <a:pt x="2129916" y="6601302"/>
                  <a:pt x="2350767" y="6733553"/>
                  <a:pt x="2581556" y="6857592"/>
                </a:cubicBezTo>
                <a:lnTo>
                  <a:pt x="2559515" y="6857592"/>
                </a:lnTo>
                <a:cubicBezTo>
                  <a:pt x="2333477" y="6735282"/>
                  <a:pt x="2115653" y="6604760"/>
                  <a:pt x="1914251" y="6462569"/>
                </a:cubicBezTo>
                <a:cubicBezTo>
                  <a:pt x="1777246" y="6365325"/>
                  <a:pt x="1646724" y="6262032"/>
                  <a:pt x="1529600" y="6154848"/>
                </a:cubicBezTo>
                <a:cubicBezTo>
                  <a:pt x="1064561" y="5729571"/>
                  <a:pt x="716215" y="5201000"/>
                  <a:pt x="472026" y="4538018"/>
                </a:cubicBezTo>
                <a:cubicBezTo>
                  <a:pt x="321191" y="4124842"/>
                  <a:pt x="247718" y="3761368"/>
                  <a:pt x="244261" y="3420801"/>
                </a:cubicBezTo>
                <a:cubicBezTo>
                  <a:pt x="240804" y="3092335"/>
                  <a:pt x="301310" y="2759980"/>
                  <a:pt x="361385" y="2439725"/>
                </a:cubicBezTo>
                <a:cubicBezTo>
                  <a:pt x="374782" y="2363227"/>
                  <a:pt x="391639" y="2285000"/>
                  <a:pt x="405036" y="2208502"/>
                </a:cubicBezTo>
                <a:cubicBezTo>
                  <a:pt x="525618" y="1531258"/>
                  <a:pt x="562354" y="882536"/>
                  <a:pt x="515678" y="279629"/>
                </a:cubicBezTo>
                <a:cubicBezTo>
                  <a:pt x="509195" y="192758"/>
                  <a:pt x="499254" y="98108"/>
                  <a:pt x="482400" y="865"/>
                </a:cubicBezTo>
                <a:close/>
                <a:moveTo>
                  <a:pt x="331564" y="865"/>
                </a:moveTo>
                <a:lnTo>
                  <a:pt x="344962" y="865"/>
                </a:lnTo>
                <a:cubicBezTo>
                  <a:pt x="368301" y="108481"/>
                  <a:pt x="378674" y="215664"/>
                  <a:pt x="385156" y="312908"/>
                </a:cubicBezTo>
                <a:cubicBezTo>
                  <a:pt x="431833" y="913655"/>
                  <a:pt x="395096" y="1564104"/>
                  <a:pt x="277973" y="2247832"/>
                </a:cubicBezTo>
                <a:cubicBezTo>
                  <a:pt x="264575" y="2322169"/>
                  <a:pt x="251175" y="2398667"/>
                  <a:pt x="237778" y="2470843"/>
                </a:cubicBezTo>
                <a:cubicBezTo>
                  <a:pt x="177703" y="2794987"/>
                  <a:pt x="117628" y="3131665"/>
                  <a:pt x="124111" y="3464020"/>
                </a:cubicBezTo>
                <a:cubicBezTo>
                  <a:pt x="131026" y="3804588"/>
                  <a:pt x="207957" y="4170222"/>
                  <a:pt x="361817" y="4579076"/>
                </a:cubicBezTo>
                <a:cubicBezTo>
                  <a:pt x="609463" y="5244219"/>
                  <a:pt x="957379" y="5770629"/>
                  <a:pt x="1429331" y="6194177"/>
                </a:cubicBezTo>
                <a:cubicBezTo>
                  <a:pt x="1546455" y="6301793"/>
                  <a:pt x="1676978" y="6405087"/>
                  <a:pt x="1817441" y="6504059"/>
                </a:cubicBezTo>
                <a:cubicBezTo>
                  <a:pt x="1996801" y="6628962"/>
                  <a:pt x="2191720" y="6746520"/>
                  <a:pt x="2394850" y="6857592"/>
                </a:cubicBezTo>
                <a:lnTo>
                  <a:pt x="2373240" y="6857592"/>
                </a:lnTo>
                <a:cubicBezTo>
                  <a:pt x="2173136" y="6748248"/>
                  <a:pt x="1983402" y="6632420"/>
                  <a:pt x="1807501" y="6507949"/>
                </a:cubicBezTo>
                <a:cubicBezTo>
                  <a:pt x="1667037" y="6410705"/>
                  <a:pt x="1536516" y="6307412"/>
                  <a:pt x="1415933" y="6200228"/>
                </a:cubicBezTo>
                <a:cubicBezTo>
                  <a:pt x="947438" y="5774951"/>
                  <a:pt x="596065" y="5246380"/>
                  <a:pt x="348419" y="4581237"/>
                </a:cubicBezTo>
                <a:cubicBezTo>
                  <a:pt x="194559" y="4170222"/>
                  <a:pt x="117197" y="3804588"/>
                  <a:pt x="110713" y="3464020"/>
                </a:cubicBezTo>
                <a:cubicBezTo>
                  <a:pt x="103798" y="3131665"/>
                  <a:pt x="164305" y="2794987"/>
                  <a:pt x="224380" y="2470843"/>
                </a:cubicBezTo>
                <a:cubicBezTo>
                  <a:pt x="237778" y="2396505"/>
                  <a:pt x="251175" y="2322169"/>
                  <a:pt x="264575" y="2247832"/>
                </a:cubicBezTo>
                <a:cubicBezTo>
                  <a:pt x="378240" y="1564536"/>
                  <a:pt x="415409" y="913655"/>
                  <a:pt x="371757" y="312908"/>
                </a:cubicBezTo>
                <a:cubicBezTo>
                  <a:pt x="364842" y="215664"/>
                  <a:pt x="354903" y="108048"/>
                  <a:pt x="331564" y="865"/>
                </a:cubicBezTo>
                <a:close/>
                <a:moveTo>
                  <a:pt x="177272" y="865"/>
                </a:moveTo>
                <a:lnTo>
                  <a:pt x="194126" y="865"/>
                </a:lnTo>
                <a:cubicBezTo>
                  <a:pt x="224380" y="118421"/>
                  <a:pt x="234320" y="238571"/>
                  <a:pt x="241235" y="343594"/>
                </a:cubicBezTo>
                <a:cubicBezTo>
                  <a:pt x="284887" y="944340"/>
                  <a:pt x="251175" y="1599111"/>
                  <a:pt x="137509" y="2286729"/>
                </a:cubicBezTo>
                <a:cubicBezTo>
                  <a:pt x="124111" y="2358905"/>
                  <a:pt x="110713" y="2431513"/>
                  <a:pt x="100773" y="2501528"/>
                </a:cubicBezTo>
                <a:cubicBezTo>
                  <a:pt x="72248" y="2665761"/>
                  <a:pt x="42967" y="2833020"/>
                  <a:pt x="21628" y="3001305"/>
                </a:cubicBezTo>
                <a:lnTo>
                  <a:pt x="0" y="3220433"/>
                </a:lnTo>
                <a:lnTo>
                  <a:pt x="0" y="3069197"/>
                </a:lnTo>
                <a:lnTo>
                  <a:pt x="6448" y="3000440"/>
                </a:lnTo>
                <a:cubicBezTo>
                  <a:pt x="26869" y="2832156"/>
                  <a:pt x="55177" y="2664897"/>
                  <a:pt x="83485" y="2499800"/>
                </a:cubicBezTo>
                <a:cubicBezTo>
                  <a:pt x="96883" y="2429353"/>
                  <a:pt x="110281" y="2357177"/>
                  <a:pt x="120222" y="2285000"/>
                </a:cubicBezTo>
                <a:cubicBezTo>
                  <a:pt x="233888" y="1599111"/>
                  <a:pt x="271057" y="944340"/>
                  <a:pt x="227406" y="343594"/>
                </a:cubicBezTo>
                <a:cubicBezTo>
                  <a:pt x="220923" y="238571"/>
                  <a:pt x="210550" y="118421"/>
                  <a:pt x="177272" y="865"/>
                </a:cubicBezTo>
                <a:close/>
                <a:moveTo>
                  <a:pt x="26870" y="865"/>
                </a:moveTo>
                <a:lnTo>
                  <a:pt x="39834" y="865"/>
                </a:lnTo>
                <a:cubicBezTo>
                  <a:pt x="77002" y="129226"/>
                  <a:pt x="90401" y="261045"/>
                  <a:pt x="96883" y="376872"/>
                </a:cubicBezTo>
                <a:cubicBezTo>
                  <a:pt x="129621" y="826136"/>
                  <a:pt x="117142" y="1307976"/>
                  <a:pt x="62180" y="1813458"/>
                </a:cubicBezTo>
                <a:lnTo>
                  <a:pt x="0" y="2275627"/>
                </a:lnTo>
                <a:lnTo>
                  <a:pt x="0" y="2177011"/>
                </a:lnTo>
                <a:lnTo>
                  <a:pt x="49031" y="1812364"/>
                </a:lnTo>
                <a:cubicBezTo>
                  <a:pt x="103933" y="1307733"/>
                  <a:pt x="116656" y="826136"/>
                  <a:pt x="83918" y="376872"/>
                </a:cubicBezTo>
                <a:cubicBezTo>
                  <a:pt x="77002" y="261045"/>
                  <a:pt x="63604" y="128794"/>
                  <a:pt x="26870" y="865"/>
                </a:cubicBezTo>
                <a:close/>
                <a:moveTo>
                  <a:pt x="4005629" y="433"/>
                </a:moveTo>
                <a:lnTo>
                  <a:pt x="4019027" y="433"/>
                </a:lnTo>
                <a:cubicBezTo>
                  <a:pt x="4019027" y="427871"/>
                  <a:pt x="3952037" y="857469"/>
                  <a:pt x="3811575" y="1278857"/>
                </a:cubicBezTo>
                <a:cubicBezTo>
                  <a:pt x="3771381" y="1398574"/>
                  <a:pt x="3728163" y="1518292"/>
                  <a:pt x="3684510" y="1634119"/>
                </a:cubicBezTo>
                <a:cubicBezTo>
                  <a:pt x="3590725" y="1880037"/>
                  <a:pt x="3497371" y="2135894"/>
                  <a:pt x="3453720" y="2392184"/>
                </a:cubicBezTo>
                <a:cubicBezTo>
                  <a:pt x="3403587" y="2696014"/>
                  <a:pt x="3420441" y="3026210"/>
                  <a:pt x="3510769" y="3457970"/>
                </a:cubicBezTo>
                <a:cubicBezTo>
                  <a:pt x="3651231" y="4141265"/>
                  <a:pt x="3875539" y="4632667"/>
                  <a:pt x="4236852" y="5056216"/>
                </a:cubicBezTo>
                <a:cubicBezTo>
                  <a:pt x="4330638" y="5163400"/>
                  <a:pt x="4434363" y="5271016"/>
                  <a:pt x="4551488" y="5372149"/>
                </a:cubicBezTo>
                <a:cubicBezTo>
                  <a:pt x="4905886" y="5688081"/>
                  <a:pt x="5387779" y="5987589"/>
                  <a:pt x="5980314" y="6258142"/>
                </a:cubicBezTo>
                <a:cubicBezTo>
                  <a:pt x="6124234" y="6326428"/>
                  <a:pt x="6271611" y="6390393"/>
                  <a:pt x="6422015" y="6447010"/>
                </a:cubicBezTo>
                <a:cubicBezTo>
                  <a:pt x="6815309" y="6605192"/>
                  <a:pt x="7230213" y="6742197"/>
                  <a:pt x="7663269" y="6856728"/>
                </a:cubicBezTo>
                <a:lnTo>
                  <a:pt x="7626102" y="6856728"/>
                </a:lnTo>
                <a:cubicBezTo>
                  <a:pt x="7206443" y="6743925"/>
                  <a:pt x="6799319" y="6607785"/>
                  <a:pt x="6415531" y="6455654"/>
                </a:cubicBezTo>
                <a:cubicBezTo>
                  <a:pt x="6264696" y="6395579"/>
                  <a:pt x="6114294" y="6331615"/>
                  <a:pt x="5970373" y="6265489"/>
                </a:cubicBezTo>
                <a:cubicBezTo>
                  <a:pt x="5378271" y="5993208"/>
                  <a:pt x="4896376" y="5693699"/>
                  <a:pt x="4538090" y="5375605"/>
                </a:cubicBezTo>
                <a:cubicBezTo>
                  <a:pt x="4424423" y="5274473"/>
                  <a:pt x="4317239" y="5166857"/>
                  <a:pt x="4223454" y="5059673"/>
                </a:cubicBezTo>
                <a:cubicBezTo>
                  <a:pt x="3862141" y="4636558"/>
                  <a:pt x="3637833" y="4142994"/>
                  <a:pt x="3497371" y="3459266"/>
                </a:cubicBezTo>
                <a:cubicBezTo>
                  <a:pt x="3407043" y="3025778"/>
                  <a:pt x="3390188" y="2695150"/>
                  <a:pt x="3440323" y="2391752"/>
                </a:cubicBezTo>
                <a:cubicBezTo>
                  <a:pt x="3483541" y="2133734"/>
                  <a:pt x="3577327" y="1877875"/>
                  <a:pt x="3671113" y="1631957"/>
                </a:cubicBezTo>
                <a:cubicBezTo>
                  <a:pt x="3714332" y="1516131"/>
                  <a:pt x="3757983" y="1396413"/>
                  <a:pt x="3798177" y="1276696"/>
                </a:cubicBezTo>
                <a:cubicBezTo>
                  <a:pt x="3935182" y="855309"/>
                  <a:pt x="4005629" y="427871"/>
                  <a:pt x="4005629" y="433"/>
                </a:cubicBezTo>
                <a:close/>
                <a:moveTo>
                  <a:pt x="1372282" y="433"/>
                </a:moveTo>
                <a:lnTo>
                  <a:pt x="1385681" y="433"/>
                </a:lnTo>
                <a:cubicBezTo>
                  <a:pt x="1388705" y="29390"/>
                  <a:pt x="1392163" y="56185"/>
                  <a:pt x="1392163" y="85142"/>
                </a:cubicBezTo>
                <a:cubicBezTo>
                  <a:pt x="1449213" y="690212"/>
                  <a:pt x="1405561" y="1326398"/>
                  <a:pt x="1268556" y="1976847"/>
                </a:cubicBezTo>
                <a:cubicBezTo>
                  <a:pt x="1248676" y="2068040"/>
                  <a:pt x="1224905" y="2160961"/>
                  <a:pt x="1205024" y="2251722"/>
                </a:cubicBezTo>
                <a:cubicBezTo>
                  <a:pt x="1138035" y="2549069"/>
                  <a:pt x="1067586" y="2856790"/>
                  <a:pt x="1057646" y="3164511"/>
                </a:cubicBezTo>
                <a:cubicBezTo>
                  <a:pt x="1047707" y="3492977"/>
                  <a:pt x="1107781" y="3852129"/>
                  <a:pt x="1241760" y="4265304"/>
                </a:cubicBezTo>
                <a:cubicBezTo>
                  <a:pt x="1462611" y="4938660"/>
                  <a:pt x="1773790" y="5450807"/>
                  <a:pt x="2215489" y="5876084"/>
                </a:cubicBezTo>
                <a:cubicBezTo>
                  <a:pt x="2326131" y="5983700"/>
                  <a:pt x="2449738" y="6086993"/>
                  <a:pt x="2583717" y="6185966"/>
                </a:cubicBezTo>
                <a:cubicBezTo>
                  <a:pt x="2932929" y="6448307"/>
                  <a:pt x="3348266" y="6672614"/>
                  <a:pt x="3730323" y="6858024"/>
                </a:cubicBezTo>
                <a:lnTo>
                  <a:pt x="3705687" y="6858024"/>
                </a:lnTo>
                <a:cubicBezTo>
                  <a:pt x="3326224" y="6674774"/>
                  <a:pt x="2918666" y="6452629"/>
                  <a:pt x="2570320" y="6192449"/>
                </a:cubicBezTo>
                <a:cubicBezTo>
                  <a:pt x="2439797" y="6093044"/>
                  <a:pt x="2315758" y="5987589"/>
                  <a:pt x="2202091" y="5880407"/>
                </a:cubicBezTo>
                <a:cubicBezTo>
                  <a:pt x="1760392" y="5452968"/>
                  <a:pt x="1449213" y="4940821"/>
                  <a:pt x="1228362" y="4267466"/>
                </a:cubicBezTo>
                <a:cubicBezTo>
                  <a:pt x="1094384" y="3854289"/>
                  <a:pt x="1030850" y="3492977"/>
                  <a:pt x="1040791" y="3164511"/>
                </a:cubicBezTo>
                <a:cubicBezTo>
                  <a:pt x="1051163" y="2856790"/>
                  <a:pt x="1124636" y="2547341"/>
                  <a:pt x="1191627" y="2249561"/>
                </a:cubicBezTo>
                <a:cubicBezTo>
                  <a:pt x="1211507" y="2160529"/>
                  <a:pt x="1234846" y="2067608"/>
                  <a:pt x="1251701" y="1974686"/>
                </a:cubicBezTo>
                <a:cubicBezTo>
                  <a:pt x="1392163" y="1326398"/>
                  <a:pt x="1432357" y="690212"/>
                  <a:pt x="1378765" y="85142"/>
                </a:cubicBezTo>
                <a:cubicBezTo>
                  <a:pt x="1375740" y="56185"/>
                  <a:pt x="1375740" y="29390"/>
                  <a:pt x="1372282" y="433"/>
                </a:cubicBezTo>
                <a:close/>
                <a:moveTo>
                  <a:pt x="1225337" y="433"/>
                </a:moveTo>
                <a:lnTo>
                  <a:pt x="1238734" y="433"/>
                </a:lnTo>
                <a:cubicBezTo>
                  <a:pt x="1242193" y="39762"/>
                  <a:pt x="1245218" y="79091"/>
                  <a:pt x="1248676" y="116260"/>
                </a:cubicBezTo>
                <a:cubicBezTo>
                  <a:pt x="1302267" y="721330"/>
                  <a:pt x="1262074" y="1361405"/>
                  <a:pt x="1125069" y="2016176"/>
                </a:cubicBezTo>
                <a:cubicBezTo>
                  <a:pt x="1108213" y="2104776"/>
                  <a:pt x="1087900" y="2195536"/>
                  <a:pt x="1068020" y="2282407"/>
                </a:cubicBezTo>
                <a:cubicBezTo>
                  <a:pt x="1001030" y="2584077"/>
                  <a:pt x="930581" y="2895687"/>
                  <a:pt x="924099" y="3207730"/>
                </a:cubicBezTo>
                <a:cubicBezTo>
                  <a:pt x="914159" y="3536196"/>
                  <a:pt x="977691" y="3897509"/>
                  <a:pt x="1118153" y="4310684"/>
                </a:cubicBezTo>
                <a:cubicBezTo>
                  <a:pt x="1342029" y="4984040"/>
                  <a:pt x="1656665" y="5494027"/>
                  <a:pt x="2101823" y="5921465"/>
                </a:cubicBezTo>
                <a:cubicBezTo>
                  <a:pt x="2215489" y="6029081"/>
                  <a:pt x="2339096" y="6132374"/>
                  <a:pt x="2473076" y="6231346"/>
                </a:cubicBezTo>
                <a:cubicBezTo>
                  <a:pt x="2797651" y="6471212"/>
                  <a:pt x="3177981" y="6680826"/>
                  <a:pt x="3536701" y="6857592"/>
                </a:cubicBezTo>
                <a:lnTo>
                  <a:pt x="3511634" y="6857592"/>
                </a:lnTo>
                <a:cubicBezTo>
                  <a:pt x="3155507" y="6682554"/>
                  <a:pt x="2781230" y="6475103"/>
                  <a:pt x="2463136" y="6237397"/>
                </a:cubicBezTo>
                <a:cubicBezTo>
                  <a:pt x="2329588" y="6137993"/>
                  <a:pt x="2202524" y="6032537"/>
                  <a:pt x="2091882" y="5925354"/>
                </a:cubicBezTo>
                <a:cubicBezTo>
                  <a:pt x="1643267" y="5497916"/>
                  <a:pt x="1329063" y="4985769"/>
                  <a:pt x="1101298" y="4312414"/>
                </a:cubicBezTo>
                <a:cubicBezTo>
                  <a:pt x="964293" y="3899238"/>
                  <a:pt x="900761" y="3536196"/>
                  <a:pt x="910701" y="3205569"/>
                </a:cubicBezTo>
                <a:cubicBezTo>
                  <a:pt x="917616" y="2895687"/>
                  <a:pt x="987631" y="2584077"/>
                  <a:pt x="1054621" y="2282407"/>
                </a:cubicBezTo>
                <a:cubicBezTo>
                  <a:pt x="1074934" y="2193807"/>
                  <a:pt x="1094815" y="2102616"/>
                  <a:pt x="1111671" y="2014016"/>
                </a:cubicBezTo>
                <a:cubicBezTo>
                  <a:pt x="1245218" y="1359677"/>
                  <a:pt x="1288869" y="721330"/>
                  <a:pt x="1235277" y="116260"/>
                </a:cubicBezTo>
                <a:cubicBezTo>
                  <a:pt x="1231819" y="79091"/>
                  <a:pt x="1228794" y="39762"/>
                  <a:pt x="1225337" y="433"/>
                </a:cubicBezTo>
                <a:close/>
                <a:moveTo>
                  <a:pt x="1074069" y="433"/>
                </a:moveTo>
                <a:lnTo>
                  <a:pt x="1090925" y="433"/>
                </a:lnTo>
                <a:cubicBezTo>
                  <a:pt x="1097840" y="47974"/>
                  <a:pt x="1100866" y="97676"/>
                  <a:pt x="1104323" y="149107"/>
                </a:cubicBezTo>
                <a:cubicBezTo>
                  <a:pt x="1157916" y="754176"/>
                  <a:pt x="1117721" y="1394685"/>
                  <a:pt x="983741" y="2053345"/>
                </a:cubicBezTo>
                <a:cubicBezTo>
                  <a:pt x="966887" y="2142376"/>
                  <a:pt x="947006" y="2228815"/>
                  <a:pt x="930150" y="2315686"/>
                </a:cubicBezTo>
                <a:cubicBezTo>
                  <a:pt x="863160" y="2619518"/>
                  <a:pt x="796170" y="2935449"/>
                  <a:pt x="789687" y="3249221"/>
                </a:cubicBezTo>
                <a:cubicBezTo>
                  <a:pt x="783204" y="3581576"/>
                  <a:pt x="850194" y="3942889"/>
                  <a:pt x="990657" y="4356065"/>
                </a:cubicBezTo>
                <a:cubicBezTo>
                  <a:pt x="1221880" y="5027259"/>
                  <a:pt x="1539540" y="5539406"/>
                  <a:pt x="1991614" y="5966845"/>
                </a:cubicBezTo>
                <a:cubicBezTo>
                  <a:pt x="2105282" y="6074461"/>
                  <a:pt x="2228887" y="6177754"/>
                  <a:pt x="2362867" y="6276726"/>
                </a:cubicBezTo>
                <a:cubicBezTo>
                  <a:pt x="2662808" y="6496280"/>
                  <a:pt x="3004672" y="6688605"/>
                  <a:pt x="3342214" y="6858024"/>
                </a:cubicBezTo>
                <a:lnTo>
                  <a:pt x="3320605" y="6858024"/>
                </a:lnTo>
                <a:cubicBezTo>
                  <a:pt x="2985657" y="6690766"/>
                  <a:pt x="2649843" y="6500602"/>
                  <a:pt x="2352927" y="6283209"/>
                </a:cubicBezTo>
                <a:cubicBezTo>
                  <a:pt x="2219381" y="6183805"/>
                  <a:pt x="2091882" y="6078350"/>
                  <a:pt x="1978216" y="5971166"/>
                </a:cubicBezTo>
                <a:cubicBezTo>
                  <a:pt x="1526575" y="5543729"/>
                  <a:pt x="1208483" y="5031581"/>
                  <a:pt x="977691" y="4358225"/>
                </a:cubicBezTo>
                <a:cubicBezTo>
                  <a:pt x="836797" y="3945050"/>
                  <a:pt x="770240" y="3581576"/>
                  <a:pt x="776722" y="3249221"/>
                </a:cubicBezTo>
                <a:cubicBezTo>
                  <a:pt x="783204" y="2935449"/>
                  <a:pt x="850194" y="2619518"/>
                  <a:pt x="913294" y="2313525"/>
                </a:cubicBezTo>
                <a:cubicBezTo>
                  <a:pt x="933608" y="2228815"/>
                  <a:pt x="953489" y="2140216"/>
                  <a:pt x="970344" y="2053345"/>
                </a:cubicBezTo>
                <a:cubicBezTo>
                  <a:pt x="1100866" y="1394253"/>
                  <a:pt x="1141060" y="754176"/>
                  <a:pt x="1090925" y="149107"/>
                </a:cubicBezTo>
                <a:cubicBezTo>
                  <a:pt x="1087468" y="97676"/>
                  <a:pt x="1080552" y="47974"/>
                  <a:pt x="1074069" y="433"/>
                </a:cubicBezTo>
                <a:close/>
                <a:moveTo>
                  <a:pt x="780179" y="433"/>
                </a:moveTo>
                <a:lnTo>
                  <a:pt x="793577" y="433"/>
                </a:lnTo>
                <a:cubicBezTo>
                  <a:pt x="806974" y="74770"/>
                  <a:pt x="813457" y="146946"/>
                  <a:pt x="816915" y="213072"/>
                </a:cubicBezTo>
                <a:cubicBezTo>
                  <a:pt x="867049" y="818140"/>
                  <a:pt x="826856" y="1462539"/>
                  <a:pt x="703249" y="2131572"/>
                </a:cubicBezTo>
                <a:cubicBezTo>
                  <a:pt x="686393" y="2214553"/>
                  <a:pt x="669970" y="2297102"/>
                  <a:pt x="653115" y="2377489"/>
                </a:cubicBezTo>
                <a:cubicBezTo>
                  <a:pt x="589583" y="2691261"/>
                  <a:pt x="526050" y="3013676"/>
                  <a:pt x="522593" y="3335659"/>
                </a:cubicBezTo>
                <a:cubicBezTo>
                  <a:pt x="522593" y="3670175"/>
                  <a:pt x="592609" y="4033650"/>
                  <a:pt x="739985" y="4444664"/>
                </a:cubicBezTo>
                <a:cubicBezTo>
                  <a:pt x="977691" y="5118019"/>
                  <a:pt x="1305292" y="5630167"/>
                  <a:pt x="1767306" y="6057605"/>
                </a:cubicBezTo>
                <a:cubicBezTo>
                  <a:pt x="1880974" y="6165220"/>
                  <a:pt x="2008470" y="6268515"/>
                  <a:pt x="2145475" y="6367487"/>
                </a:cubicBezTo>
                <a:cubicBezTo>
                  <a:pt x="2395282" y="6546846"/>
                  <a:pt x="2675774" y="6709783"/>
                  <a:pt x="2960590" y="6857160"/>
                </a:cubicBezTo>
                <a:lnTo>
                  <a:pt x="2936818" y="6857160"/>
                </a:lnTo>
                <a:cubicBezTo>
                  <a:pt x="2655894" y="6711079"/>
                  <a:pt x="2379290" y="6550304"/>
                  <a:pt x="2135535" y="6373105"/>
                </a:cubicBezTo>
                <a:cubicBezTo>
                  <a:pt x="1998098" y="6273700"/>
                  <a:pt x="1871033" y="6168678"/>
                  <a:pt x="1753909" y="6063223"/>
                </a:cubicBezTo>
                <a:cubicBezTo>
                  <a:pt x="1292327" y="5634057"/>
                  <a:pt x="964293" y="5119748"/>
                  <a:pt x="726587" y="4446393"/>
                </a:cubicBezTo>
                <a:cubicBezTo>
                  <a:pt x="579642" y="4033218"/>
                  <a:pt x="509195" y="3669743"/>
                  <a:pt x="509195" y="3335227"/>
                </a:cubicBezTo>
                <a:cubicBezTo>
                  <a:pt x="512652" y="3013243"/>
                  <a:pt x="576185" y="2689099"/>
                  <a:pt x="639717" y="2377057"/>
                </a:cubicBezTo>
                <a:cubicBezTo>
                  <a:pt x="656141" y="2296670"/>
                  <a:pt x="672995" y="2211960"/>
                  <a:pt x="686393" y="2129411"/>
                </a:cubicBezTo>
                <a:cubicBezTo>
                  <a:pt x="813457" y="1462539"/>
                  <a:pt x="853652" y="818140"/>
                  <a:pt x="803517" y="215232"/>
                </a:cubicBezTo>
                <a:cubicBezTo>
                  <a:pt x="797035" y="146946"/>
                  <a:pt x="790119" y="74770"/>
                  <a:pt x="780179" y="433"/>
                </a:cubicBezTo>
                <a:close/>
                <a:moveTo>
                  <a:pt x="628912" y="433"/>
                </a:moveTo>
                <a:lnTo>
                  <a:pt x="645768" y="433"/>
                </a:lnTo>
                <a:cubicBezTo>
                  <a:pt x="659165" y="85142"/>
                  <a:pt x="669106" y="169852"/>
                  <a:pt x="672563" y="246350"/>
                </a:cubicBezTo>
                <a:cubicBezTo>
                  <a:pt x="719672" y="849258"/>
                  <a:pt x="682504" y="1497546"/>
                  <a:pt x="558897" y="2170901"/>
                </a:cubicBezTo>
                <a:cubicBezTo>
                  <a:pt x="545499" y="2249128"/>
                  <a:pt x="528644" y="2329516"/>
                  <a:pt x="515245" y="2408175"/>
                </a:cubicBezTo>
                <a:cubicBezTo>
                  <a:pt x="451713" y="2726268"/>
                  <a:pt x="388180" y="3052574"/>
                  <a:pt x="391639" y="3378879"/>
                </a:cubicBezTo>
                <a:cubicBezTo>
                  <a:pt x="391639" y="3715556"/>
                  <a:pt x="465112" y="4079029"/>
                  <a:pt x="612488" y="4490044"/>
                </a:cubicBezTo>
                <a:cubicBezTo>
                  <a:pt x="856678" y="5163400"/>
                  <a:pt x="1188168" y="5675547"/>
                  <a:pt x="1653207" y="6102985"/>
                </a:cubicBezTo>
                <a:cubicBezTo>
                  <a:pt x="1770332" y="6210601"/>
                  <a:pt x="1897829" y="6313895"/>
                  <a:pt x="2034834" y="6412867"/>
                </a:cubicBezTo>
                <a:cubicBezTo>
                  <a:pt x="2262167" y="6574938"/>
                  <a:pt x="2510676" y="6721884"/>
                  <a:pt x="2768696" y="6857592"/>
                </a:cubicBezTo>
                <a:lnTo>
                  <a:pt x="2748382" y="6857592"/>
                </a:lnTo>
                <a:cubicBezTo>
                  <a:pt x="2493821" y="6724045"/>
                  <a:pt x="2248768" y="6578828"/>
                  <a:pt x="2024893" y="6419349"/>
                </a:cubicBezTo>
                <a:cubicBezTo>
                  <a:pt x="1887456" y="6319945"/>
                  <a:pt x="1756935" y="6214923"/>
                  <a:pt x="1643267" y="6109468"/>
                </a:cubicBezTo>
                <a:cubicBezTo>
                  <a:pt x="1174770" y="5679869"/>
                  <a:pt x="843711" y="5165560"/>
                  <a:pt x="599091" y="4492205"/>
                </a:cubicBezTo>
                <a:cubicBezTo>
                  <a:pt x="451713" y="4079461"/>
                  <a:pt x="378240" y="3715988"/>
                  <a:pt x="374782" y="3379311"/>
                </a:cubicBezTo>
                <a:cubicBezTo>
                  <a:pt x="374782" y="3053006"/>
                  <a:pt x="438315" y="2724540"/>
                  <a:pt x="501847" y="2408607"/>
                </a:cubicBezTo>
                <a:cubicBezTo>
                  <a:pt x="515245" y="2330380"/>
                  <a:pt x="532101" y="2249561"/>
                  <a:pt x="545499" y="2169173"/>
                </a:cubicBezTo>
                <a:cubicBezTo>
                  <a:pt x="669106" y="1497978"/>
                  <a:pt x="705841" y="849258"/>
                  <a:pt x="659165" y="246350"/>
                </a:cubicBezTo>
                <a:cubicBezTo>
                  <a:pt x="652251" y="169852"/>
                  <a:pt x="645768" y="85142"/>
                  <a:pt x="628912" y="433"/>
                </a:cubicBezTo>
                <a:close/>
                <a:moveTo>
                  <a:pt x="4150413" y="0"/>
                </a:moveTo>
                <a:lnTo>
                  <a:pt x="4163811" y="0"/>
                </a:lnTo>
                <a:cubicBezTo>
                  <a:pt x="4160354" y="414905"/>
                  <a:pt x="4089906" y="830242"/>
                  <a:pt x="3952901" y="1239096"/>
                </a:cubicBezTo>
                <a:cubicBezTo>
                  <a:pt x="3912708" y="1359244"/>
                  <a:pt x="3866031" y="1480691"/>
                  <a:pt x="3822380" y="1596518"/>
                </a:cubicBezTo>
                <a:cubicBezTo>
                  <a:pt x="3728595" y="1842004"/>
                  <a:pt x="3631783" y="2093971"/>
                  <a:pt x="3588131" y="2348100"/>
                </a:cubicBezTo>
                <a:cubicBezTo>
                  <a:pt x="3534540" y="2651932"/>
                  <a:pt x="3551395" y="2980397"/>
                  <a:pt x="3638265" y="3413886"/>
                </a:cubicBezTo>
                <a:cubicBezTo>
                  <a:pt x="3771814" y="4095452"/>
                  <a:pt x="3992663" y="4589016"/>
                  <a:pt x="4350951" y="5010403"/>
                </a:cubicBezTo>
                <a:cubicBezTo>
                  <a:pt x="4441278" y="5117587"/>
                  <a:pt x="4545005" y="5225203"/>
                  <a:pt x="4658670" y="5326336"/>
                </a:cubicBezTo>
                <a:cubicBezTo>
                  <a:pt x="5016958" y="5644429"/>
                  <a:pt x="5495395" y="5943938"/>
                  <a:pt x="6081015" y="6214491"/>
                </a:cubicBezTo>
                <a:cubicBezTo>
                  <a:pt x="6224935" y="6280616"/>
                  <a:pt x="6372312" y="6344581"/>
                  <a:pt x="6522715" y="6404654"/>
                </a:cubicBezTo>
                <a:cubicBezTo>
                  <a:pt x="6931137" y="6568024"/>
                  <a:pt x="7369379" y="6708486"/>
                  <a:pt x="7824477" y="6826042"/>
                </a:cubicBezTo>
                <a:cubicBezTo>
                  <a:pt x="7865969" y="6836847"/>
                  <a:pt x="7908323" y="6847220"/>
                  <a:pt x="7951543" y="6857160"/>
                </a:cubicBezTo>
                <a:lnTo>
                  <a:pt x="7910051" y="6857160"/>
                </a:lnTo>
                <a:cubicBezTo>
                  <a:pt x="7878934" y="6849381"/>
                  <a:pt x="7848248" y="6841601"/>
                  <a:pt x="7817994" y="6833822"/>
                </a:cubicBezTo>
                <a:cubicBezTo>
                  <a:pt x="7362897" y="6715833"/>
                  <a:pt x="6924654" y="6573210"/>
                  <a:pt x="6516232" y="6410273"/>
                </a:cubicBezTo>
                <a:cubicBezTo>
                  <a:pt x="6365397" y="6350198"/>
                  <a:pt x="6218452" y="6288395"/>
                  <a:pt x="6071074" y="6220110"/>
                </a:cubicBezTo>
                <a:cubicBezTo>
                  <a:pt x="5485455" y="5949557"/>
                  <a:pt x="5007019" y="5650480"/>
                  <a:pt x="4648731" y="5330225"/>
                </a:cubicBezTo>
                <a:cubicBezTo>
                  <a:pt x="4535064" y="5229092"/>
                  <a:pt x="4427881" y="5121477"/>
                  <a:pt x="4337553" y="5014293"/>
                </a:cubicBezTo>
                <a:cubicBezTo>
                  <a:pt x="3979698" y="4591177"/>
                  <a:pt x="3758416" y="4097614"/>
                  <a:pt x="3621411" y="3413886"/>
                </a:cubicBezTo>
                <a:cubicBezTo>
                  <a:pt x="3534540" y="2979965"/>
                  <a:pt x="3521142" y="2651500"/>
                  <a:pt x="3574733" y="2348100"/>
                </a:cubicBezTo>
                <a:cubicBezTo>
                  <a:pt x="3618386" y="2092242"/>
                  <a:pt x="3715197" y="1840274"/>
                  <a:pt x="3808982" y="1594358"/>
                </a:cubicBezTo>
                <a:cubicBezTo>
                  <a:pt x="3852633" y="1478530"/>
                  <a:pt x="3899309" y="1356652"/>
                  <a:pt x="3939503" y="1239096"/>
                </a:cubicBezTo>
                <a:cubicBezTo>
                  <a:pt x="4076940" y="830242"/>
                  <a:pt x="4146956" y="414905"/>
                  <a:pt x="4150413" y="0"/>
                </a:cubicBezTo>
                <a:close/>
              </a:path>
            </a:pathLst>
          </a:custGeom>
          <a:solidFill>
            <a:schemeClr val="bg1">
              <a:lumMod val="85000"/>
              <a:alpha val="3035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24FEA05A-4BEE-924B-B56C-B716191BDA1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015" y="923889"/>
            <a:ext cx="2541915" cy="107371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65F7EBB-091F-AA44-B62F-D26DB40C1BF2}"/>
              </a:ext>
            </a:extLst>
          </p:cNvPr>
          <p:cNvCxnSpPr>
            <a:cxnSpLocks/>
          </p:cNvCxnSpPr>
          <p:nvPr userDrawn="1"/>
        </p:nvCxnSpPr>
        <p:spPr>
          <a:xfrm>
            <a:off x="410501" y="5064093"/>
            <a:ext cx="5767451" cy="0"/>
          </a:xfrm>
          <a:prstGeom prst="line">
            <a:avLst/>
          </a:prstGeom>
          <a:ln>
            <a:gradFill flip="none" rotWithShape="1">
              <a:gsLst>
                <a:gs pos="10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D03E0CF7-E95F-5345-8496-9FD03146F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4044" y="2872222"/>
            <a:ext cx="5767451" cy="197248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400" b="1" cap="none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over Slide 2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4B3AC23-0499-3246-8976-3C6EC59C3B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4044" y="5283483"/>
            <a:ext cx="576745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cap="all" spc="300" baseline="0">
                <a:solidFill>
                  <a:schemeClr val="tx2"/>
                </a:solidFill>
                <a:latin typeface="+mn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528521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F56BB7-CB05-4C93-B90E-4B868380772B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rgbClr val="F79F0A"/>
              </a:gs>
              <a:gs pos="66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330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4ABE5B3-470A-4DEB-9F72-3889582A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48594"/>
            <a:ext cx="11585448" cy="4009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BE8DAE2-BD49-4694-A73D-9CC18C669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1752" y="724845"/>
            <a:ext cx="11585448" cy="31659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7C169-86D5-4825-A629-FE123F71D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BFC954-89B2-4817-9C7D-7C4BABB44469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rgbClr val="F79F0A"/>
              </a:gs>
              <a:gs pos="66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8714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0205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008AEB-F092-4B15-A9B2-344A1F6810C5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8979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A4B9D9AB-9CDE-4794-A599-6AA5A92709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088" y="0"/>
            <a:ext cx="11868912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B9D08DE-A696-4CFD-95FB-3748071F69A4}"/>
              </a:ext>
            </a:extLst>
          </p:cNvPr>
          <p:cNvSpPr/>
          <p:nvPr userDrawn="1"/>
        </p:nvSpPr>
        <p:spPr>
          <a:xfrm>
            <a:off x="0" y="-2381"/>
            <a:ext cx="12192000" cy="6858000"/>
          </a:xfrm>
          <a:prstGeom prst="rect">
            <a:avLst/>
          </a:prstGeom>
          <a:gradFill flip="none" rotWithShape="1">
            <a:gsLst>
              <a:gs pos="64000">
                <a:schemeClr val="bg1">
                  <a:alpha val="92000"/>
                </a:schemeClr>
              </a:gs>
              <a:gs pos="81000">
                <a:schemeClr val="bg1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327499-4B23-4CF8-BFAD-E72B8F453FB1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5503B99-ECF7-4162-80C5-D2B7A43A3685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30DC7B0B-0CCF-49CD-8AC5-2A8401DCF0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A6DD14-BB6A-4FDA-B68D-749139729F91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008AEB-F092-4B15-A9B2-344A1F6810C5}"/>
              </a:ext>
            </a:extLst>
          </p:cNvPr>
          <p:cNvSpPr/>
          <p:nvPr userDrawn="1"/>
        </p:nvSpPr>
        <p:spPr>
          <a:xfrm>
            <a:off x="0" y="6801692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03426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008AEB-F092-4B15-A9B2-344A1F6810C5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52067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6008AEB-F092-4B15-A9B2-344A1F6810C5}"/>
              </a:ext>
            </a:extLst>
          </p:cNvPr>
          <p:cNvSpPr/>
          <p:nvPr userDrawn="1"/>
        </p:nvSpPr>
        <p:spPr>
          <a:xfrm>
            <a:off x="0" y="6801692"/>
            <a:ext cx="12192000" cy="563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0B395E-FD7F-88EA-DFC7-7F978BF2B987}"/>
              </a:ext>
            </a:extLst>
          </p:cNvPr>
          <p:cNvSpPr txBox="1"/>
          <p:nvPr userDrawn="1"/>
        </p:nvSpPr>
        <p:spPr>
          <a:xfrm>
            <a:off x="63795" y="6166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8522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C18219-54B1-4D59-A8A1-7645862411E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1752" y="5768975"/>
            <a:ext cx="1158240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E9BD2B-04CC-4362-A75E-8B88A793C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48594"/>
            <a:ext cx="11582401" cy="4009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D4950A0-7607-4B90-B4BE-901792B45D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1752" y="724845"/>
            <a:ext cx="11582401" cy="31659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F1629FC-80E8-4151-B5A0-B0523AE869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219200"/>
            <a:ext cx="11582400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D618287-440B-40DC-99EF-0A7C0C3EBB38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rgbClr val="F79F0A"/>
              </a:gs>
              <a:gs pos="66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70729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303C9A5E-3343-4DAF-8C3D-D340C000C5E8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ABB5AABD-3B66-4C97-9E06-3748FCBC3FCD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C54FE32-B7A8-4802-B140-358DD858B82C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4C4CF-E0FF-4631-9D1F-8D38774406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752" y="5768975"/>
            <a:ext cx="1158545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02F01A-3D30-4A7C-B7E6-B116EF887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5" cy="792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303B27AC-14C7-4C16-99E2-033E746B77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6138" y="6238530"/>
            <a:ext cx="881062" cy="3721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3CCC2D8-78C5-4181-B0F3-8AD1F7C0A609}"/>
              </a:ext>
            </a:extLst>
          </p:cNvPr>
          <p:cNvSpPr txBox="1"/>
          <p:nvPr userDrawn="1"/>
        </p:nvSpPr>
        <p:spPr>
          <a:xfrm>
            <a:off x="301752" y="6210300"/>
            <a:ext cx="234949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ct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E5547B-FD22-4D92-84A8-0BEF72C1209F}"/>
              </a:ext>
            </a:extLst>
          </p:cNvPr>
          <p:cNvSpPr txBox="1"/>
          <p:nvPr userDrawn="1"/>
        </p:nvSpPr>
        <p:spPr>
          <a:xfrm>
            <a:off x="792291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69452B3-C53B-4572-8646-06E381692CF0}"/>
              </a:ext>
            </a:extLst>
          </p:cNvPr>
          <p:cNvCxnSpPr>
            <a:cxnSpLocks/>
          </p:cNvCxnSpPr>
          <p:nvPr userDrawn="1"/>
        </p:nvCxnSpPr>
        <p:spPr>
          <a:xfrm>
            <a:off x="664496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3177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7F8FEF2-B43A-444D-B499-C91305539E6A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E59B24D9-C291-49F5-A824-003424A94A83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D8A013-61C5-439D-BD45-9817D5D6F3D6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39982ED6-947D-45DE-A534-00E7604D1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6138" y="6238530"/>
            <a:ext cx="881062" cy="37216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3D4F435-7465-417B-8E9B-3815E6B718C7}"/>
              </a:ext>
            </a:extLst>
          </p:cNvPr>
          <p:cNvSpPr txBox="1"/>
          <p:nvPr userDrawn="1"/>
        </p:nvSpPr>
        <p:spPr>
          <a:xfrm>
            <a:off x="792291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254868-CE8A-405C-9992-29F244B829EC}"/>
              </a:ext>
            </a:extLst>
          </p:cNvPr>
          <p:cNvSpPr txBox="1"/>
          <p:nvPr userDrawn="1"/>
        </p:nvSpPr>
        <p:spPr>
          <a:xfrm>
            <a:off x="301752" y="6210300"/>
            <a:ext cx="234949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ct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8346DC1-06A2-4B4B-AE2D-09235D2417D1}"/>
              </a:ext>
            </a:extLst>
          </p:cNvPr>
          <p:cNvCxnSpPr>
            <a:cxnSpLocks/>
          </p:cNvCxnSpPr>
          <p:nvPr userDrawn="1"/>
        </p:nvCxnSpPr>
        <p:spPr>
          <a:xfrm>
            <a:off x="664496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6" cy="792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1" y="1219201"/>
            <a:ext cx="11585449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1" y="5768975"/>
            <a:ext cx="11585453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59975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7F8FEF2-B43A-444D-B499-C91305539E6A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E59B24D9-C291-49F5-A824-003424A94A83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D8A013-61C5-439D-BD45-9817D5D6F3D6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39982ED6-947D-45DE-A534-00E7604D1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6138" y="6238530"/>
            <a:ext cx="881062" cy="37216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C254868-CE8A-405C-9992-29F244B829EC}"/>
              </a:ext>
            </a:extLst>
          </p:cNvPr>
          <p:cNvSpPr txBox="1"/>
          <p:nvPr userDrawn="1"/>
        </p:nvSpPr>
        <p:spPr>
          <a:xfrm>
            <a:off x="301752" y="6210300"/>
            <a:ext cx="234949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ct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D4F435-7465-417B-8E9B-3815E6B718C7}"/>
              </a:ext>
            </a:extLst>
          </p:cNvPr>
          <p:cNvSpPr txBox="1"/>
          <p:nvPr userDrawn="1"/>
        </p:nvSpPr>
        <p:spPr>
          <a:xfrm>
            <a:off x="792291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8346DC1-06A2-4B4B-AE2D-09235D2417D1}"/>
              </a:ext>
            </a:extLst>
          </p:cNvPr>
          <p:cNvCxnSpPr>
            <a:cxnSpLocks/>
          </p:cNvCxnSpPr>
          <p:nvPr userDrawn="1"/>
        </p:nvCxnSpPr>
        <p:spPr>
          <a:xfrm>
            <a:off x="664496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5" cy="792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52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18494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7F8FEF2-B43A-444D-B499-C91305539E6A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E59B24D9-C291-49F5-A824-003424A94A83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D8A013-61C5-439D-BD45-9817D5D6F3D6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39982ED6-947D-45DE-A534-00E7604D1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6138" y="6238530"/>
            <a:ext cx="881062" cy="37216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C254868-CE8A-405C-9992-29F244B829EC}"/>
              </a:ext>
            </a:extLst>
          </p:cNvPr>
          <p:cNvSpPr txBox="1"/>
          <p:nvPr userDrawn="1"/>
        </p:nvSpPr>
        <p:spPr>
          <a:xfrm>
            <a:off x="301752" y="6210300"/>
            <a:ext cx="234949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ct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D4F435-7465-417B-8E9B-3815E6B718C7}"/>
              </a:ext>
            </a:extLst>
          </p:cNvPr>
          <p:cNvSpPr txBox="1"/>
          <p:nvPr userDrawn="1"/>
        </p:nvSpPr>
        <p:spPr>
          <a:xfrm>
            <a:off x="792291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8346DC1-06A2-4B4B-AE2D-09235D2417D1}"/>
              </a:ext>
            </a:extLst>
          </p:cNvPr>
          <p:cNvCxnSpPr>
            <a:cxnSpLocks/>
          </p:cNvCxnSpPr>
          <p:nvPr userDrawn="1"/>
        </p:nvCxnSpPr>
        <p:spPr>
          <a:xfrm>
            <a:off x="664496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6" cy="7928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1" y="1219201"/>
            <a:ext cx="11585449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1" y="5768975"/>
            <a:ext cx="11585453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5234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E7C987B-CFF9-4FB3-BB42-53DBF01562B8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DD47B7CB-A0A7-4DA7-9D04-5D957D2B26A7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A48E16-111C-49E3-A9DB-C80865B4385F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313C8-1CF3-4059-87CE-3BA99B8CFC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F56BB7-CB05-4C93-B90E-4B868380772B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F620A1-4F45-4A2E-8E96-EB761AD5B06B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B2A7C5-F658-4AFA-AC2E-B8F9170F79FC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1C75D13-D4B7-4015-856F-1671A33FDB82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669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6239ED46-5EED-47C7-9301-5BE1CF31A58A}"/>
              </a:ext>
            </a:extLst>
          </p:cNvPr>
          <p:cNvGrpSpPr/>
          <p:nvPr userDrawn="1"/>
        </p:nvGrpSpPr>
        <p:grpSpPr>
          <a:xfrm>
            <a:off x="0" y="-889"/>
            <a:ext cx="12192000" cy="6858889"/>
            <a:chOff x="0" y="-889"/>
            <a:chExt cx="12192000" cy="6858889"/>
          </a:xfrm>
        </p:grpSpPr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A9448693-CC1B-42D8-8B5A-FF46EEE844A7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A98D11E-FEA8-476C-85E4-C393F6B22E4E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E81317-9F05-4B15-B0D6-EDD09636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66699"/>
            <a:ext cx="11585448" cy="792843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0A3E-BBA4-43B8-A931-0C78BD8D8F4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1752" y="1219201"/>
            <a:ext cx="11585448" cy="441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A30F7-982D-44C8-8697-03EE0B2E0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1752" y="5768975"/>
            <a:ext cx="1158544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AF96B9-43D4-481A-8EF0-4A935097B401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EBC14E-A2BB-4358-ADE4-7D9B9935D0F4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D9EE502-E0E9-4C3F-AF80-E40B866BFBE9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8B85853-EA1F-4962-B3CD-A0BD82B86970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1718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6008AEB-F092-4B15-A9B2-344A1F6810C5}"/>
              </a:ext>
            </a:extLst>
          </p:cNvPr>
          <p:cNvSpPr/>
          <p:nvPr userDrawn="1"/>
        </p:nvSpPr>
        <p:spPr>
          <a:xfrm>
            <a:off x="0" y="6801692"/>
            <a:ext cx="12192000" cy="563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0B395E-FD7F-88EA-DFC7-7F978BF2B987}"/>
              </a:ext>
            </a:extLst>
          </p:cNvPr>
          <p:cNvSpPr txBox="1"/>
          <p:nvPr userDrawn="1"/>
        </p:nvSpPr>
        <p:spPr>
          <a:xfrm>
            <a:off x="63795" y="6166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5430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92311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F88E9-0EFC-4520-A892-FDE397C755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92" y="266700"/>
            <a:ext cx="11574308" cy="509588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1000000"/>
              </a:spcBef>
              <a:spcAft>
                <a:spcPts val="0"/>
              </a:spcAft>
              <a:buFontTx/>
              <a:buNone/>
              <a:defRPr sz="2800" b="1" i="0">
                <a:solidFill>
                  <a:srgbClr val="021E41"/>
                </a:solidFill>
                <a:latin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9003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7488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EDFEB8-3FB3-FC48-C032-F0A14CC83C42}"/>
              </a:ext>
            </a:extLst>
          </p:cNvPr>
          <p:cNvSpPr/>
          <p:nvPr userDrawn="1"/>
        </p:nvSpPr>
        <p:spPr>
          <a:xfrm>
            <a:off x="0" y="0"/>
            <a:ext cx="3356640" cy="6858000"/>
          </a:xfrm>
          <a:prstGeom prst="rect">
            <a:avLst/>
          </a:prstGeom>
          <a:gradFill flip="none" rotWithShape="1">
            <a:gsLst>
              <a:gs pos="61000">
                <a:schemeClr val="accent3"/>
              </a:gs>
              <a:gs pos="16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12593962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B1C629F-0973-602C-B1FE-38E562AA7CD5}"/>
              </a:ext>
            </a:extLst>
          </p:cNvPr>
          <p:cNvGrpSpPr/>
          <p:nvPr userDrawn="1"/>
        </p:nvGrpSpPr>
        <p:grpSpPr>
          <a:xfrm>
            <a:off x="0" y="-889"/>
            <a:ext cx="12195176" cy="6858889"/>
            <a:chOff x="0" y="-889"/>
            <a:chExt cx="12192000" cy="6858889"/>
          </a:xfrm>
        </p:grpSpPr>
        <p:sp>
          <p:nvSpPr>
            <p:cNvPr id="3" name="Freeform 15">
              <a:extLst>
                <a:ext uri="{FF2B5EF4-FFF2-40B4-BE49-F238E27FC236}">
                  <a16:creationId xmlns:a16="http://schemas.microsoft.com/office/drawing/2014/main" id="{2AD37FF6-0131-6CB6-9EEC-B998EC8572E0}"/>
                </a:ext>
              </a:extLst>
            </p:cNvPr>
            <p:cNvSpPr/>
            <p:nvPr userDrawn="1"/>
          </p:nvSpPr>
          <p:spPr>
            <a:xfrm>
              <a:off x="0" y="-889"/>
              <a:ext cx="9667345" cy="6858889"/>
            </a:xfrm>
            <a:custGeom>
              <a:avLst/>
              <a:gdLst>
                <a:gd name="connsiteX0" fmla="*/ 0 w 9667345"/>
                <a:gd name="connsiteY0" fmla="*/ 6810685 h 6858889"/>
                <a:gd name="connsiteX1" fmla="*/ 59283 w 9667345"/>
                <a:gd name="connsiteY1" fmla="*/ 6858456 h 6858889"/>
                <a:gd name="connsiteX2" fmla="*/ 39402 w 9667345"/>
                <a:gd name="connsiteY2" fmla="*/ 6858456 h 6858889"/>
                <a:gd name="connsiteX3" fmla="*/ 0 w 9667345"/>
                <a:gd name="connsiteY3" fmla="*/ 6827674 h 6858889"/>
                <a:gd name="connsiteX4" fmla="*/ 0 w 9667345"/>
                <a:gd name="connsiteY4" fmla="*/ 6672270 h 6858889"/>
                <a:gd name="connsiteX5" fmla="*/ 80461 w 9667345"/>
                <a:gd name="connsiteY5" fmla="*/ 6741333 h 6858889"/>
                <a:gd name="connsiteX6" fmla="*/ 232159 w 9667345"/>
                <a:gd name="connsiteY6" fmla="*/ 6857592 h 6858889"/>
                <a:gd name="connsiteX7" fmla="*/ 213144 w 9667345"/>
                <a:gd name="connsiteY7" fmla="*/ 6857592 h 6858889"/>
                <a:gd name="connsiteX8" fmla="*/ 70519 w 9667345"/>
                <a:gd name="connsiteY8" fmla="*/ 6747384 h 6858889"/>
                <a:gd name="connsiteX9" fmla="*/ 0 w 9667345"/>
                <a:gd name="connsiteY9" fmla="*/ 6686879 h 6858889"/>
                <a:gd name="connsiteX10" fmla="*/ 0 w 9667345"/>
                <a:gd name="connsiteY10" fmla="*/ 6527854 h 6858889"/>
                <a:gd name="connsiteX11" fmla="*/ 2977 w 9667345"/>
                <a:gd name="connsiteY11" fmla="*/ 6530761 h 6858889"/>
                <a:gd name="connsiteX12" fmla="*/ 194126 w 9667345"/>
                <a:gd name="connsiteY12" fmla="*/ 6695952 h 6858889"/>
                <a:gd name="connsiteX13" fmla="*/ 404173 w 9667345"/>
                <a:gd name="connsiteY13" fmla="*/ 6858024 h 6858889"/>
                <a:gd name="connsiteX14" fmla="*/ 386452 w 9667345"/>
                <a:gd name="connsiteY14" fmla="*/ 6858024 h 6858889"/>
                <a:gd name="connsiteX15" fmla="*/ 180728 w 9667345"/>
                <a:gd name="connsiteY15" fmla="*/ 6702435 h 6858889"/>
                <a:gd name="connsiteX16" fmla="*/ 0 w 9667345"/>
                <a:gd name="connsiteY16" fmla="*/ 6545608 h 6858889"/>
                <a:gd name="connsiteX17" fmla="*/ 0 w 9667345"/>
                <a:gd name="connsiteY17" fmla="*/ 6370764 h 6858889"/>
                <a:gd name="connsiteX18" fmla="*/ 116037 w 9667345"/>
                <a:gd name="connsiteY18" fmla="*/ 6485384 h 6858889"/>
                <a:gd name="connsiteX19" fmla="*/ 304768 w 9667345"/>
                <a:gd name="connsiteY19" fmla="*/ 6650572 h 6858889"/>
                <a:gd name="connsiteX20" fmla="*/ 578345 w 9667345"/>
                <a:gd name="connsiteY20" fmla="*/ 6858024 h 6858889"/>
                <a:gd name="connsiteX21" fmla="*/ 559329 w 9667345"/>
                <a:gd name="connsiteY21" fmla="*/ 6858024 h 6858889"/>
                <a:gd name="connsiteX22" fmla="*/ 294395 w 9667345"/>
                <a:gd name="connsiteY22" fmla="*/ 6657055 h 6858889"/>
                <a:gd name="connsiteX23" fmla="*/ 104541 w 9667345"/>
                <a:gd name="connsiteY23" fmla="*/ 6491293 h 6858889"/>
                <a:gd name="connsiteX24" fmla="*/ 0 w 9667345"/>
                <a:gd name="connsiteY24" fmla="*/ 6388228 h 6858889"/>
                <a:gd name="connsiteX25" fmla="*/ 0 w 9667345"/>
                <a:gd name="connsiteY25" fmla="*/ 6202503 h 6858889"/>
                <a:gd name="connsiteX26" fmla="*/ 55211 w 9667345"/>
                <a:gd name="connsiteY26" fmla="*/ 6264794 h 6858889"/>
                <a:gd name="connsiteX27" fmla="*/ 418434 w 9667345"/>
                <a:gd name="connsiteY27" fmla="*/ 6605192 h 6858889"/>
                <a:gd name="connsiteX28" fmla="*/ 754680 w 9667345"/>
                <a:gd name="connsiteY28" fmla="*/ 6857592 h 6858889"/>
                <a:gd name="connsiteX29" fmla="*/ 735663 w 9667345"/>
                <a:gd name="connsiteY29" fmla="*/ 6857592 h 6858889"/>
                <a:gd name="connsiteX30" fmla="*/ 408494 w 9667345"/>
                <a:gd name="connsiteY30" fmla="*/ 6611243 h 6858889"/>
                <a:gd name="connsiteX31" fmla="*/ 43521 w 9667345"/>
                <a:gd name="connsiteY31" fmla="*/ 6269568 h 6858889"/>
                <a:gd name="connsiteX32" fmla="*/ 0 w 9667345"/>
                <a:gd name="connsiteY32" fmla="*/ 6220508 h 6858889"/>
                <a:gd name="connsiteX33" fmla="*/ 0 w 9667345"/>
                <a:gd name="connsiteY33" fmla="*/ 6024018 h 6858889"/>
                <a:gd name="connsiteX34" fmla="*/ 8034 w 9667345"/>
                <a:gd name="connsiteY34" fmla="*/ 6034410 h 6858889"/>
                <a:gd name="connsiteX35" fmla="*/ 529076 w 9667345"/>
                <a:gd name="connsiteY35" fmla="*/ 6559812 h 6858889"/>
                <a:gd name="connsiteX36" fmla="*/ 932743 w 9667345"/>
                <a:gd name="connsiteY36" fmla="*/ 6858024 h 6858889"/>
                <a:gd name="connsiteX37" fmla="*/ 913294 w 9667345"/>
                <a:gd name="connsiteY37" fmla="*/ 6858024 h 6858889"/>
                <a:gd name="connsiteX38" fmla="*/ 519135 w 9667345"/>
                <a:gd name="connsiteY38" fmla="*/ 6564134 h 6858889"/>
                <a:gd name="connsiteX39" fmla="*/ 158491 w 9667345"/>
                <a:gd name="connsiteY39" fmla="*/ 6223702 h 6858889"/>
                <a:gd name="connsiteX40" fmla="*/ 0 w 9667345"/>
                <a:gd name="connsiteY40" fmla="*/ 6043322 h 6858889"/>
                <a:gd name="connsiteX41" fmla="*/ 0 w 9667345"/>
                <a:gd name="connsiteY41" fmla="*/ 5825690 h 6858889"/>
                <a:gd name="connsiteX42" fmla="*/ 125453 w 9667345"/>
                <a:gd name="connsiteY42" fmla="*/ 5989143 h 6858889"/>
                <a:gd name="connsiteX43" fmla="*/ 642743 w 9667345"/>
                <a:gd name="connsiteY43" fmla="*/ 6514432 h 6858889"/>
                <a:gd name="connsiteX44" fmla="*/ 1051163 w 9667345"/>
                <a:gd name="connsiteY44" fmla="*/ 6819992 h 6858889"/>
                <a:gd name="connsiteX45" fmla="*/ 1109942 w 9667345"/>
                <a:gd name="connsiteY45" fmla="*/ 6858456 h 6858889"/>
                <a:gd name="connsiteX46" fmla="*/ 1090062 w 9667345"/>
                <a:gd name="connsiteY46" fmla="*/ 6858456 h 6858889"/>
                <a:gd name="connsiteX47" fmla="*/ 1040791 w 9667345"/>
                <a:gd name="connsiteY47" fmla="*/ 6826907 h 6858889"/>
                <a:gd name="connsiteX48" fmla="*/ 632370 w 9667345"/>
                <a:gd name="connsiteY48" fmla="*/ 6519185 h 6858889"/>
                <a:gd name="connsiteX49" fmla="*/ 112604 w 9667345"/>
                <a:gd name="connsiteY49" fmla="*/ 5993214 h 6858889"/>
                <a:gd name="connsiteX50" fmla="*/ 0 w 9667345"/>
                <a:gd name="connsiteY50" fmla="*/ 5846530 h 6858889"/>
                <a:gd name="connsiteX51" fmla="*/ 0 w 9667345"/>
                <a:gd name="connsiteY51" fmla="*/ 5604549 h 6858889"/>
                <a:gd name="connsiteX52" fmla="*/ 95478 w 9667345"/>
                <a:gd name="connsiteY52" fmla="*/ 5747885 h 6858889"/>
                <a:gd name="connsiteX53" fmla="*/ 756408 w 9667345"/>
                <a:gd name="connsiteY53" fmla="*/ 6469052 h 6858889"/>
                <a:gd name="connsiteX54" fmla="*/ 1161372 w 9667345"/>
                <a:gd name="connsiteY54" fmla="*/ 6774611 h 6858889"/>
                <a:gd name="connsiteX55" fmla="*/ 1289734 w 9667345"/>
                <a:gd name="connsiteY55" fmla="*/ 6857592 h 6858889"/>
                <a:gd name="connsiteX56" fmla="*/ 1271150 w 9667345"/>
                <a:gd name="connsiteY56" fmla="*/ 6857592 h 6858889"/>
                <a:gd name="connsiteX57" fmla="*/ 1151432 w 9667345"/>
                <a:gd name="connsiteY57" fmla="*/ 6780662 h 6858889"/>
                <a:gd name="connsiteX58" fmla="*/ 743010 w 9667345"/>
                <a:gd name="connsiteY58" fmla="*/ 6472941 h 6858889"/>
                <a:gd name="connsiteX59" fmla="*/ 81919 w 9667345"/>
                <a:gd name="connsiteY59" fmla="*/ 5752315 h 6858889"/>
                <a:gd name="connsiteX60" fmla="*/ 0 w 9667345"/>
                <a:gd name="connsiteY60" fmla="*/ 5628996 h 6858889"/>
                <a:gd name="connsiteX61" fmla="*/ 0 w 9667345"/>
                <a:gd name="connsiteY61" fmla="*/ 5359076 h 6858889"/>
                <a:gd name="connsiteX62" fmla="*/ 78670 w 9667345"/>
                <a:gd name="connsiteY62" fmla="*/ 5496155 h 6858889"/>
                <a:gd name="connsiteX63" fmla="*/ 867049 w 9667345"/>
                <a:gd name="connsiteY63" fmla="*/ 6423672 h 6858889"/>
                <a:gd name="connsiteX64" fmla="*/ 1272015 w 9667345"/>
                <a:gd name="connsiteY64" fmla="*/ 6729231 h 6858889"/>
                <a:gd name="connsiteX65" fmla="*/ 1469526 w 9667345"/>
                <a:gd name="connsiteY65" fmla="*/ 6857592 h 6858889"/>
                <a:gd name="connsiteX66" fmla="*/ 1450509 w 9667345"/>
                <a:gd name="connsiteY66" fmla="*/ 6857592 h 6858889"/>
                <a:gd name="connsiteX67" fmla="*/ 1258184 w 9667345"/>
                <a:gd name="connsiteY67" fmla="*/ 6735282 h 6858889"/>
                <a:gd name="connsiteX68" fmla="*/ 856678 w 9667345"/>
                <a:gd name="connsiteY68" fmla="*/ 6427561 h 6858889"/>
                <a:gd name="connsiteX69" fmla="*/ 65196 w 9667345"/>
                <a:gd name="connsiteY69" fmla="*/ 5499518 h 6858889"/>
                <a:gd name="connsiteX70" fmla="*/ 0 w 9667345"/>
                <a:gd name="connsiteY70" fmla="*/ 5386698 h 6858889"/>
                <a:gd name="connsiteX71" fmla="*/ 0 w 9667345"/>
                <a:gd name="connsiteY71" fmla="*/ 5079907 h 6858889"/>
                <a:gd name="connsiteX72" fmla="*/ 75746 w 9667345"/>
                <a:gd name="connsiteY72" fmla="*/ 5232455 h 6858889"/>
                <a:gd name="connsiteX73" fmla="*/ 980716 w 9667345"/>
                <a:gd name="connsiteY73" fmla="*/ 6377859 h 6858889"/>
                <a:gd name="connsiteX74" fmla="*/ 1378765 w 9667345"/>
                <a:gd name="connsiteY74" fmla="*/ 6683419 h 6858889"/>
                <a:gd name="connsiteX75" fmla="*/ 1652775 w 9667345"/>
                <a:gd name="connsiteY75" fmla="*/ 6858024 h 6858889"/>
                <a:gd name="connsiteX76" fmla="*/ 1631165 w 9667345"/>
                <a:gd name="connsiteY76" fmla="*/ 6858024 h 6858889"/>
                <a:gd name="connsiteX77" fmla="*/ 1368824 w 9667345"/>
                <a:gd name="connsiteY77" fmla="*/ 6690334 h 6858889"/>
                <a:gd name="connsiteX78" fmla="*/ 967318 w 9667345"/>
                <a:gd name="connsiteY78" fmla="*/ 6382614 h 6858889"/>
                <a:gd name="connsiteX79" fmla="*/ 62592 w 9667345"/>
                <a:gd name="connsiteY79" fmla="*/ 5235569 h 6858889"/>
                <a:gd name="connsiteX80" fmla="*/ 0 w 9667345"/>
                <a:gd name="connsiteY80" fmla="*/ 5109615 h 6858889"/>
                <a:gd name="connsiteX81" fmla="*/ 0 w 9667345"/>
                <a:gd name="connsiteY81" fmla="*/ 4754262 h 6858889"/>
                <a:gd name="connsiteX82" fmla="*/ 86287 w 9667345"/>
                <a:gd name="connsiteY82" fmla="*/ 4958028 h 6858889"/>
                <a:gd name="connsiteX83" fmla="*/ 1091358 w 9667345"/>
                <a:gd name="connsiteY83" fmla="*/ 6332479 h 6858889"/>
                <a:gd name="connsiteX84" fmla="*/ 1489406 w 9667345"/>
                <a:gd name="connsiteY84" fmla="*/ 6638039 h 6858889"/>
                <a:gd name="connsiteX85" fmla="*/ 1836889 w 9667345"/>
                <a:gd name="connsiteY85" fmla="*/ 6857592 h 6858889"/>
                <a:gd name="connsiteX86" fmla="*/ 1816575 w 9667345"/>
                <a:gd name="connsiteY86" fmla="*/ 6857592 h 6858889"/>
                <a:gd name="connsiteX87" fmla="*/ 1479466 w 9667345"/>
                <a:gd name="connsiteY87" fmla="*/ 6644089 h 6858889"/>
                <a:gd name="connsiteX88" fmla="*/ 1081417 w 9667345"/>
                <a:gd name="connsiteY88" fmla="*/ 6336369 h 6858889"/>
                <a:gd name="connsiteX89" fmla="*/ 73038 w 9667345"/>
                <a:gd name="connsiteY89" fmla="*/ 4959848 h 6858889"/>
                <a:gd name="connsiteX90" fmla="*/ 0 w 9667345"/>
                <a:gd name="connsiteY90" fmla="*/ 4787554 h 6858889"/>
                <a:gd name="connsiteX91" fmla="*/ 0 w 9667345"/>
                <a:gd name="connsiteY91" fmla="*/ 4357497 h 6858889"/>
                <a:gd name="connsiteX92" fmla="*/ 3590 w 9667345"/>
                <a:gd name="connsiteY92" fmla="*/ 4371077 h 6858889"/>
                <a:gd name="connsiteX93" fmla="*/ 107256 w 9667345"/>
                <a:gd name="connsiteY93" fmla="*/ 4670269 h 6858889"/>
                <a:gd name="connsiteX94" fmla="*/ 1205024 w 9667345"/>
                <a:gd name="connsiteY94" fmla="*/ 6287099 h 6858889"/>
                <a:gd name="connsiteX95" fmla="*/ 1600048 w 9667345"/>
                <a:gd name="connsiteY95" fmla="*/ 6592659 h 6858889"/>
                <a:gd name="connsiteX96" fmla="*/ 2023165 w 9667345"/>
                <a:gd name="connsiteY96" fmla="*/ 6858024 h 6858889"/>
                <a:gd name="connsiteX97" fmla="*/ 2001554 w 9667345"/>
                <a:gd name="connsiteY97" fmla="*/ 6858024 h 6858889"/>
                <a:gd name="connsiteX98" fmla="*/ 1587082 w 9667345"/>
                <a:gd name="connsiteY98" fmla="*/ 6599142 h 6858889"/>
                <a:gd name="connsiteX99" fmla="*/ 1192058 w 9667345"/>
                <a:gd name="connsiteY99" fmla="*/ 6291421 h 6858889"/>
                <a:gd name="connsiteX100" fmla="*/ 94290 w 9667345"/>
                <a:gd name="connsiteY100" fmla="*/ 4672429 h 6858889"/>
                <a:gd name="connsiteX101" fmla="*/ 0 w 9667345"/>
                <a:gd name="connsiteY101" fmla="*/ 4400852 h 6858889"/>
                <a:gd name="connsiteX102" fmla="*/ 0 w 9667345"/>
                <a:gd name="connsiteY102" fmla="*/ 3631903 h 6858889"/>
                <a:gd name="connsiteX103" fmla="*/ 10844 w 9667345"/>
                <a:gd name="connsiteY103" fmla="*/ 3768898 h 6858889"/>
                <a:gd name="connsiteX104" fmla="*/ 234320 w 9667345"/>
                <a:gd name="connsiteY104" fmla="*/ 4624456 h 6858889"/>
                <a:gd name="connsiteX105" fmla="*/ 1315233 w 9667345"/>
                <a:gd name="connsiteY105" fmla="*/ 6239558 h 6858889"/>
                <a:gd name="connsiteX106" fmla="*/ 1706800 w 9667345"/>
                <a:gd name="connsiteY106" fmla="*/ 6547278 h 6858889"/>
                <a:gd name="connsiteX107" fmla="*/ 2205549 w 9667345"/>
                <a:gd name="connsiteY107" fmla="*/ 6857592 h 6858889"/>
                <a:gd name="connsiteX108" fmla="*/ 2183507 w 9667345"/>
                <a:gd name="connsiteY108" fmla="*/ 6857592 h 6858889"/>
                <a:gd name="connsiteX109" fmla="*/ 1696860 w 9667345"/>
                <a:gd name="connsiteY109" fmla="*/ 6553329 h 6858889"/>
                <a:gd name="connsiteX110" fmla="*/ 1305292 w 9667345"/>
                <a:gd name="connsiteY110" fmla="*/ 6245609 h 6858889"/>
                <a:gd name="connsiteX111" fmla="*/ 220923 w 9667345"/>
                <a:gd name="connsiteY111" fmla="*/ 4626617 h 6858889"/>
                <a:gd name="connsiteX112" fmla="*/ 42265 w 9667345"/>
                <a:gd name="connsiteY112" fmla="*/ 4041321 h 6858889"/>
                <a:gd name="connsiteX113" fmla="*/ 0 w 9667345"/>
                <a:gd name="connsiteY113" fmla="*/ 3795139 h 6858889"/>
                <a:gd name="connsiteX114" fmla="*/ 5434888 w 9667345"/>
                <a:gd name="connsiteY114" fmla="*/ 1729 h 6858889"/>
                <a:gd name="connsiteX115" fmla="*/ 5448286 w 9667345"/>
                <a:gd name="connsiteY115" fmla="*/ 1729 h 6858889"/>
                <a:gd name="connsiteX116" fmla="*/ 5227436 w 9667345"/>
                <a:gd name="connsiteY116" fmla="*/ 893774 h 6858889"/>
                <a:gd name="connsiteX117" fmla="*/ 5060177 w 9667345"/>
                <a:gd name="connsiteY117" fmla="*/ 1269781 h 6858889"/>
                <a:gd name="connsiteX118" fmla="*/ 4785736 w 9667345"/>
                <a:gd name="connsiteY118" fmla="*/ 1963449 h 6858889"/>
                <a:gd name="connsiteX119" fmla="*/ 4768880 w 9667345"/>
                <a:gd name="connsiteY119" fmla="*/ 3010651 h 6858889"/>
                <a:gd name="connsiteX120" fmla="*/ 5361416 w 9667345"/>
                <a:gd name="connsiteY120" fmla="*/ 4600686 h 6858889"/>
                <a:gd name="connsiteX121" fmla="*/ 5642341 w 9667345"/>
                <a:gd name="connsiteY121" fmla="*/ 4920939 h 6858889"/>
                <a:gd name="connsiteX122" fmla="*/ 6990779 w 9667345"/>
                <a:gd name="connsiteY122" fmla="*/ 5817306 h 6858889"/>
                <a:gd name="connsiteX123" fmla="*/ 7425997 w 9667345"/>
                <a:gd name="connsiteY123" fmla="*/ 6003148 h 6858889"/>
                <a:gd name="connsiteX124" fmla="*/ 8717818 w 9667345"/>
                <a:gd name="connsiteY124" fmla="*/ 6393418 h 6858889"/>
                <a:gd name="connsiteX125" fmla="*/ 9666913 w 9667345"/>
                <a:gd name="connsiteY125" fmla="*/ 6567592 h 6858889"/>
                <a:gd name="connsiteX126" fmla="*/ 9666913 w 9667345"/>
                <a:gd name="connsiteY126" fmla="*/ 6576236 h 6858889"/>
                <a:gd name="connsiteX127" fmla="*/ 8714362 w 9667345"/>
                <a:gd name="connsiteY127" fmla="*/ 6401198 h 6858889"/>
                <a:gd name="connsiteX128" fmla="*/ 7416056 w 9667345"/>
                <a:gd name="connsiteY128" fmla="*/ 6008767 h 6858889"/>
                <a:gd name="connsiteX129" fmla="*/ 6984296 w 9667345"/>
                <a:gd name="connsiteY129" fmla="*/ 5822924 h 6858889"/>
                <a:gd name="connsiteX130" fmla="*/ 5632400 w 9667345"/>
                <a:gd name="connsiteY130" fmla="*/ 4924397 h 6858889"/>
                <a:gd name="connsiteX131" fmla="*/ 5348018 w 9667345"/>
                <a:gd name="connsiteY131" fmla="*/ 4604143 h 6858889"/>
                <a:gd name="connsiteX132" fmla="*/ 4755482 w 9667345"/>
                <a:gd name="connsiteY132" fmla="*/ 3009786 h 6858889"/>
                <a:gd name="connsiteX133" fmla="*/ 4772337 w 9667345"/>
                <a:gd name="connsiteY133" fmla="*/ 1962585 h 6858889"/>
                <a:gd name="connsiteX134" fmla="*/ 5043322 w 9667345"/>
                <a:gd name="connsiteY134" fmla="*/ 1266755 h 6858889"/>
                <a:gd name="connsiteX135" fmla="*/ 5210581 w 9667345"/>
                <a:gd name="connsiteY135" fmla="*/ 890749 h 6858889"/>
                <a:gd name="connsiteX136" fmla="*/ 5434888 w 9667345"/>
                <a:gd name="connsiteY136" fmla="*/ 1729 h 6858889"/>
                <a:gd name="connsiteX137" fmla="*/ 5575783 w 9667345"/>
                <a:gd name="connsiteY137" fmla="*/ 1297 h 6858889"/>
                <a:gd name="connsiteX138" fmla="*/ 5589181 w 9667345"/>
                <a:gd name="connsiteY138" fmla="*/ 1297 h 6858889"/>
                <a:gd name="connsiteX139" fmla="*/ 5368330 w 9667345"/>
                <a:gd name="connsiteY139" fmla="*/ 854012 h 6858889"/>
                <a:gd name="connsiteX140" fmla="*/ 5197614 w 9667345"/>
                <a:gd name="connsiteY140" fmla="*/ 1231748 h 6858889"/>
                <a:gd name="connsiteX141" fmla="*/ 4919715 w 9667345"/>
                <a:gd name="connsiteY141" fmla="*/ 1921527 h 6858889"/>
                <a:gd name="connsiteX142" fmla="*/ 4896376 w 9667345"/>
                <a:gd name="connsiteY142" fmla="*/ 2964406 h 6858889"/>
                <a:gd name="connsiteX143" fmla="*/ 5472057 w 9667345"/>
                <a:gd name="connsiteY143" fmla="*/ 4554441 h 6858889"/>
                <a:gd name="connsiteX144" fmla="*/ 5752981 w 9667345"/>
                <a:gd name="connsiteY144" fmla="*/ 4874695 h 6858889"/>
                <a:gd name="connsiteX145" fmla="*/ 7094937 w 9667345"/>
                <a:gd name="connsiteY145" fmla="*/ 5773223 h 6858889"/>
                <a:gd name="connsiteX146" fmla="*/ 7526698 w 9667345"/>
                <a:gd name="connsiteY146" fmla="*/ 5956904 h 6858889"/>
                <a:gd name="connsiteX147" fmla="*/ 8818519 w 9667345"/>
                <a:gd name="connsiteY147" fmla="*/ 6343283 h 6858889"/>
                <a:gd name="connsiteX148" fmla="*/ 9666913 w 9667345"/>
                <a:gd name="connsiteY148" fmla="*/ 6500602 h 6858889"/>
                <a:gd name="connsiteX149" fmla="*/ 9666913 w 9667345"/>
                <a:gd name="connsiteY149" fmla="*/ 6509246 h 6858889"/>
                <a:gd name="connsiteX150" fmla="*/ 8811605 w 9667345"/>
                <a:gd name="connsiteY150" fmla="*/ 6351496 h 6858889"/>
                <a:gd name="connsiteX151" fmla="*/ 7516324 w 9667345"/>
                <a:gd name="connsiteY151" fmla="*/ 5965116 h 6858889"/>
                <a:gd name="connsiteX152" fmla="*/ 7084564 w 9667345"/>
                <a:gd name="connsiteY152" fmla="*/ 5779273 h 6858889"/>
                <a:gd name="connsiteX153" fmla="*/ 5739151 w 9667345"/>
                <a:gd name="connsiteY153" fmla="*/ 4879017 h 6858889"/>
                <a:gd name="connsiteX154" fmla="*/ 5458226 w 9667345"/>
                <a:gd name="connsiteY154" fmla="*/ 4558762 h 6858889"/>
                <a:gd name="connsiteX155" fmla="*/ 4882546 w 9667345"/>
                <a:gd name="connsiteY155" fmla="*/ 2966567 h 6858889"/>
                <a:gd name="connsiteX156" fmla="*/ 4905886 w 9667345"/>
                <a:gd name="connsiteY156" fmla="*/ 1919366 h 6858889"/>
                <a:gd name="connsiteX157" fmla="*/ 5180327 w 9667345"/>
                <a:gd name="connsiteY157" fmla="*/ 1229587 h 6858889"/>
                <a:gd name="connsiteX158" fmla="*/ 5354501 w 9667345"/>
                <a:gd name="connsiteY158" fmla="*/ 851851 h 6858889"/>
                <a:gd name="connsiteX159" fmla="*/ 5575783 w 9667345"/>
                <a:gd name="connsiteY159" fmla="*/ 1297 h 6858889"/>
                <a:gd name="connsiteX160" fmla="*/ 5293994 w 9667345"/>
                <a:gd name="connsiteY160" fmla="*/ 1297 h 6858889"/>
                <a:gd name="connsiteX161" fmla="*/ 5307392 w 9667345"/>
                <a:gd name="connsiteY161" fmla="*/ 1297 h 6858889"/>
                <a:gd name="connsiteX162" fmla="*/ 5083083 w 9667345"/>
                <a:gd name="connsiteY162" fmla="*/ 930511 h 6858889"/>
                <a:gd name="connsiteX163" fmla="*/ 4919283 w 9667345"/>
                <a:gd name="connsiteY163" fmla="*/ 1306517 h 6858889"/>
                <a:gd name="connsiteX164" fmla="*/ 4651756 w 9667345"/>
                <a:gd name="connsiteY164" fmla="*/ 2006668 h 6858889"/>
                <a:gd name="connsiteX165" fmla="*/ 4645273 w 9667345"/>
                <a:gd name="connsiteY165" fmla="*/ 3055599 h 6858889"/>
                <a:gd name="connsiteX166" fmla="*/ 5247749 w 9667345"/>
                <a:gd name="connsiteY166" fmla="*/ 4645633 h 6858889"/>
                <a:gd name="connsiteX167" fmla="*/ 5535589 w 9667345"/>
                <a:gd name="connsiteY167" fmla="*/ 4965888 h 6858889"/>
                <a:gd name="connsiteX168" fmla="*/ 6890942 w 9667345"/>
                <a:gd name="connsiteY168" fmla="*/ 5862254 h 6858889"/>
                <a:gd name="connsiteX169" fmla="*/ 7326160 w 9667345"/>
                <a:gd name="connsiteY169" fmla="*/ 6045935 h 6858889"/>
                <a:gd name="connsiteX170" fmla="*/ 8617983 w 9667345"/>
                <a:gd name="connsiteY170" fmla="*/ 6440527 h 6858889"/>
                <a:gd name="connsiteX171" fmla="*/ 9667345 w 9667345"/>
                <a:gd name="connsiteY171" fmla="*/ 6632852 h 6858889"/>
                <a:gd name="connsiteX172" fmla="*/ 9667345 w 9667345"/>
                <a:gd name="connsiteY172" fmla="*/ 6642793 h 6858889"/>
                <a:gd name="connsiteX173" fmla="*/ 8614525 w 9667345"/>
                <a:gd name="connsiteY173" fmla="*/ 6448739 h 6858889"/>
                <a:gd name="connsiteX174" fmla="*/ 7316220 w 9667345"/>
                <a:gd name="connsiteY174" fmla="*/ 6054147 h 6858889"/>
                <a:gd name="connsiteX175" fmla="*/ 6884460 w 9667345"/>
                <a:gd name="connsiteY175" fmla="*/ 5868305 h 6858889"/>
                <a:gd name="connsiteX176" fmla="*/ 5522623 w 9667345"/>
                <a:gd name="connsiteY176" fmla="*/ 4969778 h 6858889"/>
                <a:gd name="connsiteX177" fmla="*/ 5234783 w 9667345"/>
                <a:gd name="connsiteY177" fmla="*/ 4649523 h 6858889"/>
                <a:gd name="connsiteX178" fmla="*/ 4628850 w 9667345"/>
                <a:gd name="connsiteY178" fmla="*/ 3055167 h 6858889"/>
                <a:gd name="connsiteX179" fmla="*/ 4638790 w 9667345"/>
                <a:gd name="connsiteY179" fmla="*/ 2004076 h 6858889"/>
                <a:gd name="connsiteX180" fmla="*/ 4906318 w 9667345"/>
                <a:gd name="connsiteY180" fmla="*/ 1303924 h 6858889"/>
                <a:gd name="connsiteX181" fmla="*/ 5070118 w 9667345"/>
                <a:gd name="connsiteY181" fmla="*/ 927917 h 6858889"/>
                <a:gd name="connsiteX182" fmla="*/ 5293994 w 9667345"/>
                <a:gd name="connsiteY182" fmla="*/ 1297 h 6858889"/>
                <a:gd name="connsiteX183" fmla="*/ 5150073 w 9667345"/>
                <a:gd name="connsiteY183" fmla="*/ 1297 h 6858889"/>
                <a:gd name="connsiteX184" fmla="*/ 5163472 w 9667345"/>
                <a:gd name="connsiteY184" fmla="*/ 1297 h 6858889"/>
                <a:gd name="connsiteX185" fmla="*/ 4942621 w 9667345"/>
                <a:gd name="connsiteY185" fmla="*/ 969840 h 6858889"/>
                <a:gd name="connsiteX186" fmla="*/ 4781845 w 9667345"/>
                <a:gd name="connsiteY186" fmla="*/ 1343686 h 6858889"/>
                <a:gd name="connsiteX187" fmla="*/ 4517344 w 9667345"/>
                <a:gd name="connsiteY187" fmla="*/ 2049888 h 6858889"/>
                <a:gd name="connsiteX188" fmla="*/ 4517344 w 9667345"/>
                <a:gd name="connsiteY188" fmla="*/ 3098818 h 6858889"/>
                <a:gd name="connsiteX189" fmla="*/ 5136243 w 9667345"/>
                <a:gd name="connsiteY189" fmla="*/ 4691014 h 6858889"/>
                <a:gd name="connsiteX190" fmla="*/ 5424084 w 9667345"/>
                <a:gd name="connsiteY190" fmla="*/ 5011268 h 6858889"/>
                <a:gd name="connsiteX191" fmla="*/ 6789377 w 9667345"/>
                <a:gd name="connsiteY191" fmla="*/ 5905473 h 6858889"/>
                <a:gd name="connsiteX192" fmla="*/ 7224595 w 9667345"/>
                <a:gd name="connsiteY192" fmla="*/ 6091316 h 6858889"/>
                <a:gd name="connsiteX193" fmla="*/ 8519875 w 9667345"/>
                <a:gd name="connsiteY193" fmla="*/ 6487636 h 6858889"/>
                <a:gd name="connsiteX194" fmla="*/ 9666480 w 9667345"/>
                <a:gd name="connsiteY194" fmla="*/ 6699411 h 6858889"/>
                <a:gd name="connsiteX195" fmla="*/ 9666480 w 9667345"/>
                <a:gd name="connsiteY195" fmla="*/ 6708918 h 6858889"/>
                <a:gd name="connsiteX196" fmla="*/ 8513393 w 9667345"/>
                <a:gd name="connsiteY196" fmla="*/ 6495848 h 6858889"/>
                <a:gd name="connsiteX197" fmla="*/ 7218112 w 9667345"/>
                <a:gd name="connsiteY197" fmla="*/ 6099527 h 6858889"/>
                <a:gd name="connsiteX198" fmla="*/ 6779869 w 9667345"/>
                <a:gd name="connsiteY198" fmla="*/ 5911524 h 6858889"/>
                <a:gd name="connsiteX199" fmla="*/ 5411118 w 9667345"/>
                <a:gd name="connsiteY199" fmla="*/ 5015158 h 6858889"/>
                <a:gd name="connsiteX200" fmla="*/ 5123278 w 9667345"/>
                <a:gd name="connsiteY200" fmla="*/ 4694903 h 6858889"/>
                <a:gd name="connsiteX201" fmla="*/ 4504379 w 9667345"/>
                <a:gd name="connsiteY201" fmla="*/ 3100547 h 6858889"/>
                <a:gd name="connsiteX202" fmla="*/ 4504379 w 9667345"/>
                <a:gd name="connsiteY202" fmla="*/ 2047294 h 6858889"/>
                <a:gd name="connsiteX203" fmla="*/ 4768880 w 9667345"/>
                <a:gd name="connsiteY203" fmla="*/ 1341093 h 6858889"/>
                <a:gd name="connsiteX204" fmla="*/ 4929656 w 9667345"/>
                <a:gd name="connsiteY204" fmla="*/ 967246 h 6858889"/>
                <a:gd name="connsiteX205" fmla="*/ 5150073 w 9667345"/>
                <a:gd name="connsiteY205" fmla="*/ 1297 h 6858889"/>
                <a:gd name="connsiteX206" fmla="*/ 5008747 w 9667345"/>
                <a:gd name="connsiteY206" fmla="*/ 1297 h 6858889"/>
                <a:gd name="connsiteX207" fmla="*/ 5022145 w 9667345"/>
                <a:gd name="connsiteY207" fmla="*/ 1297 h 6858889"/>
                <a:gd name="connsiteX208" fmla="*/ 4801294 w 9667345"/>
                <a:gd name="connsiteY208" fmla="*/ 1009169 h 6858889"/>
                <a:gd name="connsiteX209" fmla="*/ 4643977 w 9667345"/>
                <a:gd name="connsiteY209" fmla="*/ 1378694 h 6858889"/>
                <a:gd name="connsiteX210" fmla="*/ 4386390 w 9667345"/>
                <a:gd name="connsiteY210" fmla="*/ 2093107 h 6858889"/>
                <a:gd name="connsiteX211" fmla="*/ 4389848 w 9667345"/>
                <a:gd name="connsiteY211" fmla="*/ 3144198 h 6858889"/>
                <a:gd name="connsiteX212" fmla="*/ 5022145 w 9667345"/>
                <a:gd name="connsiteY212" fmla="*/ 4736393 h 6858889"/>
                <a:gd name="connsiteX213" fmla="*/ 5313442 w 9667345"/>
                <a:gd name="connsiteY213" fmla="*/ 5056648 h 6858889"/>
                <a:gd name="connsiteX214" fmla="*/ 6688676 w 9667345"/>
                <a:gd name="connsiteY214" fmla="*/ 5948692 h 6858889"/>
                <a:gd name="connsiteX215" fmla="*/ 7123895 w 9667345"/>
                <a:gd name="connsiteY215" fmla="*/ 6136696 h 6858889"/>
                <a:gd name="connsiteX216" fmla="*/ 8419174 w 9667345"/>
                <a:gd name="connsiteY216" fmla="*/ 6537339 h 6858889"/>
                <a:gd name="connsiteX217" fmla="*/ 9666049 w 9667345"/>
                <a:gd name="connsiteY217" fmla="*/ 6767264 h 6858889"/>
                <a:gd name="connsiteX218" fmla="*/ 9666049 w 9667345"/>
                <a:gd name="connsiteY218" fmla="*/ 6775908 h 6858889"/>
                <a:gd name="connsiteX219" fmla="*/ 8412691 w 9667345"/>
                <a:gd name="connsiteY219" fmla="*/ 6545550 h 6858889"/>
                <a:gd name="connsiteX220" fmla="*/ 7117412 w 9667345"/>
                <a:gd name="connsiteY220" fmla="*/ 6142747 h 6858889"/>
                <a:gd name="connsiteX221" fmla="*/ 6679169 w 9667345"/>
                <a:gd name="connsiteY221" fmla="*/ 5956904 h 6858889"/>
                <a:gd name="connsiteX222" fmla="*/ 5303934 w 9667345"/>
                <a:gd name="connsiteY222" fmla="*/ 5060537 h 6858889"/>
                <a:gd name="connsiteX223" fmla="*/ 5009611 w 9667345"/>
                <a:gd name="connsiteY223" fmla="*/ 4740283 h 6858889"/>
                <a:gd name="connsiteX224" fmla="*/ 4377314 w 9667345"/>
                <a:gd name="connsiteY224" fmla="*/ 3145926 h 6858889"/>
                <a:gd name="connsiteX225" fmla="*/ 4370831 w 9667345"/>
                <a:gd name="connsiteY225" fmla="*/ 2090514 h 6858889"/>
                <a:gd name="connsiteX226" fmla="*/ 4631875 w 9667345"/>
                <a:gd name="connsiteY226" fmla="*/ 1376100 h 6858889"/>
                <a:gd name="connsiteX227" fmla="*/ 4789193 w 9667345"/>
                <a:gd name="connsiteY227" fmla="*/ 1006575 h 6858889"/>
                <a:gd name="connsiteX228" fmla="*/ 5008747 w 9667345"/>
                <a:gd name="connsiteY228" fmla="*/ 1297 h 6858889"/>
                <a:gd name="connsiteX229" fmla="*/ 4865691 w 9667345"/>
                <a:gd name="connsiteY229" fmla="*/ 1297 h 6858889"/>
                <a:gd name="connsiteX230" fmla="*/ 4879089 w 9667345"/>
                <a:gd name="connsiteY230" fmla="*/ 1297 h 6858889"/>
                <a:gd name="connsiteX231" fmla="*/ 4661697 w 9667345"/>
                <a:gd name="connsiteY231" fmla="*/ 1048499 h 6858889"/>
                <a:gd name="connsiteX232" fmla="*/ 4507836 w 9667345"/>
                <a:gd name="connsiteY232" fmla="*/ 1416295 h 6858889"/>
                <a:gd name="connsiteX233" fmla="*/ 4253707 w 9667345"/>
                <a:gd name="connsiteY233" fmla="*/ 2135030 h 6858889"/>
                <a:gd name="connsiteX234" fmla="*/ 4267105 w 9667345"/>
                <a:gd name="connsiteY234" fmla="*/ 3190442 h 6858889"/>
                <a:gd name="connsiteX235" fmla="*/ 4909775 w 9667345"/>
                <a:gd name="connsiteY235" fmla="*/ 4782638 h 6858889"/>
                <a:gd name="connsiteX236" fmla="*/ 5207555 w 9667345"/>
                <a:gd name="connsiteY236" fmla="*/ 5102893 h 6858889"/>
                <a:gd name="connsiteX237" fmla="*/ 6586247 w 9667345"/>
                <a:gd name="connsiteY237" fmla="*/ 5994937 h 6858889"/>
                <a:gd name="connsiteX238" fmla="*/ 7024491 w 9667345"/>
                <a:gd name="connsiteY238" fmla="*/ 6180779 h 6858889"/>
                <a:gd name="connsiteX239" fmla="*/ 8319770 w 9667345"/>
                <a:gd name="connsiteY239" fmla="*/ 6585744 h 6858889"/>
                <a:gd name="connsiteX240" fmla="*/ 9666913 w 9667345"/>
                <a:gd name="connsiteY240" fmla="*/ 6835982 h 6858889"/>
                <a:gd name="connsiteX241" fmla="*/ 9666913 w 9667345"/>
                <a:gd name="connsiteY241" fmla="*/ 6844626 h 6858889"/>
                <a:gd name="connsiteX242" fmla="*/ 8316312 w 9667345"/>
                <a:gd name="connsiteY242" fmla="*/ 6593955 h 6858889"/>
                <a:gd name="connsiteX243" fmla="*/ 7018008 w 9667345"/>
                <a:gd name="connsiteY243" fmla="*/ 6188992 h 6858889"/>
                <a:gd name="connsiteX244" fmla="*/ 6579764 w 9667345"/>
                <a:gd name="connsiteY244" fmla="*/ 6000988 h 6858889"/>
                <a:gd name="connsiteX245" fmla="*/ 5194157 w 9667345"/>
                <a:gd name="connsiteY245" fmla="*/ 5106782 h 6858889"/>
                <a:gd name="connsiteX246" fmla="*/ 4899835 w 9667345"/>
                <a:gd name="connsiteY246" fmla="*/ 4786528 h 6858889"/>
                <a:gd name="connsiteX247" fmla="*/ 4254139 w 9667345"/>
                <a:gd name="connsiteY247" fmla="*/ 3190010 h 6858889"/>
                <a:gd name="connsiteX248" fmla="*/ 4240741 w 9667345"/>
                <a:gd name="connsiteY248" fmla="*/ 2134598 h 6858889"/>
                <a:gd name="connsiteX249" fmla="*/ 4494870 w 9667345"/>
                <a:gd name="connsiteY249" fmla="*/ 1413701 h 6858889"/>
                <a:gd name="connsiteX250" fmla="*/ 4645273 w 9667345"/>
                <a:gd name="connsiteY250" fmla="*/ 1045906 h 6858889"/>
                <a:gd name="connsiteX251" fmla="*/ 4865691 w 9667345"/>
                <a:gd name="connsiteY251" fmla="*/ 1297 h 6858889"/>
                <a:gd name="connsiteX252" fmla="*/ 4438253 w 9667345"/>
                <a:gd name="connsiteY252" fmla="*/ 1297 h 6858889"/>
                <a:gd name="connsiteX253" fmla="*/ 4451652 w 9667345"/>
                <a:gd name="connsiteY253" fmla="*/ 1297 h 6858889"/>
                <a:gd name="connsiteX254" fmla="*/ 4237284 w 9667345"/>
                <a:gd name="connsiteY254" fmla="*/ 1163894 h 6858889"/>
                <a:gd name="connsiteX255" fmla="*/ 4096821 w 9667345"/>
                <a:gd name="connsiteY255" fmla="*/ 1525207 h 6858889"/>
                <a:gd name="connsiteX256" fmla="*/ 3852633 w 9667345"/>
                <a:gd name="connsiteY256" fmla="*/ 2264687 h 6858889"/>
                <a:gd name="connsiteX257" fmla="*/ 3889369 w 9667345"/>
                <a:gd name="connsiteY257" fmla="*/ 3323990 h 6858889"/>
                <a:gd name="connsiteX258" fmla="*/ 4575258 w 9667345"/>
                <a:gd name="connsiteY258" fmla="*/ 4918347 h 6858889"/>
                <a:gd name="connsiteX259" fmla="*/ 4879953 w 9667345"/>
                <a:gd name="connsiteY259" fmla="*/ 5236440 h 6858889"/>
                <a:gd name="connsiteX260" fmla="*/ 6285442 w 9667345"/>
                <a:gd name="connsiteY260" fmla="*/ 6126323 h 6858889"/>
                <a:gd name="connsiteX261" fmla="*/ 6723685 w 9667345"/>
                <a:gd name="connsiteY261" fmla="*/ 6314327 h 6858889"/>
                <a:gd name="connsiteX262" fmla="*/ 8021989 w 9667345"/>
                <a:gd name="connsiteY262" fmla="*/ 6729231 h 6858889"/>
                <a:gd name="connsiteX263" fmla="*/ 8590321 w 9667345"/>
                <a:gd name="connsiteY263" fmla="*/ 6858456 h 6858889"/>
                <a:gd name="connsiteX264" fmla="*/ 8546671 w 9667345"/>
                <a:gd name="connsiteY264" fmla="*/ 6858456 h 6858889"/>
                <a:gd name="connsiteX265" fmla="*/ 8018964 w 9667345"/>
                <a:gd name="connsiteY265" fmla="*/ 6737876 h 6858889"/>
                <a:gd name="connsiteX266" fmla="*/ 6717202 w 9667345"/>
                <a:gd name="connsiteY266" fmla="*/ 6322971 h 6858889"/>
                <a:gd name="connsiteX267" fmla="*/ 6275502 w 9667345"/>
                <a:gd name="connsiteY267" fmla="*/ 6134968 h 6858889"/>
                <a:gd name="connsiteX268" fmla="*/ 4866555 w 9667345"/>
                <a:gd name="connsiteY268" fmla="*/ 5242923 h 6858889"/>
                <a:gd name="connsiteX269" fmla="*/ 4561860 w 9667345"/>
                <a:gd name="connsiteY269" fmla="*/ 4922669 h 6858889"/>
                <a:gd name="connsiteX270" fmla="*/ 3875971 w 9667345"/>
                <a:gd name="connsiteY270" fmla="*/ 3326151 h 6858889"/>
                <a:gd name="connsiteX271" fmla="*/ 3839235 w 9667345"/>
                <a:gd name="connsiteY271" fmla="*/ 2262526 h 6858889"/>
                <a:gd name="connsiteX272" fmla="*/ 4083423 w 9667345"/>
                <a:gd name="connsiteY272" fmla="*/ 1523045 h 6858889"/>
                <a:gd name="connsiteX273" fmla="*/ 4223886 w 9667345"/>
                <a:gd name="connsiteY273" fmla="*/ 1161733 h 6858889"/>
                <a:gd name="connsiteX274" fmla="*/ 4438253 w 9667345"/>
                <a:gd name="connsiteY274" fmla="*/ 1297 h 6858889"/>
                <a:gd name="connsiteX275" fmla="*/ 3715197 w 9667345"/>
                <a:gd name="connsiteY275" fmla="*/ 1297 h 6858889"/>
                <a:gd name="connsiteX276" fmla="*/ 3728595 w 9667345"/>
                <a:gd name="connsiteY276" fmla="*/ 1297 h 6858889"/>
                <a:gd name="connsiteX277" fmla="*/ 3531083 w 9667345"/>
                <a:gd name="connsiteY277" fmla="*/ 1357948 h 6858889"/>
                <a:gd name="connsiteX278" fmla="*/ 3410501 w 9667345"/>
                <a:gd name="connsiteY278" fmla="*/ 1704998 h 6858889"/>
                <a:gd name="connsiteX279" fmla="*/ 3186194 w 9667345"/>
                <a:gd name="connsiteY279" fmla="*/ 2479486 h 6858889"/>
                <a:gd name="connsiteX280" fmla="*/ 3259665 w 9667345"/>
                <a:gd name="connsiteY280" fmla="*/ 3549162 h 6858889"/>
                <a:gd name="connsiteX281" fmla="*/ 4012544 w 9667345"/>
                <a:gd name="connsiteY281" fmla="*/ 5147409 h 6858889"/>
                <a:gd name="connsiteX282" fmla="*/ 4330638 w 9667345"/>
                <a:gd name="connsiteY282" fmla="*/ 5463341 h 6858889"/>
                <a:gd name="connsiteX283" fmla="*/ 5776320 w 9667345"/>
                <a:gd name="connsiteY283" fmla="*/ 6347174 h 6858889"/>
                <a:gd name="connsiteX284" fmla="*/ 6221478 w 9667345"/>
                <a:gd name="connsiteY284" fmla="*/ 6539067 h 6858889"/>
                <a:gd name="connsiteX285" fmla="*/ 7132106 w 9667345"/>
                <a:gd name="connsiteY285" fmla="*/ 6858889 h 6858889"/>
                <a:gd name="connsiteX286" fmla="*/ 7102285 w 9667345"/>
                <a:gd name="connsiteY286" fmla="*/ 6858889 h 6858889"/>
                <a:gd name="connsiteX287" fmla="*/ 6214995 w 9667345"/>
                <a:gd name="connsiteY287" fmla="*/ 6546414 h 6858889"/>
                <a:gd name="connsiteX288" fmla="*/ 5769837 w 9667345"/>
                <a:gd name="connsiteY288" fmla="*/ 6356249 h 6858889"/>
                <a:gd name="connsiteX289" fmla="*/ 4320697 w 9667345"/>
                <a:gd name="connsiteY289" fmla="*/ 5468095 h 6858889"/>
                <a:gd name="connsiteX290" fmla="*/ 3999578 w 9667345"/>
                <a:gd name="connsiteY290" fmla="*/ 5152162 h 6858889"/>
                <a:gd name="connsiteX291" fmla="*/ 3243243 w 9667345"/>
                <a:gd name="connsiteY291" fmla="*/ 3549594 h 6858889"/>
                <a:gd name="connsiteX292" fmla="*/ 3172796 w 9667345"/>
                <a:gd name="connsiteY292" fmla="*/ 2477758 h 6858889"/>
                <a:gd name="connsiteX293" fmla="*/ 3397102 w 9667345"/>
                <a:gd name="connsiteY293" fmla="*/ 1703270 h 6858889"/>
                <a:gd name="connsiteX294" fmla="*/ 3514226 w 9667345"/>
                <a:gd name="connsiteY294" fmla="*/ 1356220 h 6858889"/>
                <a:gd name="connsiteX295" fmla="*/ 3715197 w 9667345"/>
                <a:gd name="connsiteY295" fmla="*/ 1297 h 6858889"/>
                <a:gd name="connsiteX296" fmla="*/ 3566955 w 9667345"/>
                <a:gd name="connsiteY296" fmla="*/ 1297 h 6858889"/>
                <a:gd name="connsiteX297" fmla="*/ 3583809 w 9667345"/>
                <a:gd name="connsiteY297" fmla="*/ 1297 h 6858889"/>
                <a:gd name="connsiteX298" fmla="*/ 3386299 w 9667345"/>
                <a:gd name="connsiteY298" fmla="*/ 1395117 h 6858889"/>
                <a:gd name="connsiteX299" fmla="*/ 3272631 w 9667345"/>
                <a:gd name="connsiteY299" fmla="*/ 1740006 h 6858889"/>
                <a:gd name="connsiteX300" fmla="*/ 3055239 w 9667345"/>
                <a:gd name="connsiteY300" fmla="*/ 2520545 h 6858889"/>
                <a:gd name="connsiteX301" fmla="*/ 3132169 w 9667345"/>
                <a:gd name="connsiteY301" fmla="*/ 3592381 h 6858889"/>
                <a:gd name="connsiteX302" fmla="*/ 3898445 w 9667345"/>
                <a:gd name="connsiteY302" fmla="*/ 5192789 h 6858889"/>
                <a:gd name="connsiteX303" fmla="*/ 4223022 w 9667345"/>
                <a:gd name="connsiteY303" fmla="*/ 5508721 h 6858889"/>
                <a:gd name="connsiteX304" fmla="*/ 5675619 w 9667345"/>
                <a:gd name="connsiteY304" fmla="*/ 6392554 h 6858889"/>
                <a:gd name="connsiteX305" fmla="*/ 6120777 w 9667345"/>
                <a:gd name="connsiteY305" fmla="*/ 6584447 h 6858889"/>
                <a:gd name="connsiteX306" fmla="*/ 6884460 w 9667345"/>
                <a:gd name="connsiteY306" fmla="*/ 6858024 h 6858889"/>
                <a:gd name="connsiteX307" fmla="*/ 6853343 w 9667345"/>
                <a:gd name="connsiteY307" fmla="*/ 6858024 h 6858889"/>
                <a:gd name="connsiteX308" fmla="*/ 6113862 w 9667345"/>
                <a:gd name="connsiteY308" fmla="*/ 6590931 h 6858889"/>
                <a:gd name="connsiteX309" fmla="*/ 5665247 w 9667345"/>
                <a:gd name="connsiteY309" fmla="*/ 6399037 h 6858889"/>
                <a:gd name="connsiteX310" fmla="*/ 4209623 w 9667345"/>
                <a:gd name="connsiteY310" fmla="*/ 5513043 h 6858889"/>
                <a:gd name="connsiteX311" fmla="*/ 3888505 w 9667345"/>
                <a:gd name="connsiteY311" fmla="*/ 5197111 h 6858889"/>
                <a:gd name="connsiteX312" fmla="*/ 3118771 w 9667345"/>
                <a:gd name="connsiteY312" fmla="*/ 3594543 h 6858889"/>
                <a:gd name="connsiteX313" fmla="*/ 3038384 w 9667345"/>
                <a:gd name="connsiteY313" fmla="*/ 2520545 h 6858889"/>
                <a:gd name="connsiteX314" fmla="*/ 3259234 w 9667345"/>
                <a:gd name="connsiteY314" fmla="*/ 1737845 h 6858889"/>
                <a:gd name="connsiteX315" fmla="*/ 3372899 w 9667345"/>
                <a:gd name="connsiteY315" fmla="*/ 1395117 h 6858889"/>
                <a:gd name="connsiteX316" fmla="*/ 3566955 w 9667345"/>
                <a:gd name="connsiteY316" fmla="*/ 1297 h 6858889"/>
                <a:gd name="connsiteX317" fmla="*/ 3423467 w 9667345"/>
                <a:gd name="connsiteY317" fmla="*/ 1297 h 6858889"/>
                <a:gd name="connsiteX318" fmla="*/ 3436865 w 9667345"/>
                <a:gd name="connsiteY318" fmla="*/ 1297 h 6858889"/>
                <a:gd name="connsiteX319" fmla="*/ 3246268 w 9667345"/>
                <a:gd name="connsiteY319" fmla="*/ 1434446 h 6858889"/>
                <a:gd name="connsiteX320" fmla="*/ 3135627 w 9667345"/>
                <a:gd name="connsiteY320" fmla="*/ 1775013 h 6858889"/>
                <a:gd name="connsiteX321" fmla="*/ 2921258 w 9667345"/>
                <a:gd name="connsiteY321" fmla="*/ 2563764 h 6858889"/>
                <a:gd name="connsiteX322" fmla="*/ 3005104 w 9667345"/>
                <a:gd name="connsiteY322" fmla="*/ 3637761 h 6858889"/>
                <a:gd name="connsiteX323" fmla="*/ 3788238 w 9667345"/>
                <a:gd name="connsiteY323" fmla="*/ 5238168 h 6858889"/>
                <a:gd name="connsiteX324" fmla="*/ 4112813 w 9667345"/>
                <a:gd name="connsiteY324" fmla="*/ 5554101 h 6858889"/>
                <a:gd name="connsiteX325" fmla="*/ 5575351 w 9667345"/>
                <a:gd name="connsiteY325" fmla="*/ 6435773 h 6858889"/>
                <a:gd name="connsiteX326" fmla="*/ 6020509 w 9667345"/>
                <a:gd name="connsiteY326" fmla="*/ 6627666 h 6858889"/>
                <a:gd name="connsiteX327" fmla="*/ 6644161 w 9667345"/>
                <a:gd name="connsiteY327" fmla="*/ 6857592 h 6858889"/>
                <a:gd name="connsiteX328" fmla="*/ 6615637 w 9667345"/>
                <a:gd name="connsiteY328" fmla="*/ 6857592 h 6858889"/>
                <a:gd name="connsiteX329" fmla="*/ 6014025 w 9667345"/>
                <a:gd name="connsiteY329" fmla="*/ 6635877 h 6858889"/>
                <a:gd name="connsiteX330" fmla="*/ 5565410 w 9667345"/>
                <a:gd name="connsiteY330" fmla="*/ 6443985 h 6858889"/>
                <a:gd name="connsiteX331" fmla="*/ 4102871 w 9667345"/>
                <a:gd name="connsiteY331" fmla="*/ 5557991 h 6858889"/>
                <a:gd name="connsiteX332" fmla="*/ 3774838 w 9667345"/>
                <a:gd name="connsiteY332" fmla="*/ 5242058 h 6858889"/>
                <a:gd name="connsiteX333" fmla="*/ 2991707 w 9667345"/>
                <a:gd name="connsiteY333" fmla="*/ 3639491 h 6858889"/>
                <a:gd name="connsiteX334" fmla="*/ 2907861 w 9667345"/>
                <a:gd name="connsiteY334" fmla="*/ 2563764 h 6858889"/>
                <a:gd name="connsiteX335" fmla="*/ 3122227 w 9667345"/>
                <a:gd name="connsiteY335" fmla="*/ 1775013 h 6858889"/>
                <a:gd name="connsiteX336" fmla="*/ 3232870 w 9667345"/>
                <a:gd name="connsiteY336" fmla="*/ 1432286 h 6858889"/>
                <a:gd name="connsiteX337" fmla="*/ 3423467 w 9667345"/>
                <a:gd name="connsiteY337" fmla="*/ 1297 h 6858889"/>
                <a:gd name="connsiteX338" fmla="*/ 3276521 w 9667345"/>
                <a:gd name="connsiteY338" fmla="*/ 1297 h 6858889"/>
                <a:gd name="connsiteX339" fmla="*/ 3293377 w 9667345"/>
                <a:gd name="connsiteY339" fmla="*/ 1297 h 6858889"/>
                <a:gd name="connsiteX340" fmla="*/ 3105805 w 9667345"/>
                <a:gd name="connsiteY340" fmla="*/ 1473776 h 6858889"/>
                <a:gd name="connsiteX341" fmla="*/ 2998622 w 9667345"/>
                <a:gd name="connsiteY341" fmla="*/ 1812614 h 6858889"/>
                <a:gd name="connsiteX342" fmla="*/ 2787713 w 9667345"/>
                <a:gd name="connsiteY342" fmla="*/ 2607848 h 6858889"/>
                <a:gd name="connsiteX343" fmla="*/ 2881497 w 9667345"/>
                <a:gd name="connsiteY343" fmla="*/ 3683573 h 6858889"/>
                <a:gd name="connsiteX344" fmla="*/ 3674571 w 9667345"/>
                <a:gd name="connsiteY344" fmla="*/ 5283981 h 6858889"/>
                <a:gd name="connsiteX345" fmla="*/ 4002604 w 9667345"/>
                <a:gd name="connsiteY345" fmla="*/ 5599913 h 6858889"/>
                <a:gd name="connsiteX346" fmla="*/ 5471625 w 9667345"/>
                <a:gd name="connsiteY346" fmla="*/ 6481585 h 6858889"/>
                <a:gd name="connsiteX347" fmla="*/ 5920240 w 9667345"/>
                <a:gd name="connsiteY347" fmla="*/ 6673478 h 6858889"/>
                <a:gd name="connsiteX348" fmla="*/ 6409913 w 9667345"/>
                <a:gd name="connsiteY348" fmla="*/ 6858024 h 6858889"/>
                <a:gd name="connsiteX349" fmla="*/ 6380956 w 9667345"/>
                <a:gd name="connsiteY349" fmla="*/ 6858024 h 6858889"/>
                <a:gd name="connsiteX350" fmla="*/ 5913757 w 9667345"/>
                <a:gd name="connsiteY350" fmla="*/ 6679961 h 6858889"/>
                <a:gd name="connsiteX351" fmla="*/ 5465142 w 9667345"/>
                <a:gd name="connsiteY351" fmla="*/ 6488068 h 6858889"/>
                <a:gd name="connsiteX352" fmla="*/ 3992663 w 9667345"/>
                <a:gd name="connsiteY352" fmla="*/ 5604236 h 6858889"/>
                <a:gd name="connsiteX353" fmla="*/ 3664629 w 9667345"/>
                <a:gd name="connsiteY353" fmla="*/ 5288303 h 6858889"/>
                <a:gd name="connsiteX354" fmla="*/ 2864642 w 9667345"/>
                <a:gd name="connsiteY354" fmla="*/ 3685734 h 6858889"/>
                <a:gd name="connsiteX355" fmla="*/ 2774314 w 9667345"/>
                <a:gd name="connsiteY355" fmla="*/ 2605687 h 6858889"/>
                <a:gd name="connsiteX356" fmla="*/ 2981766 w 9667345"/>
                <a:gd name="connsiteY356" fmla="*/ 1810454 h 6858889"/>
                <a:gd name="connsiteX357" fmla="*/ 3092408 w 9667345"/>
                <a:gd name="connsiteY357" fmla="*/ 1471615 h 6858889"/>
                <a:gd name="connsiteX358" fmla="*/ 3276521 w 9667345"/>
                <a:gd name="connsiteY358" fmla="*/ 1297 h 6858889"/>
                <a:gd name="connsiteX359" fmla="*/ 3132169 w 9667345"/>
                <a:gd name="connsiteY359" fmla="*/ 1297 h 6858889"/>
                <a:gd name="connsiteX360" fmla="*/ 3145566 w 9667345"/>
                <a:gd name="connsiteY360" fmla="*/ 1297 h 6858889"/>
                <a:gd name="connsiteX361" fmla="*/ 2964911 w 9667345"/>
                <a:gd name="connsiteY361" fmla="*/ 1513105 h 6858889"/>
                <a:gd name="connsiteX362" fmla="*/ 2857726 w 9667345"/>
                <a:gd name="connsiteY362" fmla="*/ 1845461 h 6858889"/>
                <a:gd name="connsiteX363" fmla="*/ 2653732 w 9667345"/>
                <a:gd name="connsiteY363" fmla="*/ 2651066 h 6858889"/>
                <a:gd name="connsiteX364" fmla="*/ 2754001 w 9667345"/>
                <a:gd name="connsiteY364" fmla="*/ 3728954 h 6858889"/>
                <a:gd name="connsiteX365" fmla="*/ 3563930 w 9667345"/>
                <a:gd name="connsiteY365" fmla="*/ 5329361 h 6858889"/>
                <a:gd name="connsiteX366" fmla="*/ 3895420 w 9667345"/>
                <a:gd name="connsiteY366" fmla="*/ 5643133 h 6858889"/>
                <a:gd name="connsiteX367" fmla="*/ 5371356 w 9667345"/>
                <a:gd name="connsiteY367" fmla="*/ 6524804 h 6858889"/>
                <a:gd name="connsiteX368" fmla="*/ 5819971 w 9667345"/>
                <a:gd name="connsiteY368" fmla="*/ 6718859 h 6858889"/>
                <a:gd name="connsiteX369" fmla="*/ 6183877 w 9667345"/>
                <a:gd name="connsiteY369" fmla="*/ 6858024 h 6858889"/>
                <a:gd name="connsiteX370" fmla="*/ 6156648 w 9667345"/>
                <a:gd name="connsiteY370" fmla="*/ 6858024 h 6858889"/>
                <a:gd name="connsiteX371" fmla="*/ 5813056 w 9667345"/>
                <a:gd name="connsiteY371" fmla="*/ 6725342 h 6858889"/>
                <a:gd name="connsiteX372" fmla="*/ 5364441 w 9667345"/>
                <a:gd name="connsiteY372" fmla="*/ 6531288 h 6858889"/>
                <a:gd name="connsiteX373" fmla="*/ 3882022 w 9667345"/>
                <a:gd name="connsiteY373" fmla="*/ 5649616 h 6858889"/>
                <a:gd name="connsiteX374" fmla="*/ 3550532 w 9667345"/>
                <a:gd name="connsiteY374" fmla="*/ 5333683 h 6858889"/>
                <a:gd name="connsiteX375" fmla="*/ 2740603 w 9667345"/>
                <a:gd name="connsiteY375" fmla="*/ 3728954 h 6858889"/>
                <a:gd name="connsiteX376" fmla="*/ 2640334 w 9667345"/>
                <a:gd name="connsiteY376" fmla="*/ 2648906 h 6858889"/>
                <a:gd name="connsiteX377" fmla="*/ 2844328 w 9667345"/>
                <a:gd name="connsiteY377" fmla="*/ 1845461 h 6858889"/>
                <a:gd name="connsiteX378" fmla="*/ 2948056 w 9667345"/>
                <a:gd name="connsiteY378" fmla="*/ 1510944 h 6858889"/>
                <a:gd name="connsiteX379" fmla="*/ 3132169 w 9667345"/>
                <a:gd name="connsiteY379" fmla="*/ 1297 h 6858889"/>
                <a:gd name="connsiteX380" fmla="*/ 1666605 w 9667345"/>
                <a:gd name="connsiteY380" fmla="*/ 1297 h 6858889"/>
                <a:gd name="connsiteX381" fmla="*/ 1680003 w 9667345"/>
                <a:gd name="connsiteY381" fmla="*/ 1297 h 6858889"/>
                <a:gd name="connsiteX382" fmla="*/ 1680003 w 9667345"/>
                <a:gd name="connsiteY382" fmla="*/ 19882 h 6858889"/>
                <a:gd name="connsiteX383" fmla="*/ 1549482 w 9667345"/>
                <a:gd name="connsiteY383" fmla="*/ 1899053 h 6858889"/>
                <a:gd name="connsiteX384" fmla="*/ 1482491 w 9667345"/>
                <a:gd name="connsiteY384" fmla="*/ 2186028 h 6858889"/>
                <a:gd name="connsiteX385" fmla="*/ 1321715 w 9667345"/>
                <a:gd name="connsiteY385" fmla="*/ 3078073 h 6858889"/>
                <a:gd name="connsiteX386" fmla="*/ 1495889 w 9667345"/>
                <a:gd name="connsiteY386" fmla="*/ 4176705 h 6858889"/>
                <a:gd name="connsiteX387" fmla="*/ 2439797 w 9667345"/>
                <a:gd name="connsiteY387" fmla="*/ 5785324 h 6858889"/>
                <a:gd name="connsiteX388" fmla="*/ 2801111 w 9667345"/>
                <a:gd name="connsiteY388" fmla="*/ 6095205 h 6858889"/>
                <a:gd name="connsiteX389" fmla="*/ 4120160 w 9667345"/>
                <a:gd name="connsiteY389" fmla="*/ 6858024 h 6858889"/>
                <a:gd name="connsiteX390" fmla="*/ 4095092 w 9667345"/>
                <a:gd name="connsiteY390" fmla="*/ 6858024 h 6858889"/>
                <a:gd name="connsiteX391" fmla="*/ 2790738 w 9667345"/>
                <a:gd name="connsiteY391" fmla="*/ 6101688 h 6858889"/>
                <a:gd name="connsiteX392" fmla="*/ 2425967 w 9667345"/>
                <a:gd name="connsiteY392" fmla="*/ 5789646 h 6858889"/>
                <a:gd name="connsiteX393" fmla="*/ 1479034 w 9667345"/>
                <a:gd name="connsiteY393" fmla="*/ 4178866 h 6858889"/>
                <a:gd name="connsiteX394" fmla="*/ 1308318 w 9667345"/>
                <a:gd name="connsiteY394" fmla="*/ 3078073 h 6858889"/>
                <a:gd name="connsiteX395" fmla="*/ 1469093 w 9667345"/>
                <a:gd name="connsiteY395" fmla="*/ 2183867 h 6858889"/>
                <a:gd name="connsiteX396" fmla="*/ 1536083 w 9667345"/>
                <a:gd name="connsiteY396" fmla="*/ 1899053 h 6858889"/>
                <a:gd name="connsiteX397" fmla="*/ 1666605 w 9667345"/>
                <a:gd name="connsiteY397" fmla="*/ 19882 h 6858889"/>
                <a:gd name="connsiteX398" fmla="*/ 1666605 w 9667345"/>
                <a:gd name="connsiteY398" fmla="*/ 1297 h 6858889"/>
                <a:gd name="connsiteX399" fmla="*/ 5716245 w 9667345"/>
                <a:gd name="connsiteY399" fmla="*/ 865 h 6858889"/>
                <a:gd name="connsiteX400" fmla="*/ 5729643 w 9667345"/>
                <a:gd name="connsiteY400" fmla="*/ 865 h 6858889"/>
                <a:gd name="connsiteX401" fmla="*/ 5508793 w 9667345"/>
                <a:gd name="connsiteY401" fmla="*/ 814683 h 6858889"/>
                <a:gd name="connsiteX402" fmla="*/ 5334619 w 9667345"/>
                <a:gd name="connsiteY402" fmla="*/ 1194580 h 6858889"/>
                <a:gd name="connsiteX403" fmla="*/ 5053695 w 9667345"/>
                <a:gd name="connsiteY403" fmla="*/ 1878739 h 6858889"/>
                <a:gd name="connsiteX404" fmla="*/ 5023441 w 9667345"/>
                <a:gd name="connsiteY404" fmla="*/ 2919458 h 6858889"/>
                <a:gd name="connsiteX405" fmla="*/ 5585723 w 9667345"/>
                <a:gd name="connsiteY405" fmla="*/ 4509493 h 6858889"/>
                <a:gd name="connsiteX406" fmla="*/ 7626966 w 9667345"/>
                <a:gd name="connsiteY406" fmla="*/ 5911524 h 6858889"/>
                <a:gd name="connsiteX407" fmla="*/ 9666913 w 9667345"/>
                <a:gd name="connsiteY407" fmla="*/ 6434908 h 6858889"/>
                <a:gd name="connsiteX408" fmla="*/ 9666913 w 9667345"/>
                <a:gd name="connsiteY408" fmla="*/ 6443985 h 6858889"/>
                <a:gd name="connsiteX409" fmla="*/ 7617025 w 9667345"/>
                <a:gd name="connsiteY409" fmla="*/ 5919736 h 6858889"/>
                <a:gd name="connsiteX410" fmla="*/ 6425472 w 9667345"/>
                <a:gd name="connsiteY410" fmla="*/ 5306455 h 6858889"/>
                <a:gd name="connsiteX411" fmla="*/ 5572325 w 9667345"/>
                <a:gd name="connsiteY411" fmla="*/ 4513383 h 6858889"/>
                <a:gd name="connsiteX412" fmla="*/ 5006586 w 9667345"/>
                <a:gd name="connsiteY412" fmla="*/ 2921188 h 6858889"/>
                <a:gd name="connsiteX413" fmla="*/ 5036839 w 9667345"/>
                <a:gd name="connsiteY413" fmla="*/ 1876146 h 6858889"/>
                <a:gd name="connsiteX414" fmla="*/ 5321221 w 9667345"/>
                <a:gd name="connsiteY414" fmla="*/ 1192419 h 6858889"/>
                <a:gd name="connsiteX415" fmla="*/ 5495395 w 9667345"/>
                <a:gd name="connsiteY415" fmla="*/ 812521 h 6858889"/>
                <a:gd name="connsiteX416" fmla="*/ 5716245 w 9667345"/>
                <a:gd name="connsiteY416" fmla="*/ 865 h 6858889"/>
                <a:gd name="connsiteX417" fmla="*/ 4726525 w 9667345"/>
                <a:gd name="connsiteY417" fmla="*/ 865 h 6858889"/>
                <a:gd name="connsiteX418" fmla="*/ 4739923 w 9667345"/>
                <a:gd name="connsiteY418" fmla="*/ 865 h 6858889"/>
                <a:gd name="connsiteX419" fmla="*/ 4519073 w 9667345"/>
                <a:gd name="connsiteY419" fmla="*/ 1085235 h 6858889"/>
                <a:gd name="connsiteX420" fmla="*/ 4371695 w 9667345"/>
                <a:gd name="connsiteY420" fmla="*/ 1453030 h 6858889"/>
                <a:gd name="connsiteX421" fmla="*/ 4120592 w 9667345"/>
                <a:gd name="connsiteY421" fmla="*/ 2177816 h 6858889"/>
                <a:gd name="connsiteX422" fmla="*/ 4140473 w 9667345"/>
                <a:gd name="connsiteY422" fmla="*/ 3234958 h 6858889"/>
                <a:gd name="connsiteX423" fmla="*/ 4799566 w 9667345"/>
                <a:gd name="connsiteY423" fmla="*/ 4827154 h 6858889"/>
                <a:gd name="connsiteX424" fmla="*/ 5097346 w 9667345"/>
                <a:gd name="connsiteY424" fmla="*/ 5145247 h 6858889"/>
                <a:gd name="connsiteX425" fmla="*/ 6485979 w 9667345"/>
                <a:gd name="connsiteY425" fmla="*/ 6037292 h 6858889"/>
                <a:gd name="connsiteX426" fmla="*/ 6924221 w 9667345"/>
                <a:gd name="connsiteY426" fmla="*/ 6225295 h 6858889"/>
                <a:gd name="connsiteX427" fmla="*/ 8222527 w 9667345"/>
                <a:gd name="connsiteY427" fmla="*/ 6631988 h 6858889"/>
                <a:gd name="connsiteX428" fmla="*/ 9362217 w 9667345"/>
                <a:gd name="connsiteY428" fmla="*/ 6858024 h 6858889"/>
                <a:gd name="connsiteX429" fmla="*/ 9306465 w 9667345"/>
                <a:gd name="connsiteY429" fmla="*/ 6858024 h 6858889"/>
                <a:gd name="connsiteX430" fmla="*/ 8216044 w 9667345"/>
                <a:gd name="connsiteY430" fmla="*/ 6640632 h 6858889"/>
                <a:gd name="connsiteX431" fmla="*/ 6917738 w 9667345"/>
                <a:gd name="connsiteY431" fmla="*/ 6233939 h 6858889"/>
                <a:gd name="connsiteX432" fmla="*/ 6479496 w 9667345"/>
                <a:gd name="connsiteY432" fmla="*/ 6045935 h 6858889"/>
                <a:gd name="connsiteX433" fmla="*/ 5083948 w 9667345"/>
                <a:gd name="connsiteY433" fmla="*/ 5151730 h 6858889"/>
                <a:gd name="connsiteX434" fmla="*/ 4786168 w 9667345"/>
                <a:gd name="connsiteY434" fmla="*/ 4831476 h 6858889"/>
                <a:gd name="connsiteX435" fmla="*/ 4127075 w 9667345"/>
                <a:gd name="connsiteY435" fmla="*/ 3234958 h 6858889"/>
                <a:gd name="connsiteX436" fmla="*/ 4107194 w 9667345"/>
                <a:gd name="connsiteY436" fmla="*/ 2177816 h 6858889"/>
                <a:gd name="connsiteX437" fmla="*/ 4358298 w 9667345"/>
                <a:gd name="connsiteY437" fmla="*/ 1450869 h 6858889"/>
                <a:gd name="connsiteX438" fmla="*/ 4505676 w 9667345"/>
                <a:gd name="connsiteY438" fmla="*/ 1083075 h 6858889"/>
                <a:gd name="connsiteX439" fmla="*/ 4726525 w 9667345"/>
                <a:gd name="connsiteY439" fmla="*/ 865 h 6858889"/>
                <a:gd name="connsiteX440" fmla="*/ 4581741 w 9667345"/>
                <a:gd name="connsiteY440" fmla="*/ 865 h 6858889"/>
                <a:gd name="connsiteX441" fmla="*/ 4595139 w 9667345"/>
                <a:gd name="connsiteY441" fmla="*/ 865 h 6858889"/>
                <a:gd name="connsiteX442" fmla="*/ 4377746 w 9667345"/>
                <a:gd name="connsiteY442" fmla="*/ 1124132 h 6858889"/>
                <a:gd name="connsiteX443" fmla="*/ 4233826 w 9667345"/>
                <a:gd name="connsiteY443" fmla="*/ 1489767 h 6858889"/>
                <a:gd name="connsiteX444" fmla="*/ 3986180 w 9667345"/>
                <a:gd name="connsiteY444" fmla="*/ 2221036 h 6858889"/>
                <a:gd name="connsiteX445" fmla="*/ 4012976 w 9667345"/>
                <a:gd name="connsiteY445" fmla="*/ 3278178 h 6858889"/>
                <a:gd name="connsiteX446" fmla="*/ 4685467 w 9667345"/>
                <a:gd name="connsiteY446" fmla="*/ 4872534 h 6858889"/>
                <a:gd name="connsiteX447" fmla="*/ 4986705 w 9667345"/>
                <a:gd name="connsiteY447" fmla="*/ 5190628 h 6858889"/>
                <a:gd name="connsiteX448" fmla="*/ 6385711 w 9667345"/>
                <a:gd name="connsiteY448" fmla="*/ 6082672 h 6858889"/>
                <a:gd name="connsiteX449" fmla="*/ 6823953 w 9667345"/>
                <a:gd name="connsiteY449" fmla="*/ 6270675 h 6858889"/>
                <a:gd name="connsiteX450" fmla="*/ 8122259 w 9667345"/>
                <a:gd name="connsiteY450" fmla="*/ 6681690 h 6858889"/>
                <a:gd name="connsiteX451" fmla="*/ 8951634 w 9667345"/>
                <a:gd name="connsiteY451" fmla="*/ 6858456 h 6858889"/>
                <a:gd name="connsiteX452" fmla="*/ 8900205 w 9667345"/>
                <a:gd name="connsiteY452" fmla="*/ 6858456 h 6858889"/>
                <a:gd name="connsiteX453" fmla="*/ 8115776 w 9667345"/>
                <a:gd name="connsiteY453" fmla="*/ 6690766 h 6858889"/>
                <a:gd name="connsiteX454" fmla="*/ 6817470 w 9667345"/>
                <a:gd name="connsiteY454" fmla="*/ 6277591 h 6858889"/>
                <a:gd name="connsiteX455" fmla="*/ 6375770 w 9667345"/>
                <a:gd name="connsiteY455" fmla="*/ 6089588 h 6858889"/>
                <a:gd name="connsiteX456" fmla="*/ 4976765 w 9667345"/>
                <a:gd name="connsiteY456" fmla="*/ 5197543 h 6858889"/>
                <a:gd name="connsiteX457" fmla="*/ 4675527 w 9667345"/>
                <a:gd name="connsiteY457" fmla="*/ 4877289 h 6858889"/>
                <a:gd name="connsiteX458" fmla="*/ 3999578 w 9667345"/>
                <a:gd name="connsiteY458" fmla="*/ 3280771 h 6858889"/>
                <a:gd name="connsiteX459" fmla="*/ 3972783 w 9667345"/>
                <a:gd name="connsiteY459" fmla="*/ 2219307 h 6858889"/>
                <a:gd name="connsiteX460" fmla="*/ 4220429 w 9667345"/>
                <a:gd name="connsiteY460" fmla="*/ 1488038 h 6858889"/>
                <a:gd name="connsiteX461" fmla="*/ 4364348 w 9667345"/>
                <a:gd name="connsiteY461" fmla="*/ 1122404 h 6858889"/>
                <a:gd name="connsiteX462" fmla="*/ 4581741 w 9667345"/>
                <a:gd name="connsiteY462" fmla="*/ 865 h 6858889"/>
                <a:gd name="connsiteX463" fmla="*/ 4293901 w 9667345"/>
                <a:gd name="connsiteY463" fmla="*/ 865 h 6858889"/>
                <a:gd name="connsiteX464" fmla="*/ 4307299 w 9667345"/>
                <a:gd name="connsiteY464" fmla="*/ 865 h 6858889"/>
                <a:gd name="connsiteX465" fmla="*/ 4096389 w 9667345"/>
                <a:gd name="connsiteY465" fmla="*/ 1202791 h 6858889"/>
                <a:gd name="connsiteX466" fmla="*/ 3959384 w 9667345"/>
                <a:gd name="connsiteY466" fmla="*/ 1561942 h 6858889"/>
                <a:gd name="connsiteX467" fmla="*/ 3721679 w 9667345"/>
                <a:gd name="connsiteY467" fmla="*/ 2305314 h 6858889"/>
                <a:gd name="connsiteX468" fmla="*/ 3761872 w 9667345"/>
                <a:gd name="connsiteY468" fmla="*/ 3368937 h 6858889"/>
                <a:gd name="connsiteX469" fmla="*/ 4461159 w 9667345"/>
                <a:gd name="connsiteY469" fmla="*/ 4965455 h 6858889"/>
                <a:gd name="connsiteX470" fmla="*/ 4768880 w 9667345"/>
                <a:gd name="connsiteY470" fmla="*/ 5281388 h 6858889"/>
                <a:gd name="connsiteX471" fmla="*/ 6181283 w 9667345"/>
                <a:gd name="connsiteY471" fmla="*/ 6171271 h 6858889"/>
                <a:gd name="connsiteX472" fmla="*/ 6622984 w 9667345"/>
                <a:gd name="connsiteY472" fmla="*/ 6359275 h 6858889"/>
                <a:gd name="connsiteX473" fmla="*/ 7921289 w 9667345"/>
                <a:gd name="connsiteY473" fmla="*/ 6776340 h 6858889"/>
                <a:gd name="connsiteX474" fmla="*/ 8257533 w 9667345"/>
                <a:gd name="connsiteY474" fmla="*/ 6857592 h 6858889"/>
                <a:gd name="connsiteX475" fmla="*/ 8219501 w 9667345"/>
                <a:gd name="connsiteY475" fmla="*/ 6857592 h 6858889"/>
                <a:gd name="connsiteX476" fmla="*/ 7917399 w 9667345"/>
                <a:gd name="connsiteY476" fmla="*/ 6784552 h 6858889"/>
                <a:gd name="connsiteX477" fmla="*/ 6615637 w 9667345"/>
                <a:gd name="connsiteY477" fmla="*/ 6367487 h 6858889"/>
                <a:gd name="connsiteX478" fmla="*/ 6173937 w 9667345"/>
                <a:gd name="connsiteY478" fmla="*/ 6177322 h 6858889"/>
                <a:gd name="connsiteX479" fmla="*/ 4755050 w 9667345"/>
                <a:gd name="connsiteY479" fmla="*/ 5287439 h 6858889"/>
                <a:gd name="connsiteX480" fmla="*/ 4447329 w 9667345"/>
                <a:gd name="connsiteY480" fmla="*/ 4967184 h 6858889"/>
                <a:gd name="connsiteX481" fmla="*/ 3748043 w 9667345"/>
                <a:gd name="connsiteY481" fmla="*/ 3368937 h 6858889"/>
                <a:gd name="connsiteX482" fmla="*/ 3704392 w 9667345"/>
                <a:gd name="connsiteY482" fmla="*/ 2305314 h 6858889"/>
                <a:gd name="connsiteX483" fmla="*/ 3945554 w 9667345"/>
                <a:gd name="connsiteY483" fmla="*/ 1559782 h 6858889"/>
                <a:gd name="connsiteX484" fmla="*/ 4079533 w 9667345"/>
                <a:gd name="connsiteY484" fmla="*/ 1200631 h 6858889"/>
                <a:gd name="connsiteX485" fmla="*/ 4293901 w 9667345"/>
                <a:gd name="connsiteY485" fmla="*/ 865 h 6858889"/>
                <a:gd name="connsiteX486" fmla="*/ 3858684 w 9667345"/>
                <a:gd name="connsiteY486" fmla="*/ 865 h 6858889"/>
                <a:gd name="connsiteX487" fmla="*/ 3872082 w 9667345"/>
                <a:gd name="connsiteY487" fmla="*/ 865 h 6858889"/>
                <a:gd name="connsiteX488" fmla="*/ 3671113 w 9667345"/>
                <a:gd name="connsiteY488" fmla="*/ 1318619 h 6858889"/>
                <a:gd name="connsiteX489" fmla="*/ 3547506 w 9667345"/>
                <a:gd name="connsiteY489" fmla="*/ 1669558 h 6858889"/>
                <a:gd name="connsiteX490" fmla="*/ 3319740 w 9667345"/>
                <a:gd name="connsiteY490" fmla="*/ 2435835 h 6858889"/>
                <a:gd name="connsiteX491" fmla="*/ 3383272 w 9667345"/>
                <a:gd name="connsiteY491" fmla="*/ 3503350 h 6858889"/>
                <a:gd name="connsiteX492" fmla="*/ 4126211 w 9667345"/>
                <a:gd name="connsiteY492" fmla="*/ 5101596 h 6858889"/>
                <a:gd name="connsiteX493" fmla="*/ 4440846 w 9667345"/>
                <a:gd name="connsiteY493" fmla="*/ 5417529 h 6858889"/>
                <a:gd name="connsiteX494" fmla="*/ 5876588 w 9667345"/>
                <a:gd name="connsiteY494" fmla="*/ 6303522 h 6858889"/>
                <a:gd name="connsiteX495" fmla="*/ 6321746 w 9667345"/>
                <a:gd name="connsiteY495" fmla="*/ 6493687 h 6858889"/>
                <a:gd name="connsiteX496" fmla="*/ 7390557 w 9667345"/>
                <a:gd name="connsiteY496" fmla="*/ 6857592 h 6858889"/>
                <a:gd name="connsiteX497" fmla="*/ 7359439 w 9667345"/>
                <a:gd name="connsiteY497" fmla="*/ 6857592 h 6858889"/>
                <a:gd name="connsiteX498" fmla="*/ 6314831 w 9667345"/>
                <a:gd name="connsiteY498" fmla="*/ 6501898 h 6858889"/>
                <a:gd name="connsiteX499" fmla="*/ 5869673 w 9667345"/>
                <a:gd name="connsiteY499" fmla="*/ 6310005 h 6858889"/>
                <a:gd name="connsiteX500" fmla="*/ 4427449 w 9667345"/>
                <a:gd name="connsiteY500" fmla="*/ 5421850 h 6858889"/>
                <a:gd name="connsiteX501" fmla="*/ 4112813 w 9667345"/>
                <a:gd name="connsiteY501" fmla="*/ 5105917 h 6858889"/>
                <a:gd name="connsiteX502" fmla="*/ 3369875 w 9667345"/>
                <a:gd name="connsiteY502" fmla="*/ 3505511 h 6858889"/>
                <a:gd name="connsiteX503" fmla="*/ 3306342 w 9667345"/>
                <a:gd name="connsiteY503" fmla="*/ 2433674 h 6858889"/>
                <a:gd name="connsiteX504" fmla="*/ 3534108 w 9667345"/>
                <a:gd name="connsiteY504" fmla="*/ 1667398 h 6858889"/>
                <a:gd name="connsiteX505" fmla="*/ 3657715 w 9667345"/>
                <a:gd name="connsiteY505" fmla="*/ 1316458 h 6858889"/>
                <a:gd name="connsiteX506" fmla="*/ 3858684 w 9667345"/>
                <a:gd name="connsiteY506" fmla="*/ 865 h 6858889"/>
                <a:gd name="connsiteX507" fmla="*/ 2985225 w 9667345"/>
                <a:gd name="connsiteY507" fmla="*/ 865 h 6858889"/>
                <a:gd name="connsiteX508" fmla="*/ 2998622 w 9667345"/>
                <a:gd name="connsiteY508" fmla="*/ 865 h 6858889"/>
                <a:gd name="connsiteX509" fmla="*/ 2821423 w 9667345"/>
                <a:gd name="connsiteY509" fmla="*/ 1551570 h 6858889"/>
                <a:gd name="connsiteX510" fmla="*/ 2721154 w 9667345"/>
                <a:gd name="connsiteY510" fmla="*/ 1880037 h 6858889"/>
                <a:gd name="connsiteX511" fmla="*/ 2520184 w 9667345"/>
                <a:gd name="connsiteY511" fmla="*/ 2691693 h 6858889"/>
                <a:gd name="connsiteX512" fmla="*/ 2627369 w 9667345"/>
                <a:gd name="connsiteY512" fmla="*/ 3771741 h 6858889"/>
                <a:gd name="connsiteX513" fmla="*/ 3450694 w 9667345"/>
                <a:gd name="connsiteY513" fmla="*/ 5374309 h 6858889"/>
                <a:gd name="connsiteX514" fmla="*/ 3785211 w 9667345"/>
                <a:gd name="connsiteY514" fmla="*/ 5688081 h 6858889"/>
                <a:gd name="connsiteX515" fmla="*/ 5271088 w 9667345"/>
                <a:gd name="connsiteY515" fmla="*/ 6568024 h 6858889"/>
                <a:gd name="connsiteX516" fmla="*/ 5722728 w 9667345"/>
                <a:gd name="connsiteY516" fmla="*/ 6762078 h 6858889"/>
                <a:gd name="connsiteX517" fmla="*/ 5963890 w 9667345"/>
                <a:gd name="connsiteY517" fmla="*/ 6858024 h 6858889"/>
                <a:gd name="connsiteX518" fmla="*/ 5935798 w 9667345"/>
                <a:gd name="connsiteY518" fmla="*/ 6858024 h 6858889"/>
                <a:gd name="connsiteX519" fmla="*/ 5712788 w 9667345"/>
                <a:gd name="connsiteY519" fmla="*/ 6770722 h 6858889"/>
                <a:gd name="connsiteX520" fmla="*/ 5261147 w 9667345"/>
                <a:gd name="connsiteY520" fmla="*/ 6576668 h 6858889"/>
                <a:gd name="connsiteX521" fmla="*/ 3775272 w 9667345"/>
                <a:gd name="connsiteY521" fmla="*/ 5694996 h 6858889"/>
                <a:gd name="connsiteX522" fmla="*/ 3437296 w 9667345"/>
                <a:gd name="connsiteY522" fmla="*/ 5379064 h 6858889"/>
                <a:gd name="connsiteX523" fmla="*/ 2613972 w 9667345"/>
                <a:gd name="connsiteY523" fmla="*/ 3774334 h 6858889"/>
                <a:gd name="connsiteX524" fmla="*/ 2506787 w 9667345"/>
                <a:gd name="connsiteY524" fmla="*/ 2692125 h 6858889"/>
                <a:gd name="connsiteX525" fmla="*/ 2707756 w 9667345"/>
                <a:gd name="connsiteY525" fmla="*/ 1878307 h 6858889"/>
                <a:gd name="connsiteX526" fmla="*/ 2808025 w 9667345"/>
                <a:gd name="connsiteY526" fmla="*/ 1549842 h 6858889"/>
                <a:gd name="connsiteX527" fmla="*/ 2985225 w 9667345"/>
                <a:gd name="connsiteY527" fmla="*/ 865 h 6858889"/>
                <a:gd name="connsiteX528" fmla="*/ 2838710 w 9667345"/>
                <a:gd name="connsiteY528" fmla="*/ 865 h 6858889"/>
                <a:gd name="connsiteX529" fmla="*/ 2855567 w 9667345"/>
                <a:gd name="connsiteY529" fmla="*/ 865 h 6858889"/>
                <a:gd name="connsiteX530" fmla="*/ 2681392 w 9667345"/>
                <a:gd name="connsiteY530" fmla="*/ 1588739 h 6858889"/>
                <a:gd name="connsiteX531" fmla="*/ 2584149 w 9667345"/>
                <a:gd name="connsiteY531" fmla="*/ 1915044 h 6858889"/>
                <a:gd name="connsiteX532" fmla="*/ 2390096 w 9667345"/>
                <a:gd name="connsiteY532" fmla="*/ 2734912 h 6858889"/>
                <a:gd name="connsiteX533" fmla="*/ 2503762 w 9667345"/>
                <a:gd name="connsiteY533" fmla="*/ 3817122 h 6858889"/>
                <a:gd name="connsiteX534" fmla="*/ 3340485 w 9667345"/>
                <a:gd name="connsiteY534" fmla="*/ 5419690 h 6858889"/>
                <a:gd name="connsiteX535" fmla="*/ 3675002 w 9667345"/>
                <a:gd name="connsiteY535" fmla="*/ 5733461 h 6858889"/>
                <a:gd name="connsiteX536" fmla="*/ 5170819 w 9667345"/>
                <a:gd name="connsiteY536" fmla="*/ 6613403 h 6858889"/>
                <a:gd name="connsiteX537" fmla="*/ 5622459 w 9667345"/>
                <a:gd name="connsiteY537" fmla="*/ 6807459 h 6858889"/>
                <a:gd name="connsiteX538" fmla="*/ 5747363 w 9667345"/>
                <a:gd name="connsiteY538" fmla="*/ 6858024 h 6858889"/>
                <a:gd name="connsiteX539" fmla="*/ 5722728 w 9667345"/>
                <a:gd name="connsiteY539" fmla="*/ 6858024 h 6858889"/>
                <a:gd name="connsiteX540" fmla="*/ 5612519 w 9667345"/>
                <a:gd name="connsiteY540" fmla="*/ 6813941 h 6858889"/>
                <a:gd name="connsiteX541" fmla="*/ 5160879 w 9667345"/>
                <a:gd name="connsiteY541" fmla="*/ 6619886 h 6858889"/>
                <a:gd name="connsiteX542" fmla="*/ 3665063 w 9667345"/>
                <a:gd name="connsiteY542" fmla="*/ 5739943 h 6858889"/>
                <a:gd name="connsiteX543" fmla="*/ 3327087 w 9667345"/>
                <a:gd name="connsiteY543" fmla="*/ 5424011 h 6858889"/>
                <a:gd name="connsiteX544" fmla="*/ 2490364 w 9667345"/>
                <a:gd name="connsiteY544" fmla="*/ 3819282 h 6858889"/>
                <a:gd name="connsiteX545" fmla="*/ 2373240 w 9667345"/>
                <a:gd name="connsiteY545" fmla="*/ 2734912 h 6858889"/>
                <a:gd name="connsiteX546" fmla="*/ 2570751 w 9667345"/>
                <a:gd name="connsiteY546" fmla="*/ 1912883 h 6858889"/>
                <a:gd name="connsiteX547" fmla="*/ 2667995 w 9667345"/>
                <a:gd name="connsiteY547" fmla="*/ 1588739 h 6858889"/>
                <a:gd name="connsiteX548" fmla="*/ 2838710 w 9667345"/>
                <a:gd name="connsiteY548" fmla="*/ 865 h 6858889"/>
                <a:gd name="connsiteX549" fmla="*/ 2693495 w 9667345"/>
                <a:gd name="connsiteY549" fmla="*/ 865 h 6858889"/>
                <a:gd name="connsiteX550" fmla="*/ 2706893 w 9667345"/>
                <a:gd name="connsiteY550" fmla="*/ 865 h 6858889"/>
                <a:gd name="connsiteX551" fmla="*/ 2539633 w 9667345"/>
                <a:gd name="connsiteY551" fmla="*/ 1628068 h 6858889"/>
                <a:gd name="connsiteX552" fmla="*/ 2445847 w 9667345"/>
                <a:gd name="connsiteY552" fmla="*/ 1950052 h 6858889"/>
                <a:gd name="connsiteX553" fmla="*/ 2255252 w 9667345"/>
                <a:gd name="connsiteY553" fmla="*/ 2778131 h 6858889"/>
                <a:gd name="connsiteX554" fmla="*/ 2375833 w 9667345"/>
                <a:gd name="connsiteY554" fmla="*/ 3862501 h 6858889"/>
                <a:gd name="connsiteX555" fmla="*/ 3225955 w 9667345"/>
                <a:gd name="connsiteY555" fmla="*/ 5465070 h 6858889"/>
                <a:gd name="connsiteX556" fmla="*/ 3567387 w 9667345"/>
                <a:gd name="connsiteY556" fmla="*/ 5778841 h 6858889"/>
                <a:gd name="connsiteX557" fmla="*/ 5066660 w 9667345"/>
                <a:gd name="connsiteY557" fmla="*/ 6656623 h 6858889"/>
                <a:gd name="connsiteX558" fmla="*/ 5521759 w 9667345"/>
                <a:gd name="connsiteY558" fmla="*/ 6852838 h 6858889"/>
                <a:gd name="connsiteX559" fmla="*/ 5533428 w 9667345"/>
                <a:gd name="connsiteY559" fmla="*/ 6857592 h 6858889"/>
                <a:gd name="connsiteX560" fmla="*/ 5507928 w 9667345"/>
                <a:gd name="connsiteY560" fmla="*/ 6857592 h 6858889"/>
                <a:gd name="connsiteX561" fmla="*/ 5059745 w 9667345"/>
                <a:gd name="connsiteY561" fmla="*/ 6664835 h 6858889"/>
                <a:gd name="connsiteX562" fmla="*/ 3553989 w 9667345"/>
                <a:gd name="connsiteY562" fmla="*/ 5784892 h 6858889"/>
                <a:gd name="connsiteX563" fmla="*/ 3212557 w 9667345"/>
                <a:gd name="connsiteY563" fmla="*/ 5468959 h 6858889"/>
                <a:gd name="connsiteX564" fmla="*/ 2362435 w 9667345"/>
                <a:gd name="connsiteY564" fmla="*/ 3862501 h 6858889"/>
                <a:gd name="connsiteX565" fmla="*/ 2241852 w 9667345"/>
                <a:gd name="connsiteY565" fmla="*/ 2778131 h 6858889"/>
                <a:gd name="connsiteX566" fmla="*/ 2432449 w 9667345"/>
                <a:gd name="connsiteY566" fmla="*/ 1947890 h 6858889"/>
                <a:gd name="connsiteX567" fmla="*/ 2526235 w 9667345"/>
                <a:gd name="connsiteY567" fmla="*/ 1625908 h 6858889"/>
                <a:gd name="connsiteX568" fmla="*/ 2693495 w 9667345"/>
                <a:gd name="connsiteY568" fmla="*/ 865 h 6858889"/>
                <a:gd name="connsiteX569" fmla="*/ 2546980 w 9667345"/>
                <a:gd name="connsiteY569" fmla="*/ 865 h 6858889"/>
                <a:gd name="connsiteX570" fmla="*/ 2560380 w 9667345"/>
                <a:gd name="connsiteY570" fmla="*/ 865 h 6858889"/>
                <a:gd name="connsiteX571" fmla="*/ 2399604 w 9667345"/>
                <a:gd name="connsiteY571" fmla="*/ 1667398 h 6858889"/>
                <a:gd name="connsiteX572" fmla="*/ 2309276 w 9667345"/>
                <a:gd name="connsiteY572" fmla="*/ 1983330 h 6858889"/>
                <a:gd name="connsiteX573" fmla="*/ 2121704 w 9667345"/>
                <a:gd name="connsiteY573" fmla="*/ 2821783 h 6858889"/>
                <a:gd name="connsiteX574" fmla="*/ 2248768 w 9667345"/>
                <a:gd name="connsiteY574" fmla="*/ 3907881 h 6858889"/>
                <a:gd name="connsiteX575" fmla="*/ 3112289 w 9667345"/>
                <a:gd name="connsiteY575" fmla="*/ 5510450 h 6858889"/>
                <a:gd name="connsiteX576" fmla="*/ 3457178 w 9667345"/>
                <a:gd name="connsiteY576" fmla="*/ 5824221 h 6858889"/>
                <a:gd name="connsiteX577" fmla="*/ 4966392 w 9667345"/>
                <a:gd name="connsiteY577" fmla="*/ 6702003 h 6858889"/>
                <a:gd name="connsiteX578" fmla="*/ 5328136 w 9667345"/>
                <a:gd name="connsiteY578" fmla="*/ 6857160 h 6858889"/>
                <a:gd name="connsiteX579" fmla="*/ 5299612 w 9667345"/>
                <a:gd name="connsiteY579" fmla="*/ 6857160 h 6858889"/>
                <a:gd name="connsiteX580" fmla="*/ 4959910 w 9667345"/>
                <a:gd name="connsiteY580" fmla="*/ 6708054 h 6858889"/>
                <a:gd name="connsiteX581" fmla="*/ 3447237 w 9667345"/>
                <a:gd name="connsiteY581" fmla="*/ 5830272 h 6858889"/>
                <a:gd name="connsiteX582" fmla="*/ 3102348 w 9667345"/>
                <a:gd name="connsiteY582" fmla="*/ 5514339 h 6858889"/>
                <a:gd name="connsiteX583" fmla="*/ 2235803 w 9667345"/>
                <a:gd name="connsiteY583" fmla="*/ 3907881 h 6858889"/>
                <a:gd name="connsiteX584" fmla="*/ 2108737 w 9667345"/>
                <a:gd name="connsiteY584" fmla="*/ 2819622 h 6858889"/>
                <a:gd name="connsiteX585" fmla="*/ 2296308 w 9667345"/>
                <a:gd name="connsiteY585" fmla="*/ 1983330 h 6858889"/>
                <a:gd name="connsiteX586" fmla="*/ 2383181 w 9667345"/>
                <a:gd name="connsiteY586" fmla="*/ 1665237 h 6858889"/>
                <a:gd name="connsiteX587" fmla="*/ 2546980 w 9667345"/>
                <a:gd name="connsiteY587" fmla="*/ 865 h 6858889"/>
                <a:gd name="connsiteX588" fmla="*/ 2400036 w 9667345"/>
                <a:gd name="connsiteY588" fmla="*/ 865 h 6858889"/>
                <a:gd name="connsiteX589" fmla="*/ 2413434 w 9667345"/>
                <a:gd name="connsiteY589" fmla="*/ 865 h 6858889"/>
                <a:gd name="connsiteX590" fmla="*/ 2256115 w 9667345"/>
                <a:gd name="connsiteY590" fmla="*/ 1706727 h 6858889"/>
                <a:gd name="connsiteX591" fmla="*/ 2172271 w 9667345"/>
                <a:gd name="connsiteY591" fmla="*/ 2018770 h 6858889"/>
                <a:gd name="connsiteX592" fmla="*/ 1988157 w 9667345"/>
                <a:gd name="connsiteY592" fmla="*/ 2863273 h 6858889"/>
                <a:gd name="connsiteX593" fmla="*/ 2125161 w 9667345"/>
                <a:gd name="connsiteY593" fmla="*/ 3951533 h 6858889"/>
                <a:gd name="connsiteX594" fmla="*/ 3002080 w 9667345"/>
                <a:gd name="connsiteY594" fmla="*/ 5556263 h 6858889"/>
                <a:gd name="connsiteX595" fmla="*/ 3346969 w 9667345"/>
                <a:gd name="connsiteY595" fmla="*/ 5870033 h 6858889"/>
                <a:gd name="connsiteX596" fmla="*/ 4866123 w 9667345"/>
                <a:gd name="connsiteY596" fmla="*/ 6745655 h 6858889"/>
                <a:gd name="connsiteX597" fmla="*/ 5120684 w 9667345"/>
                <a:gd name="connsiteY597" fmla="*/ 6857592 h 6858889"/>
                <a:gd name="connsiteX598" fmla="*/ 5091296 w 9667345"/>
                <a:gd name="connsiteY598" fmla="*/ 6857592 h 6858889"/>
                <a:gd name="connsiteX599" fmla="*/ 4855751 w 9667345"/>
                <a:gd name="connsiteY599" fmla="*/ 6753867 h 6858889"/>
                <a:gd name="connsiteX600" fmla="*/ 3336595 w 9667345"/>
                <a:gd name="connsiteY600" fmla="*/ 5876084 h 6858889"/>
                <a:gd name="connsiteX601" fmla="*/ 2988682 w 9667345"/>
                <a:gd name="connsiteY601" fmla="*/ 5562313 h 6858889"/>
                <a:gd name="connsiteX602" fmla="*/ 2111764 w 9667345"/>
                <a:gd name="connsiteY602" fmla="*/ 3953694 h 6858889"/>
                <a:gd name="connsiteX603" fmla="*/ 1974759 w 9667345"/>
                <a:gd name="connsiteY603" fmla="*/ 2863273 h 6858889"/>
                <a:gd name="connsiteX604" fmla="*/ 2158874 w 9667345"/>
                <a:gd name="connsiteY604" fmla="*/ 2016609 h 6858889"/>
                <a:gd name="connsiteX605" fmla="*/ 2242718 w 9667345"/>
                <a:gd name="connsiteY605" fmla="*/ 1704566 h 6858889"/>
                <a:gd name="connsiteX606" fmla="*/ 2400036 w 9667345"/>
                <a:gd name="connsiteY606" fmla="*/ 865 h 6858889"/>
                <a:gd name="connsiteX607" fmla="*/ 2252226 w 9667345"/>
                <a:gd name="connsiteY607" fmla="*/ 865 h 6858889"/>
                <a:gd name="connsiteX608" fmla="*/ 2265624 w 9667345"/>
                <a:gd name="connsiteY608" fmla="*/ 865 h 6858889"/>
                <a:gd name="connsiteX609" fmla="*/ 2115221 w 9667345"/>
                <a:gd name="connsiteY609" fmla="*/ 1743896 h 6858889"/>
                <a:gd name="connsiteX610" fmla="*/ 2034834 w 9667345"/>
                <a:gd name="connsiteY610" fmla="*/ 2051617 h 6858889"/>
                <a:gd name="connsiteX611" fmla="*/ 1854176 w 9667345"/>
                <a:gd name="connsiteY611" fmla="*/ 2906493 h 6858889"/>
                <a:gd name="connsiteX612" fmla="*/ 1998098 w 9667345"/>
                <a:gd name="connsiteY612" fmla="*/ 3996913 h 6858889"/>
                <a:gd name="connsiteX613" fmla="*/ 2888413 w 9667345"/>
                <a:gd name="connsiteY613" fmla="*/ 5601642 h 6858889"/>
                <a:gd name="connsiteX614" fmla="*/ 3239786 w 9667345"/>
                <a:gd name="connsiteY614" fmla="*/ 5915414 h 6858889"/>
                <a:gd name="connsiteX615" fmla="*/ 4765854 w 9667345"/>
                <a:gd name="connsiteY615" fmla="*/ 6791034 h 6858889"/>
                <a:gd name="connsiteX616" fmla="*/ 4915393 w 9667345"/>
                <a:gd name="connsiteY616" fmla="*/ 6858024 h 6858889"/>
                <a:gd name="connsiteX617" fmla="*/ 4892055 w 9667345"/>
                <a:gd name="connsiteY617" fmla="*/ 6858024 h 6858889"/>
                <a:gd name="connsiteX618" fmla="*/ 4755482 w 9667345"/>
                <a:gd name="connsiteY618" fmla="*/ 6797517 h 6858889"/>
                <a:gd name="connsiteX619" fmla="*/ 3225955 w 9667345"/>
                <a:gd name="connsiteY619" fmla="*/ 5919736 h 6858889"/>
                <a:gd name="connsiteX620" fmla="*/ 2878041 w 9667345"/>
                <a:gd name="connsiteY620" fmla="*/ 5607693 h 6858889"/>
                <a:gd name="connsiteX621" fmla="*/ 1984699 w 9667345"/>
                <a:gd name="connsiteY621" fmla="*/ 3999074 h 6858889"/>
                <a:gd name="connsiteX622" fmla="*/ 1840778 w 9667345"/>
                <a:gd name="connsiteY622" fmla="*/ 2906493 h 6858889"/>
                <a:gd name="connsiteX623" fmla="*/ 2017978 w 9667345"/>
                <a:gd name="connsiteY623" fmla="*/ 2051617 h 6858889"/>
                <a:gd name="connsiteX624" fmla="*/ 2101823 w 9667345"/>
                <a:gd name="connsiteY624" fmla="*/ 1743896 h 6858889"/>
                <a:gd name="connsiteX625" fmla="*/ 2252226 w 9667345"/>
                <a:gd name="connsiteY625" fmla="*/ 865 h 6858889"/>
                <a:gd name="connsiteX626" fmla="*/ 2105282 w 9667345"/>
                <a:gd name="connsiteY626" fmla="*/ 865 h 6858889"/>
                <a:gd name="connsiteX627" fmla="*/ 2122137 w 9667345"/>
                <a:gd name="connsiteY627" fmla="*/ 865 h 6858889"/>
                <a:gd name="connsiteX628" fmla="*/ 1974759 w 9667345"/>
                <a:gd name="connsiteY628" fmla="*/ 1783225 h 6858889"/>
                <a:gd name="connsiteX629" fmla="*/ 1894371 w 9667345"/>
                <a:gd name="connsiteY629" fmla="*/ 2086624 h 6858889"/>
                <a:gd name="connsiteX630" fmla="*/ 1723655 w 9667345"/>
                <a:gd name="connsiteY630" fmla="*/ 2949711 h 6858889"/>
                <a:gd name="connsiteX631" fmla="*/ 1874058 w 9667345"/>
                <a:gd name="connsiteY631" fmla="*/ 4042292 h 6858889"/>
                <a:gd name="connsiteX632" fmla="*/ 2777772 w 9667345"/>
                <a:gd name="connsiteY632" fmla="*/ 5648752 h 6858889"/>
                <a:gd name="connsiteX633" fmla="*/ 3129144 w 9667345"/>
                <a:gd name="connsiteY633" fmla="*/ 5960794 h 6858889"/>
                <a:gd name="connsiteX634" fmla="*/ 4661697 w 9667345"/>
                <a:gd name="connsiteY634" fmla="*/ 6834254 h 6858889"/>
                <a:gd name="connsiteX635" fmla="*/ 4712694 w 9667345"/>
                <a:gd name="connsiteY635" fmla="*/ 6858024 h 6858889"/>
                <a:gd name="connsiteX636" fmla="*/ 4691518 w 9667345"/>
                <a:gd name="connsiteY636" fmla="*/ 6858024 h 6858889"/>
                <a:gd name="connsiteX637" fmla="*/ 4654782 w 9667345"/>
                <a:gd name="connsiteY637" fmla="*/ 6840737 h 6858889"/>
                <a:gd name="connsiteX638" fmla="*/ 3118771 w 9667345"/>
                <a:gd name="connsiteY638" fmla="*/ 5965116 h 6858889"/>
                <a:gd name="connsiteX639" fmla="*/ 2763942 w 9667345"/>
                <a:gd name="connsiteY639" fmla="*/ 5653073 h 6858889"/>
                <a:gd name="connsiteX640" fmla="*/ 1857203 w 9667345"/>
                <a:gd name="connsiteY640" fmla="*/ 4042292 h 6858889"/>
                <a:gd name="connsiteX641" fmla="*/ 1706800 w 9667345"/>
                <a:gd name="connsiteY641" fmla="*/ 2949711 h 6858889"/>
                <a:gd name="connsiteX642" fmla="*/ 1880974 w 9667345"/>
                <a:gd name="connsiteY642" fmla="*/ 2084463 h 6858889"/>
                <a:gd name="connsiteX643" fmla="*/ 1961361 w 9667345"/>
                <a:gd name="connsiteY643" fmla="*/ 1781064 h 6858889"/>
                <a:gd name="connsiteX644" fmla="*/ 2105282 w 9667345"/>
                <a:gd name="connsiteY644" fmla="*/ 865 h 6858889"/>
                <a:gd name="connsiteX645" fmla="*/ 1957472 w 9667345"/>
                <a:gd name="connsiteY645" fmla="*/ 865 h 6858889"/>
                <a:gd name="connsiteX646" fmla="*/ 1974327 w 9667345"/>
                <a:gd name="connsiteY646" fmla="*/ 865 h 6858889"/>
                <a:gd name="connsiteX647" fmla="*/ 1833865 w 9667345"/>
                <a:gd name="connsiteY647" fmla="*/ 1822122 h 6858889"/>
                <a:gd name="connsiteX648" fmla="*/ 1756935 w 9667345"/>
                <a:gd name="connsiteY648" fmla="*/ 2119471 h 6858889"/>
                <a:gd name="connsiteX649" fmla="*/ 1589675 w 9667345"/>
                <a:gd name="connsiteY649" fmla="*/ 2992931 h 6858889"/>
                <a:gd name="connsiteX650" fmla="*/ 1746993 w 9667345"/>
                <a:gd name="connsiteY650" fmla="*/ 4085512 h 6858889"/>
                <a:gd name="connsiteX651" fmla="*/ 2664105 w 9667345"/>
                <a:gd name="connsiteY651" fmla="*/ 5694131 h 6858889"/>
                <a:gd name="connsiteX652" fmla="*/ 3018935 w 9667345"/>
                <a:gd name="connsiteY652" fmla="*/ 6006174 h 6858889"/>
                <a:gd name="connsiteX653" fmla="*/ 4516912 w 9667345"/>
                <a:gd name="connsiteY653" fmla="*/ 6858024 h 6858889"/>
                <a:gd name="connsiteX654" fmla="*/ 4491845 w 9667345"/>
                <a:gd name="connsiteY654" fmla="*/ 6858024 h 6858889"/>
                <a:gd name="connsiteX655" fmla="*/ 3008562 w 9667345"/>
                <a:gd name="connsiteY655" fmla="*/ 6010496 h 6858889"/>
                <a:gd name="connsiteX656" fmla="*/ 2653732 w 9667345"/>
                <a:gd name="connsiteY656" fmla="*/ 5698453 h 6858889"/>
                <a:gd name="connsiteX657" fmla="*/ 1733596 w 9667345"/>
                <a:gd name="connsiteY657" fmla="*/ 4087673 h 6858889"/>
                <a:gd name="connsiteX658" fmla="*/ 1576277 w 9667345"/>
                <a:gd name="connsiteY658" fmla="*/ 2993363 h 6858889"/>
                <a:gd name="connsiteX659" fmla="*/ 1743537 w 9667345"/>
                <a:gd name="connsiteY659" fmla="*/ 2117741 h 6858889"/>
                <a:gd name="connsiteX660" fmla="*/ 1817009 w 9667345"/>
                <a:gd name="connsiteY660" fmla="*/ 1820394 h 6858889"/>
                <a:gd name="connsiteX661" fmla="*/ 1957472 w 9667345"/>
                <a:gd name="connsiteY661" fmla="*/ 865 h 6858889"/>
                <a:gd name="connsiteX662" fmla="*/ 1813983 w 9667345"/>
                <a:gd name="connsiteY662" fmla="*/ 865 h 6858889"/>
                <a:gd name="connsiteX663" fmla="*/ 1827381 w 9667345"/>
                <a:gd name="connsiteY663" fmla="*/ 865 h 6858889"/>
                <a:gd name="connsiteX664" fmla="*/ 1690376 w 9667345"/>
                <a:gd name="connsiteY664" fmla="*/ 1861452 h 6858889"/>
                <a:gd name="connsiteX665" fmla="*/ 1619928 w 9667345"/>
                <a:gd name="connsiteY665" fmla="*/ 2152749 h 6858889"/>
                <a:gd name="connsiteX666" fmla="*/ 1456128 w 9667345"/>
                <a:gd name="connsiteY666" fmla="*/ 3034421 h 6858889"/>
                <a:gd name="connsiteX667" fmla="*/ 1619928 w 9667345"/>
                <a:gd name="connsiteY667" fmla="*/ 4130892 h 6858889"/>
                <a:gd name="connsiteX668" fmla="*/ 2553464 w 9667345"/>
                <a:gd name="connsiteY668" fmla="*/ 5739511 h 6858889"/>
                <a:gd name="connsiteX669" fmla="*/ 2911750 w 9667345"/>
                <a:gd name="connsiteY669" fmla="*/ 6051554 h 6858889"/>
                <a:gd name="connsiteX670" fmla="*/ 4316807 w 9667345"/>
                <a:gd name="connsiteY670" fmla="*/ 6857592 h 6858889"/>
                <a:gd name="connsiteX671" fmla="*/ 4293901 w 9667345"/>
                <a:gd name="connsiteY671" fmla="*/ 6857592 h 6858889"/>
                <a:gd name="connsiteX672" fmla="*/ 2898352 w 9667345"/>
                <a:gd name="connsiteY672" fmla="*/ 6055876 h 6858889"/>
                <a:gd name="connsiteX673" fmla="*/ 2540066 w 9667345"/>
                <a:gd name="connsiteY673" fmla="*/ 5743834 h 6858889"/>
                <a:gd name="connsiteX674" fmla="*/ 1606530 w 9667345"/>
                <a:gd name="connsiteY674" fmla="*/ 4133053 h 6858889"/>
                <a:gd name="connsiteX675" fmla="*/ 1442730 w 9667345"/>
                <a:gd name="connsiteY675" fmla="*/ 3034421 h 6858889"/>
                <a:gd name="connsiteX676" fmla="*/ 1606530 w 9667345"/>
                <a:gd name="connsiteY676" fmla="*/ 2150589 h 6858889"/>
                <a:gd name="connsiteX677" fmla="*/ 1676978 w 9667345"/>
                <a:gd name="connsiteY677" fmla="*/ 1859291 h 6858889"/>
                <a:gd name="connsiteX678" fmla="*/ 1813983 w 9667345"/>
                <a:gd name="connsiteY678" fmla="*/ 865 h 6858889"/>
                <a:gd name="connsiteX679" fmla="*/ 1519660 w 9667345"/>
                <a:gd name="connsiteY679" fmla="*/ 865 h 6858889"/>
                <a:gd name="connsiteX680" fmla="*/ 1533058 w 9667345"/>
                <a:gd name="connsiteY680" fmla="*/ 865 h 6858889"/>
                <a:gd name="connsiteX681" fmla="*/ 1536516 w 9667345"/>
                <a:gd name="connsiteY681" fmla="*/ 52296 h 6858889"/>
                <a:gd name="connsiteX682" fmla="*/ 1409451 w 9667345"/>
                <a:gd name="connsiteY682" fmla="*/ 1937950 h 6858889"/>
                <a:gd name="connsiteX683" fmla="*/ 1342461 w 9667345"/>
                <a:gd name="connsiteY683" fmla="*/ 2218875 h 6858889"/>
                <a:gd name="connsiteX684" fmla="*/ 1188601 w 9667345"/>
                <a:gd name="connsiteY684" fmla="*/ 3121292 h 6858889"/>
                <a:gd name="connsiteX685" fmla="*/ 1369256 w 9667345"/>
                <a:gd name="connsiteY685" fmla="*/ 4222085 h 6858889"/>
                <a:gd name="connsiteX686" fmla="*/ 2329588 w 9667345"/>
                <a:gd name="connsiteY686" fmla="*/ 5830704 h 6858889"/>
                <a:gd name="connsiteX687" fmla="*/ 2690902 w 9667345"/>
                <a:gd name="connsiteY687" fmla="*/ 6140585 h 6858889"/>
                <a:gd name="connsiteX688" fmla="*/ 3923512 w 9667345"/>
                <a:gd name="connsiteY688" fmla="*/ 6858024 h 6858889"/>
                <a:gd name="connsiteX689" fmla="*/ 3900606 w 9667345"/>
                <a:gd name="connsiteY689" fmla="*/ 6858024 h 6858889"/>
                <a:gd name="connsiteX690" fmla="*/ 2680528 w 9667345"/>
                <a:gd name="connsiteY690" fmla="*/ 6147068 h 6858889"/>
                <a:gd name="connsiteX691" fmla="*/ 2315758 w 9667345"/>
                <a:gd name="connsiteY691" fmla="*/ 5835026 h 6858889"/>
                <a:gd name="connsiteX692" fmla="*/ 1355426 w 9667345"/>
                <a:gd name="connsiteY692" fmla="*/ 4222085 h 6858889"/>
                <a:gd name="connsiteX693" fmla="*/ 1174770 w 9667345"/>
                <a:gd name="connsiteY693" fmla="*/ 3121292 h 6858889"/>
                <a:gd name="connsiteX694" fmla="*/ 1329063 w 9667345"/>
                <a:gd name="connsiteY694" fmla="*/ 2216714 h 6858889"/>
                <a:gd name="connsiteX695" fmla="*/ 1396053 w 9667345"/>
                <a:gd name="connsiteY695" fmla="*/ 1937950 h 6858889"/>
                <a:gd name="connsiteX696" fmla="*/ 1523118 w 9667345"/>
                <a:gd name="connsiteY696" fmla="*/ 52296 h 6858889"/>
                <a:gd name="connsiteX697" fmla="*/ 1519660 w 9667345"/>
                <a:gd name="connsiteY697" fmla="*/ 865 h 6858889"/>
                <a:gd name="connsiteX698" fmla="*/ 927556 w 9667345"/>
                <a:gd name="connsiteY698" fmla="*/ 865 h 6858889"/>
                <a:gd name="connsiteX699" fmla="*/ 940955 w 9667345"/>
                <a:gd name="connsiteY699" fmla="*/ 865 h 6858889"/>
                <a:gd name="connsiteX700" fmla="*/ 960836 w 9667345"/>
                <a:gd name="connsiteY700" fmla="*/ 182386 h 6858889"/>
                <a:gd name="connsiteX701" fmla="*/ 843711 w 9667345"/>
                <a:gd name="connsiteY701" fmla="*/ 2092675 h 6858889"/>
                <a:gd name="connsiteX702" fmla="*/ 790119 w 9667345"/>
                <a:gd name="connsiteY702" fmla="*/ 2346804 h 6858889"/>
                <a:gd name="connsiteX703" fmla="*/ 656141 w 9667345"/>
                <a:gd name="connsiteY703" fmla="*/ 3292440 h 6858889"/>
                <a:gd name="connsiteX704" fmla="*/ 863592 w 9667345"/>
                <a:gd name="connsiteY704" fmla="*/ 4401445 h 6858889"/>
                <a:gd name="connsiteX705" fmla="*/ 1877515 w 9667345"/>
                <a:gd name="connsiteY705" fmla="*/ 6012225 h 6858889"/>
                <a:gd name="connsiteX706" fmla="*/ 2255684 w 9667345"/>
                <a:gd name="connsiteY706" fmla="*/ 6322107 h 6858889"/>
                <a:gd name="connsiteX707" fmla="*/ 3150753 w 9667345"/>
                <a:gd name="connsiteY707" fmla="*/ 6858024 h 6858889"/>
                <a:gd name="connsiteX708" fmla="*/ 3127414 w 9667345"/>
                <a:gd name="connsiteY708" fmla="*/ 6858024 h 6858889"/>
                <a:gd name="connsiteX709" fmla="*/ 2242284 w 9667345"/>
                <a:gd name="connsiteY709" fmla="*/ 6328590 h 6858889"/>
                <a:gd name="connsiteX710" fmla="*/ 1867576 w 9667345"/>
                <a:gd name="connsiteY710" fmla="*/ 6016547 h 6858889"/>
                <a:gd name="connsiteX711" fmla="*/ 850194 w 9667345"/>
                <a:gd name="connsiteY711" fmla="*/ 4401445 h 6858889"/>
                <a:gd name="connsiteX712" fmla="*/ 642743 w 9667345"/>
                <a:gd name="connsiteY712" fmla="*/ 3292440 h 6858889"/>
                <a:gd name="connsiteX713" fmla="*/ 776722 w 9667345"/>
                <a:gd name="connsiteY713" fmla="*/ 2344643 h 6858889"/>
                <a:gd name="connsiteX714" fmla="*/ 830313 w 9667345"/>
                <a:gd name="connsiteY714" fmla="*/ 2092675 h 6858889"/>
                <a:gd name="connsiteX715" fmla="*/ 947438 w 9667345"/>
                <a:gd name="connsiteY715" fmla="*/ 182386 h 6858889"/>
                <a:gd name="connsiteX716" fmla="*/ 927556 w 9667345"/>
                <a:gd name="connsiteY716" fmla="*/ 865 h 6858889"/>
                <a:gd name="connsiteX717" fmla="*/ 482400 w 9667345"/>
                <a:gd name="connsiteY717" fmla="*/ 865 h 6858889"/>
                <a:gd name="connsiteX718" fmla="*/ 495797 w 9667345"/>
                <a:gd name="connsiteY718" fmla="*/ 865 h 6858889"/>
                <a:gd name="connsiteX719" fmla="*/ 529076 w 9667345"/>
                <a:gd name="connsiteY719" fmla="*/ 279629 h 6858889"/>
                <a:gd name="connsiteX720" fmla="*/ 418434 w 9667345"/>
                <a:gd name="connsiteY720" fmla="*/ 2208502 h 6858889"/>
                <a:gd name="connsiteX721" fmla="*/ 374782 w 9667345"/>
                <a:gd name="connsiteY721" fmla="*/ 2439725 h 6858889"/>
                <a:gd name="connsiteX722" fmla="*/ 257659 w 9667345"/>
                <a:gd name="connsiteY722" fmla="*/ 3420801 h 6858889"/>
                <a:gd name="connsiteX723" fmla="*/ 485424 w 9667345"/>
                <a:gd name="connsiteY723" fmla="*/ 4535856 h 6858889"/>
                <a:gd name="connsiteX724" fmla="*/ 1542998 w 9667345"/>
                <a:gd name="connsiteY724" fmla="*/ 6148797 h 6858889"/>
                <a:gd name="connsiteX725" fmla="*/ 1927651 w 9667345"/>
                <a:gd name="connsiteY725" fmla="*/ 6458678 h 6858889"/>
                <a:gd name="connsiteX726" fmla="*/ 2581556 w 9667345"/>
                <a:gd name="connsiteY726" fmla="*/ 6857592 h 6858889"/>
                <a:gd name="connsiteX727" fmla="*/ 2559515 w 9667345"/>
                <a:gd name="connsiteY727" fmla="*/ 6857592 h 6858889"/>
                <a:gd name="connsiteX728" fmla="*/ 1914251 w 9667345"/>
                <a:gd name="connsiteY728" fmla="*/ 6462569 h 6858889"/>
                <a:gd name="connsiteX729" fmla="*/ 1529600 w 9667345"/>
                <a:gd name="connsiteY729" fmla="*/ 6154848 h 6858889"/>
                <a:gd name="connsiteX730" fmla="*/ 472026 w 9667345"/>
                <a:gd name="connsiteY730" fmla="*/ 4538018 h 6858889"/>
                <a:gd name="connsiteX731" fmla="*/ 244261 w 9667345"/>
                <a:gd name="connsiteY731" fmla="*/ 3420801 h 6858889"/>
                <a:gd name="connsiteX732" fmla="*/ 361385 w 9667345"/>
                <a:gd name="connsiteY732" fmla="*/ 2439725 h 6858889"/>
                <a:gd name="connsiteX733" fmla="*/ 405036 w 9667345"/>
                <a:gd name="connsiteY733" fmla="*/ 2208502 h 6858889"/>
                <a:gd name="connsiteX734" fmla="*/ 515678 w 9667345"/>
                <a:gd name="connsiteY734" fmla="*/ 279629 h 6858889"/>
                <a:gd name="connsiteX735" fmla="*/ 482400 w 9667345"/>
                <a:gd name="connsiteY735" fmla="*/ 865 h 6858889"/>
                <a:gd name="connsiteX736" fmla="*/ 331564 w 9667345"/>
                <a:gd name="connsiteY736" fmla="*/ 865 h 6858889"/>
                <a:gd name="connsiteX737" fmla="*/ 344962 w 9667345"/>
                <a:gd name="connsiteY737" fmla="*/ 865 h 6858889"/>
                <a:gd name="connsiteX738" fmla="*/ 385156 w 9667345"/>
                <a:gd name="connsiteY738" fmla="*/ 312908 h 6858889"/>
                <a:gd name="connsiteX739" fmla="*/ 277973 w 9667345"/>
                <a:gd name="connsiteY739" fmla="*/ 2247832 h 6858889"/>
                <a:gd name="connsiteX740" fmla="*/ 237778 w 9667345"/>
                <a:gd name="connsiteY740" fmla="*/ 2470843 h 6858889"/>
                <a:gd name="connsiteX741" fmla="*/ 124111 w 9667345"/>
                <a:gd name="connsiteY741" fmla="*/ 3464020 h 6858889"/>
                <a:gd name="connsiteX742" fmla="*/ 361817 w 9667345"/>
                <a:gd name="connsiteY742" fmla="*/ 4579076 h 6858889"/>
                <a:gd name="connsiteX743" fmla="*/ 1429331 w 9667345"/>
                <a:gd name="connsiteY743" fmla="*/ 6194177 h 6858889"/>
                <a:gd name="connsiteX744" fmla="*/ 1817441 w 9667345"/>
                <a:gd name="connsiteY744" fmla="*/ 6504059 h 6858889"/>
                <a:gd name="connsiteX745" fmla="*/ 2394850 w 9667345"/>
                <a:gd name="connsiteY745" fmla="*/ 6857592 h 6858889"/>
                <a:gd name="connsiteX746" fmla="*/ 2373240 w 9667345"/>
                <a:gd name="connsiteY746" fmla="*/ 6857592 h 6858889"/>
                <a:gd name="connsiteX747" fmla="*/ 1807501 w 9667345"/>
                <a:gd name="connsiteY747" fmla="*/ 6507949 h 6858889"/>
                <a:gd name="connsiteX748" fmla="*/ 1415933 w 9667345"/>
                <a:gd name="connsiteY748" fmla="*/ 6200228 h 6858889"/>
                <a:gd name="connsiteX749" fmla="*/ 348419 w 9667345"/>
                <a:gd name="connsiteY749" fmla="*/ 4581237 h 6858889"/>
                <a:gd name="connsiteX750" fmla="*/ 110713 w 9667345"/>
                <a:gd name="connsiteY750" fmla="*/ 3464020 h 6858889"/>
                <a:gd name="connsiteX751" fmla="*/ 224380 w 9667345"/>
                <a:gd name="connsiteY751" fmla="*/ 2470843 h 6858889"/>
                <a:gd name="connsiteX752" fmla="*/ 264575 w 9667345"/>
                <a:gd name="connsiteY752" fmla="*/ 2247832 h 6858889"/>
                <a:gd name="connsiteX753" fmla="*/ 371757 w 9667345"/>
                <a:gd name="connsiteY753" fmla="*/ 312908 h 6858889"/>
                <a:gd name="connsiteX754" fmla="*/ 331564 w 9667345"/>
                <a:gd name="connsiteY754" fmla="*/ 865 h 6858889"/>
                <a:gd name="connsiteX755" fmla="*/ 177272 w 9667345"/>
                <a:gd name="connsiteY755" fmla="*/ 865 h 6858889"/>
                <a:gd name="connsiteX756" fmla="*/ 194126 w 9667345"/>
                <a:gd name="connsiteY756" fmla="*/ 865 h 6858889"/>
                <a:gd name="connsiteX757" fmla="*/ 241235 w 9667345"/>
                <a:gd name="connsiteY757" fmla="*/ 343594 h 6858889"/>
                <a:gd name="connsiteX758" fmla="*/ 137509 w 9667345"/>
                <a:gd name="connsiteY758" fmla="*/ 2286729 h 6858889"/>
                <a:gd name="connsiteX759" fmla="*/ 100773 w 9667345"/>
                <a:gd name="connsiteY759" fmla="*/ 2501528 h 6858889"/>
                <a:gd name="connsiteX760" fmla="*/ 21628 w 9667345"/>
                <a:gd name="connsiteY760" fmla="*/ 3001305 h 6858889"/>
                <a:gd name="connsiteX761" fmla="*/ 0 w 9667345"/>
                <a:gd name="connsiteY761" fmla="*/ 3220433 h 6858889"/>
                <a:gd name="connsiteX762" fmla="*/ 0 w 9667345"/>
                <a:gd name="connsiteY762" fmla="*/ 3069197 h 6858889"/>
                <a:gd name="connsiteX763" fmla="*/ 6448 w 9667345"/>
                <a:gd name="connsiteY763" fmla="*/ 3000440 h 6858889"/>
                <a:gd name="connsiteX764" fmla="*/ 83485 w 9667345"/>
                <a:gd name="connsiteY764" fmla="*/ 2499800 h 6858889"/>
                <a:gd name="connsiteX765" fmla="*/ 120222 w 9667345"/>
                <a:gd name="connsiteY765" fmla="*/ 2285000 h 6858889"/>
                <a:gd name="connsiteX766" fmla="*/ 227406 w 9667345"/>
                <a:gd name="connsiteY766" fmla="*/ 343594 h 6858889"/>
                <a:gd name="connsiteX767" fmla="*/ 177272 w 9667345"/>
                <a:gd name="connsiteY767" fmla="*/ 865 h 6858889"/>
                <a:gd name="connsiteX768" fmla="*/ 26870 w 9667345"/>
                <a:gd name="connsiteY768" fmla="*/ 865 h 6858889"/>
                <a:gd name="connsiteX769" fmla="*/ 39834 w 9667345"/>
                <a:gd name="connsiteY769" fmla="*/ 865 h 6858889"/>
                <a:gd name="connsiteX770" fmla="*/ 96883 w 9667345"/>
                <a:gd name="connsiteY770" fmla="*/ 376872 h 6858889"/>
                <a:gd name="connsiteX771" fmla="*/ 62180 w 9667345"/>
                <a:gd name="connsiteY771" fmla="*/ 1813458 h 6858889"/>
                <a:gd name="connsiteX772" fmla="*/ 0 w 9667345"/>
                <a:gd name="connsiteY772" fmla="*/ 2275627 h 6858889"/>
                <a:gd name="connsiteX773" fmla="*/ 0 w 9667345"/>
                <a:gd name="connsiteY773" fmla="*/ 2177011 h 6858889"/>
                <a:gd name="connsiteX774" fmla="*/ 49031 w 9667345"/>
                <a:gd name="connsiteY774" fmla="*/ 1812364 h 6858889"/>
                <a:gd name="connsiteX775" fmla="*/ 83918 w 9667345"/>
                <a:gd name="connsiteY775" fmla="*/ 376872 h 6858889"/>
                <a:gd name="connsiteX776" fmla="*/ 26870 w 9667345"/>
                <a:gd name="connsiteY776" fmla="*/ 865 h 6858889"/>
                <a:gd name="connsiteX777" fmla="*/ 4005629 w 9667345"/>
                <a:gd name="connsiteY777" fmla="*/ 433 h 6858889"/>
                <a:gd name="connsiteX778" fmla="*/ 4019027 w 9667345"/>
                <a:gd name="connsiteY778" fmla="*/ 433 h 6858889"/>
                <a:gd name="connsiteX779" fmla="*/ 3811575 w 9667345"/>
                <a:gd name="connsiteY779" fmla="*/ 1278857 h 6858889"/>
                <a:gd name="connsiteX780" fmla="*/ 3684510 w 9667345"/>
                <a:gd name="connsiteY780" fmla="*/ 1634119 h 6858889"/>
                <a:gd name="connsiteX781" fmla="*/ 3453720 w 9667345"/>
                <a:gd name="connsiteY781" fmla="*/ 2392184 h 6858889"/>
                <a:gd name="connsiteX782" fmla="*/ 3510769 w 9667345"/>
                <a:gd name="connsiteY782" fmla="*/ 3457970 h 6858889"/>
                <a:gd name="connsiteX783" fmla="*/ 4236852 w 9667345"/>
                <a:gd name="connsiteY783" fmla="*/ 5056216 h 6858889"/>
                <a:gd name="connsiteX784" fmla="*/ 4551488 w 9667345"/>
                <a:gd name="connsiteY784" fmla="*/ 5372149 h 6858889"/>
                <a:gd name="connsiteX785" fmla="*/ 5980314 w 9667345"/>
                <a:gd name="connsiteY785" fmla="*/ 6258142 h 6858889"/>
                <a:gd name="connsiteX786" fmla="*/ 6422015 w 9667345"/>
                <a:gd name="connsiteY786" fmla="*/ 6447010 h 6858889"/>
                <a:gd name="connsiteX787" fmla="*/ 7663269 w 9667345"/>
                <a:gd name="connsiteY787" fmla="*/ 6856728 h 6858889"/>
                <a:gd name="connsiteX788" fmla="*/ 7626102 w 9667345"/>
                <a:gd name="connsiteY788" fmla="*/ 6856728 h 6858889"/>
                <a:gd name="connsiteX789" fmla="*/ 6415531 w 9667345"/>
                <a:gd name="connsiteY789" fmla="*/ 6455654 h 6858889"/>
                <a:gd name="connsiteX790" fmla="*/ 5970373 w 9667345"/>
                <a:gd name="connsiteY790" fmla="*/ 6265489 h 6858889"/>
                <a:gd name="connsiteX791" fmla="*/ 4538090 w 9667345"/>
                <a:gd name="connsiteY791" fmla="*/ 5375605 h 6858889"/>
                <a:gd name="connsiteX792" fmla="*/ 4223454 w 9667345"/>
                <a:gd name="connsiteY792" fmla="*/ 5059673 h 6858889"/>
                <a:gd name="connsiteX793" fmla="*/ 3497371 w 9667345"/>
                <a:gd name="connsiteY793" fmla="*/ 3459266 h 6858889"/>
                <a:gd name="connsiteX794" fmla="*/ 3440323 w 9667345"/>
                <a:gd name="connsiteY794" fmla="*/ 2391752 h 6858889"/>
                <a:gd name="connsiteX795" fmla="*/ 3671113 w 9667345"/>
                <a:gd name="connsiteY795" fmla="*/ 1631957 h 6858889"/>
                <a:gd name="connsiteX796" fmla="*/ 3798177 w 9667345"/>
                <a:gd name="connsiteY796" fmla="*/ 1276696 h 6858889"/>
                <a:gd name="connsiteX797" fmla="*/ 4005629 w 9667345"/>
                <a:gd name="connsiteY797" fmla="*/ 433 h 6858889"/>
                <a:gd name="connsiteX798" fmla="*/ 1372282 w 9667345"/>
                <a:gd name="connsiteY798" fmla="*/ 433 h 6858889"/>
                <a:gd name="connsiteX799" fmla="*/ 1385681 w 9667345"/>
                <a:gd name="connsiteY799" fmla="*/ 433 h 6858889"/>
                <a:gd name="connsiteX800" fmla="*/ 1392163 w 9667345"/>
                <a:gd name="connsiteY800" fmla="*/ 85142 h 6858889"/>
                <a:gd name="connsiteX801" fmla="*/ 1268556 w 9667345"/>
                <a:gd name="connsiteY801" fmla="*/ 1976847 h 6858889"/>
                <a:gd name="connsiteX802" fmla="*/ 1205024 w 9667345"/>
                <a:gd name="connsiteY802" fmla="*/ 2251722 h 6858889"/>
                <a:gd name="connsiteX803" fmla="*/ 1057646 w 9667345"/>
                <a:gd name="connsiteY803" fmla="*/ 3164511 h 6858889"/>
                <a:gd name="connsiteX804" fmla="*/ 1241760 w 9667345"/>
                <a:gd name="connsiteY804" fmla="*/ 4265304 h 6858889"/>
                <a:gd name="connsiteX805" fmla="*/ 2215489 w 9667345"/>
                <a:gd name="connsiteY805" fmla="*/ 5876084 h 6858889"/>
                <a:gd name="connsiteX806" fmla="*/ 2583717 w 9667345"/>
                <a:gd name="connsiteY806" fmla="*/ 6185966 h 6858889"/>
                <a:gd name="connsiteX807" fmla="*/ 3730323 w 9667345"/>
                <a:gd name="connsiteY807" fmla="*/ 6858024 h 6858889"/>
                <a:gd name="connsiteX808" fmla="*/ 3705687 w 9667345"/>
                <a:gd name="connsiteY808" fmla="*/ 6858024 h 6858889"/>
                <a:gd name="connsiteX809" fmla="*/ 2570320 w 9667345"/>
                <a:gd name="connsiteY809" fmla="*/ 6192449 h 6858889"/>
                <a:gd name="connsiteX810" fmla="*/ 2202091 w 9667345"/>
                <a:gd name="connsiteY810" fmla="*/ 5880407 h 6858889"/>
                <a:gd name="connsiteX811" fmla="*/ 1228362 w 9667345"/>
                <a:gd name="connsiteY811" fmla="*/ 4267466 h 6858889"/>
                <a:gd name="connsiteX812" fmla="*/ 1040791 w 9667345"/>
                <a:gd name="connsiteY812" fmla="*/ 3164511 h 6858889"/>
                <a:gd name="connsiteX813" fmla="*/ 1191627 w 9667345"/>
                <a:gd name="connsiteY813" fmla="*/ 2249561 h 6858889"/>
                <a:gd name="connsiteX814" fmla="*/ 1251701 w 9667345"/>
                <a:gd name="connsiteY814" fmla="*/ 1974686 h 6858889"/>
                <a:gd name="connsiteX815" fmla="*/ 1378765 w 9667345"/>
                <a:gd name="connsiteY815" fmla="*/ 85142 h 6858889"/>
                <a:gd name="connsiteX816" fmla="*/ 1372282 w 9667345"/>
                <a:gd name="connsiteY816" fmla="*/ 433 h 6858889"/>
                <a:gd name="connsiteX817" fmla="*/ 1225337 w 9667345"/>
                <a:gd name="connsiteY817" fmla="*/ 433 h 6858889"/>
                <a:gd name="connsiteX818" fmla="*/ 1238734 w 9667345"/>
                <a:gd name="connsiteY818" fmla="*/ 433 h 6858889"/>
                <a:gd name="connsiteX819" fmla="*/ 1248676 w 9667345"/>
                <a:gd name="connsiteY819" fmla="*/ 116260 h 6858889"/>
                <a:gd name="connsiteX820" fmla="*/ 1125069 w 9667345"/>
                <a:gd name="connsiteY820" fmla="*/ 2016176 h 6858889"/>
                <a:gd name="connsiteX821" fmla="*/ 1068020 w 9667345"/>
                <a:gd name="connsiteY821" fmla="*/ 2282407 h 6858889"/>
                <a:gd name="connsiteX822" fmla="*/ 924099 w 9667345"/>
                <a:gd name="connsiteY822" fmla="*/ 3207730 h 6858889"/>
                <a:gd name="connsiteX823" fmla="*/ 1118153 w 9667345"/>
                <a:gd name="connsiteY823" fmla="*/ 4310684 h 6858889"/>
                <a:gd name="connsiteX824" fmla="*/ 2101823 w 9667345"/>
                <a:gd name="connsiteY824" fmla="*/ 5921465 h 6858889"/>
                <a:gd name="connsiteX825" fmla="*/ 2473076 w 9667345"/>
                <a:gd name="connsiteY825" fmla="*/ 6231346 h 6858889"/>
                <a:gd name="connsiteX826" fmla="*/ 3536701 w 9667345"/>
                <a:gd name="connsiteY826" fmla="*/ 6857592 h 6858889"/>
                <a:gd name="connsiteX827" fmla="*/ 3511634 w 9667345"/>
                <a:gd name="connsiteY827" fmla="*/ 6857592 h 6858889"/>
                <a:gd name="connsiteX828" fmla="*/ 2463136 w 9667345"/>
                <a:gd name="connsiteY828" fmla="*/ 6237397 h 6858889"/>
                <a:gd name="connsiteX829" fmla="*/ 2091882 w 9667345"/>
                <a:gd name="connsiteY829" fmla="*/ 5925354 h 6858889"/>
                <a:gd name="connsiteX830" fmla="*/ 1101298 w 9667345"/>
                <a:gd name="connsiteY830" fmla="*/ 4312414 h 6858889"/>
                <a:gd name="connsiteX831" fmla="*/ 910701 w 9667345"/>
                <a:gd name="connsiteY831" fmla="*/ 3205569 h 6858889"/>
                <a:gd name="connsiteX832" fmla="*/ 1054621 w 9667345"/>
                <a:gd name="connsiteY832" fmla="*/ 2282407 h 6858889"/>
                <a:gd name="connsiteX833" fmla="*/ 1111671 w 9667345"/>
                <a:gd name="connsiteY833" fmla="*/ 2014016 h 6858889"/>
                <a:gd name="connsiteX834" fmla="*/ 1235277 w 9667345"/>
                <a:gd name="connsiteY834" fmla="*/ 116260 h 6858889"/>
                <a:gd name="connsiteX835" fmla="*/ 1225337 w 9667345"/>
                <a:gd name="connsiteY835" fmla="*/ 433 h 6858889"/>
                <a:gd name="connsiteX836" fmla="*/ 1074069 w 9667345"/>
                <a:gd name="connsiteY836" fmla="*/ 433 h 6858889"/>
                <a:gd name="connsiteX837" fmla="*/ 1090925 w 9667345"/>
                <a:gd name="connsiteY837" fmla="*/ 433 h 6858889"/>
                <a:gd name="connsiteX838" fmla="*/ 1104323 w 9667345"/>
                <a:gd name="connsiteY838" fmla="*/ 149107 h 6858889"/>
                <a:gd name="connsiteX839" fmla="*/ 983741 w 9667345"/>
                <a:gd name="connsiteY839" fmla="*/ 2053345 h 6858889"/>
                <a:gd name="connsiteX840" fmla="*/ 930150 w 9667345"/>
                <a:gd name="connsiteY840" fmla="*/ 2315686 h 6858889"/>
                <a:gd name="connsiteX841" fmla="*/ 789687 w 9667345"/>
                <a:gd name="connsiteY841" fmla="*/ 3249221 h 6858889"/>
                <a:gd name="connsiteX842" fmla="*/ 990657 w 9667345"/>
                <a:gd name="connsiteY842" fmla="*/ 4356065 h 6858889"/>
                <a:gd name="connsiteX843" fmla="*/ 1991614 w 9667345"/>
                <a:gd name="connsiteY843" fmla="*/ 5966845 h 6858889"/>
                <a:gd name="connsiteX844" fmla="*/ 2362867 w 9667345"/>
                <a:gd name="connsiteY844" fmla="*/ 6276726 h 6858889"/>
                <a:gd name="connsiteX845" fmla="*/ 3342214 w 9667345"/>
                <a:gd name="connsiteY845" fmla="*/ 6858024 h 6858889"/>
                <a:gd name="connsiteX846" fmla="*/ 3320605 w 9667345"/>
                <a:gd name="connsiteY846" fmla="*/ 6858024 h 6858889"/>
                <a:gd name="connsiteX847" fmla="*/ 2352927 w 9667345"/>
                <a:gd name="connsiteY847" fmla="*/ 6283209 h 6858889"/>
                <a:gd name="connsiteX848" fmla="*/ 1978216 w 9667345"/>
                <a:gd name="connsiteY848" fmla="*/ 5971166 h 6858889"/>
                <a:gd name="connsiteX849" fmla="*/ 977691 w 9667345"/>
                <a:gd name="connsiteY849" fmla="*/ 4358225 h 6858889"/>
                <a:gd name="connsiteX850" fmla="*/ 776722 w 9667345"/>
                <a:gd name="connsiteY850" fmla="*/ 3249221 h 6858889"/>
                <a:gd name="connsiteX851" fmla="*/ 913294 w 9667345"/>
                <a:gd name="connsiteY851" fmla="*/ 2313525 h 6858889"/>
                <a:gd name="connsiteX852" fmla="*/ 970344 w 9667345"/>
                <a:gd name="connsiteY852" fmla="*/ 2053345 h 6858889"/>
                <a:gd name="connsiteX853" fmla="*/ 1090925 w 9667345"/>
                <a:gd name="connsiteY853" fmla="*/ 149107 h 6858889"/>
                <a:gd name="connsiteX854" fmla="*/ 1074069 w 9667345"/>
                <a:gd name="connsiteY854" fmla="*/ 433 h 6858889"/>
                <a:gd name="connsiteX855" fmla="*/ 780179 w 9667345"/>
                <a:gd name="connsiteY855" fmla="*/ 433 h 6858889"/>
                <a:gd name="connsiteX856" fmla="*/ 793577 w 9667345"/>
                <a:gd name="connsiteY856" fmla="*/ 433 h 6858889"/>
                <a:gd name="connsiteX857" fmla="*/ 816915 w 9667345"/>
                <a:gd name="connsiteY857" fmla="*/ 213072 h 6858889"/>
                <a:gd name="connsiteX858" fmla="*/ 703249 w 9667345"/>
                <a:gd name="connsiteY858" fmla="*/ 2131572 h 6858889"/>
                <a:gd name="connsiteX859" fmla="*/ 653115 w 9667345"/>
                <a:gd name="connsiteY859" fmla="*/ 2377489 h 6858889"/>
                <a:gd name="connsiteX860" fmla="*/ 522593 w 9667345"/>
                <a:gd name="connsiteY860" fmla="*/ 3335659 h 6858889"/>
                <a:gd name="connsiteX861" fmla="*/ 739985 w 9667345"/>
                <a:gd name="connsiteY861" fmla="*/ 4444664 h 6858889"/>
                <a:gd name="connsiteX862" fmla="*/ 1767306 w 9667345"/>
                <a:gd name="connsiteY862" fmla="*/ 6057605 h 6858889"/>
                <a:gd name="connsiteX863" fmla="*/ 2145475 w 9667345"/>
                <a:gd name="connsiteY863" fmla="*/ 6367487 h 6858889"/>
                <a:gd name="connsiteX864" fmla="*/ 2960590 w 9667345"/>
                <a:gd name="connsiteY864" fmla="*/ 6857160 h 6858889"/>
                <a:gd name="connsiteX865" fmla="*/ 2936818 w 9667345"/>
                <a:gd name="connsiteY865" fmla="*/ 6857160 h 6858889"/>
                <a:gd name="connsiteX866" fmla="*/ 2135535 w 9667345"/>
                <a:gd name="connsiteY866" fmla="*/ 6373105 h 6858889"/>
                <a:gd name="connsiteX867" fmla="*/ 1753909 w 9667345"/>
                <a:gd name="connsiteY867" fmla="*/ 6063223 h 6858889"/>
                <a:gd name="connsiteX868" fmla="*/ 726587 w 9667345"/>
                <a:gd name="connsiteY868" fmla="*/ 4446393 h 6858889"/>
                <a:gd name="connsiteX869" fmla="*/ 509195 w 9667345"/>
                <a:gd name="connsiteY869" fmla="*/ 3335227 h 6858889"/>
                <a:gd name="connsiteX870" fmla="*/ 639717 w 9667345"/>
                <a:gd name="connsiteY870" fmla="*/ 2377057 h 6858889"/>
                <a:gd name="connsiteX871" fmla="*/ 686393 w 9667345"/>
                <a:gd name="connsiteY871" fmla="*/ 2129411 h 6858889"/>
                <a:gd name="connsiteX872" fmla="*/ 803517 w 9667345"/>
                <a:gd name="connsiteY872" fmla="*/ 215232 h 6858889"/>
                <a:gd name="connsiteX873" fmla="*/ 780179 w 9667345"/>
                <a:gd name="connsiteY873" fmla="*/ 433 h 6858889"/>
                <a:gd name="connsiteX874" fmla="*/ 628912 w 9667345"/>
                <a:gd name="connsiteY874" fmla="*/ 433 h 6858889"/>
                <a:gd name="connsiteX875" fmla="*/ 645768 w 9667345"/>
                <a:gd name="connsiteY875" fmla="*/ 433 h 6858889"/>
                <a:gd name="connsiteX876" fmla="*/ 672563 w 9667345"/>
                <a:gd name="connsiteY876" fmla="*/ 246350 h 6858889"/>
                <a:gd name="connsiteX877" fmla="*/ 558897 w 9667345"/>
                <a:gd name="connsiteY877" fmla="*/ 2170901 h 6858889"/>
                <a:gd name="connsiteX878" fmla="*/ 515245 w 9667345"/>
                <a:gd name="connsiteY878" fmla="*/ 2408175 h 6858889"/>
                <a:gd name="connsiteX879" fmla="*/ 391639 w 9667345"/>
                <a:gd name="connsiteY879" fmla="*/ 3378879 h 6858889"/>
                <a:gd name="connsiteX880" fmla="*/ 612488 w 9667345"/>
                <a:gd name="connsiteY880" fmla="*/ 4490044 h 6858889"/>
                <a:gd name="connsiteX881" fmla="*/ 1653207 w 9667345"/>
                <a:gd name="connsiteY881" fmla="*/ 6102985 h 6858889"/>
                <a:gd name="connsiteX882" fmla="*/ 2034834 w 9667345"/>
                <a:gd name="connsiteY882" fmla="*/ 6412867 h 6858889"/>
                <a:gd name="connsiteX883" fmla="*/ 2768696 w 9667345"/>
                <a:gd name="connsiteY883" fmla="*/ 6857592 h 6858889"/>
                <a:gd name="connsiteX884" fmla="*/ 2748382 w 9667345"/>
                <a:gd name="connsiteY884" fmla="*/ 6857592 h 6858889"/>
                <a:gd name="connsiteX885" fmla="*/ 2024893 w 9667345"/>
                <a:gd name="connsiteY885" fmla="*/ 6419349 h 6858889"/>
                <a:gd name="connsiteX886" fmla="*/ 1643267 w 9667345"/>
                <a:gd name="connsiteY886" fmla="*/ 6109468 h 6858889"/>
                <a:gd name="connsiteX887" fmla="*/ 599091 w 9667345"/>
                <a:gd name="connsiteY887" fmla="*/ 4492205 h 6858889"/>
                <a:gd name="connsiteX888" fmla="*/ 374782 w 9667345"/>
                <a:gd name="connsiteY888" fmla="*/ 3379311 h 6858889"/>
                <a:gd name="connsiteX889" fmla="*/ 501847 w 9667345"/>
                <a:gd name="connsiteY889" fmla="*/ 2408607 h 6858889"/>
                <a:gd name="connsiteX890" fmla="*/ 545499 w 9667345"/>
                <a:gd name="connsiteY890" fmla="*/ 2169173 h 6858889"/>
                <a:gd name="connsiteX891" fmla="*/ 659165 w 9667345"/>
                <a:gd name="connsiteY891" fmla="*/ 246350 h 6858889"/>
                <a:gd name="connsiteX892" fmla="*/ 628912 w 9667345"/>
                <a:gd name="connsiteY892" fmla="*/ 433 h 6858889"/>
                <a:gd name="connsiteX893" fmla="*/ 4150413 w 9667345"/>
                <a:gd name="connsiteY893" fmla="*/ 0 h 6858889"/>
                <a:gd name="connsiteX894" fmla="*/ 4163811 w 9667345"/>
                <a:gd name="connsiteY894" fmla="*/ 0 h 6858889"/>
                <a:gd name="connsiteX895" fmla="*/ 3952901 w 9667345"/>
                <a:gd name="connsiteY895" fmla="*/ 1239096 h 6858889"/>
                <a:gd name="connsiteX896" fmla="*/ 3822380 w 9667345"/>
                <a:gd name="connsiteY896" fmla="*/ 1596518 h 6858889"/>
                <a:gd name="connsiteX897" fmla="*/ 3588131 w 9667345"/>
                <a:gd name="connsiteY897" fmla="*/ 2348100 h 6858889"/>
                <a:gd name="connsiteX898" fmla="*/ 3638265 w 9667345"/>
                <a:gd name="connsiteY898" fmla="*/ 3413886 h 6858889"/>
                <a:gd name="connsiteX899" fmla="*/ 4350951 w 9667345"/>
                <a:gd name="connsiteY899" fmla="*/ 5010403 h 6858889"/>
                <a:gd name="connsiteX900" fmla="*/ 4658670 w 9667345"/>
                <a:gd name="connsiteY900" fmla="*/ 5326336 h 6858889"/>
                <a:gd name="connsiteX901" fmla="*/ 6081015 w 9667345"/>
                <a:gd name="connsiteY901" fmla="*/ 6214491 h 6858889"/>
                <a:gd name="connsiteX902" fmla="*/ 6522715 w 9667345"/>
                <a:gd name="connsiteY902" fmla="*/ 6404654 h 6858889"/>
                <a:gd name="connsiteX903" fmla="*/ 7824477 w 9667345"/>
                <a:gd name="connsiteY903" fmla="*/ 6826042 h 6858889"/>
                <a:gd name="connsiteX904" fmla="*/ 7951543 w 9667345"/>
                <a:gd name="connsiteY904" fmla="*/ 6857160 h 6858889"/>
                <a:gd name="connsiteX905" fmla="*/ 7910051 w 9667345"/>
                <a:gd name="connsiteY905" fmla="*/ 6857160 h 6858889"/>
                <a:gd name="connsiteX906" fmla="*/ 7817994 w 9667345"/>
                <a:gd name="connsiteY906" fmla="*/ 6833822 h 6858889"/>
                <a:gd name="connsiteX907" fmla="*/ 6516232 w 9667345"/>
                <a:gd name="connsiteY907" fmla="*/ 6410273 h 6858889"/>
                <a:gd name="connsiteX908" fmla="*/ 6071074 w 9667345"/>
                <a:gd name="connsiteY908" fmla="*/ 6220110 h 6858889"/>
                <a:gd name="connsiteX909" fmla="*/ 4648731 w 9667345"/>
                <a:gd name="connsiteY909" fmla="*/ 5330225 h 6858889"/>
                <a:gd name="connsiteX910" fmla="*/ 4337553 w 9667345"/>
                <a:gd name="connsiteY910" fmla="*/ 5014293 h 6858889"/>
                <a:gd name="connsiteX911" fmla="*/ 3621411 w 9667345"/>
                <a:gd name="connsiteY911" fmla="*/ 3413886 h 6858889"/>
                <a:gd name="connsiteX912" fmla="*/ 3574733 w 9667345"/>
                <a:gd name="connsiteY912" fmla="*/ 2348100 h 6858889"/>
                <a:gd name="connsiteX913" fmla="*/ 3808982 w 9667345"/>
                <a:gd name="connsiteY913" fmla="*/ 1594358 h 6858889"/>
                <a:gd name="connsiteX914" fmla="*/ 3939503 w 9667345"/>
                <a:gd name="connsiteY914" fmla="*/ 1239096 h 6858889"/>
                <a:gd name="connsiteX915" fmla="*/ 4150413 w 9667345"/>
                <a:gd name="connsiteY915" fmla="*/ 0 h 685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</a:cxnLst>
              <a:rect l="l" t="t" r="r" b="b"/>
              <a:pathLst>
                <a:path w="9667345" h="6858889">
                  <a:moveTo>
                    <a:pt x="0" y="6810685"/>
                  </a:moveTo>
                  <a:lnTo>
                    <a:pt x="59283" y="6858456"/>
                  </a:lnTo>
                  <a:lnTo>
                    <a:pt x="39402" y="6858456"/>
                  </a:lnTo>
                  <a:lnTo>
                    <a:pt x="0" y="6827674"/>
                  </a:lnTo>
                  <a:close/>
                  <a:moveTo>
                    <a:pt x="0" y="6672270"/>
                  </a:moveTo>
                  <a:lnTo>
                    <a:pt x="80461" y="6741333"/>
                  </a:lnTo>
                  <a:cubicBezTo>
                    <a:pt x="130162" y="6780662"/>
                    <a:pt x="180728" y="6819559"/>
                    <a:pt x="232159" y="6857592"/>
                  </a:cubicBezTo>
                  <a:lnTo>
                    <a:pt x="213144" y="6857592"/>
                  </a:lnTo>
                  <a:cubicBezTo>
                    <a:pt x="164738" y="6821288"/>
                    <a:pt x="117197" y="6784552"/>
                    <a:pt x="70519" y="6747384"/>
                  </a:cubicBezTo>
                  <a:lnTo>
                    <a:pt x="0" y="6686879"/>
                  </a:lnTo>
                  <a:close/>
                  <a:moveTo>
                    <a:pt x="0" y="6527854"/>
                  </a:moveTo>
                  <a:lnTo>
                    <a:pt x="2977" y="6530761"/>
                  </a:lnTo>
                  <a:cubicBezTo>
                    <a:pt x="64732" y="6587479"/>
                    <a:pt x="128433" y="6642523"/>
                    <a:pt x="194126" y="6695952"/>
                  </a:cubicBezTo>
                  <a:cubicBezTo>
                    <a:pt x="261117" y="6750841"/>
                    <a:pt x="331564" y="6805297"/>
                    <a:pt x="404173" y="6858024"/>
                  </a:cubicBezTo>
                  <a:lnTo>
                    <a:pt x="386452" y="6858024"/>
                  </a:lnTo>
                  <a:cubicBezTo>
                    <a:pt x="315573" y="6807459"/>
                    <a:pt x="246854" y="6755595"/>
                    <a:pt x="180728" y="6702435"/>
                  </a:cubicBezTo>
                  <a:lnTo>
                    <a:pt x="0" y="6545608"/>
                  </a:lnTo>
                  <a:close/>
                  <a:moveTo>
                    <a:pt x="0" y="6370764"/>
                  </a:moveTo>
                  <a:lnTo>
                    <a:pt x="116037" y="6485384"/>
                  </a:lnTo>
                  <a:cubicBezTo>
                    <a:pt x="177042" y="6542099"/>
                    <a:pt x="239940" y="6597143"/>
                    <a:pt x="304768" y="6650572"/>
                  </a:cubicBezTo>
                  <a:cubicBezTo>
                    <a:pt x="392072" y="6721019"/>
                    <a:pt x="483697" y="6790170"/>
                    <a:pt x="578345" y="6858024"/>
                  </a:cubicBezTo>
                  <a:lnTo>
                    <a:pt x="559329" y="6858024"/>
                  </a:lnTo>
                  <a:cubicBezTo>
                    <a:pt x="466839" y="6793196"/>
                    <a:pt x="377808" y="6726206"/>
                    <a:pt x="294395" y="6657055"/>
                  </a:cubicBezTo>
                  <a:cubicBezTo>
                    <a:pt x="229134" y="6603409"/>
                    <a:pt x="165865" y="6548177"/>
                    <a:pt x="104541" y="6491293"/>
                  </a:cubicBezTo>
                  <a:lnTo>
                    <a:pt x="0" y="6388228"/>
                  </a:lnTo>
                  <a:close/>
                  <a:moveTo>
                    <a:pt x="0" y="6202503"/>
                  </a:moveTo>
                  <a:lnTo>
                    <a:pt x="55211" y="6264794"/>
                  </a:lnTo>
                  <a:cubicBezTo>
                    <a:pt x="168600" y="6385017"/>
                    <a:pt x="289533" y="6498333"/>
                    <a:pt x="418434" y="6605192"/>
                  </a:cubicBezTo>
                  <a:cubicBezTo>
                    <a:pt x="522593" y="6691631"/>
                    <a:pt x="635828" y="6776340"/>
                    <a:pt x="754680" y="6857592"/>
                  </a:cubicBezTo>
                  <a:lnTo>
                    <a:pt x="735663" y="6857592"/>
                  </a:lnTo>
                  <a:cubicBezTo>
                    <a:pt x="620270" y="6778069"/>
                    <a:pt x="510060" y="6695520"/>
                    <a:pt x="408494" y="6611243"/>
                  </a:cubicBezTo>
                  <a:cubicBezTo>
                    <a:pt x="278836" y="6503843"/>
                    <a:pt x="157336" y="6390123"/>
                    <a:pt x="43521" y="6269568"/>
                  </a:cubicBezTo>
                  <a:lnTo>
                    <a:pt x="0" y="6220508"/>
                  </a:lnTo>
                  <a:close/>
                  <a:moveTo>
                    <a:pt x="0" y="6024018"/>
                  </a:moveTo>
                  <a:lnTo>
                    <a:pt x="8034" y="6034410"/>
                  </a:lnTo>
                  <a:cubicBezTo>
                    <a:pt x="165001" y="6225012"/>
                    <a:pt x="338317" y="6399523"/>
                    <a:pt x="529076" y="6559812"/>
                  </a:cubicBezTo>
                  <a:cubicBezTo>
                    <a:pt x="652683" y="6662242"/>
                    <a:pt x="789255" y="6762942"/>
                    <a:pt x="932743" y="6858024"/>
                  </a:cubicBezTo>
                  <a:lnTo>
                    <a:pt x="913294" y="6858024"/>
                  </a:lnTo>
                  <a:cubicBezTo>
                    <a:pt x="773696" y="6765103"/>
                    <a:pt x="640149" y="6666563"/>
                    <a:pt x="519135" y="6564134"/>
                  </a:cubicBezTo>
                  <a:cubicBezTo>
                    <a:pt x="391098" y="6457275"/>
                    <a:pt x="271003" y="6343959"/>
                    <a:pt x="158491" y="6223702"/>
                  </a:cubicBezTo>
                  <a:lnTo>
                    <a:pt x="0" y="6043322"/>
                  </a:lnTo>
                  <a:close/>
                  <a:moveTo>
                    <a:pt x="0" y="5825690"/>
                  </a:moveTo>
                  <a:lnTo>
                    <a:pt x="125453" y="5989143"/>
                  </a:lnTo>
                  <a:cubicBezTo>
                    <a:pt x="281200" y="6179631"/>
                    <a:pt x="453280" y="6354142"/>
                    <a:pt x="642743" y="6514432"/>
                  </a:cubicBezTo>
                  <a:cubicBezTo>
                    <a:pt x="770240" y="6619886"/>
                    <a:pt x="907245" y="6722749"/>
                    <a:pt x="1051163" y="6819992"/>
                  </a:cubicBezTo>
                  <a:cubicBezTo>
                    <a:pt x="1070613" y="6832525"/>
                    <a:pt x="1090493" y="6845058"/>
                    <a:pt x="1109942" y="6858456"/>
                  </a:cubicBezTo>
                  <a:lnTo>
                    <a:pt x="1090062" y="6858456"/>
                  </a:lnTo>
                  <a:cubicBezTo>
                    <a:pt x="1073637" y="6848084"/>
                    <a:pt x="1057215" y="6837712"/>
                    <a:pt x="1040791" y="6826907"/>
                  </a:cubicBezTo>
                  <a:cubicBezTo>
                    <a:pt x="896871" y="6729664"/>
                    <a:pt x="755977" y="6626369"/>
                    <a:pt x="632370" y="6519185"/>
                  </a:cubicBezTo>
                  <a:cubicBezTo>
                    <a:pt x="441611" y="6358896"/>
                    <a:pt x="268781" y="6184081"/>
                    <a:pt x="112604" y="5993214"/>
                  </a:cubicBezTo>
                  <a:lnTo>
                    <a:pt x="0" y="5846530"/>
                  </a:lnTo>
                  <a:close/>
                  <a:moveTo>
                    <a:pt x="0" y="5604549"/>
                  </a:moveTo>
                  <a:lnTo>
                    <a:pt x="95478" y="5747885"/>
                  </a:lnTo>
                  <a:cubicBezTo>
                    <a:pt x="286291" y="6016330"/>
                    <a:pt x="505520" y="6255332"/>
                    <a:pt x="756408" y="6469052"/>
                  </a:cubicBezTo>
                  <a:cubicBezTo>
                    <a:pt x="880449" y="6574506"/>
                    <a:pt x="1017453" y="6677369"/>
                    <a:pt x="1161372" y="6774611"/>
                  </a:cubicBezTo>
                  <a:cubicBezTo>
                    <a:pt x="1202863" y="6803136"/>
                    <a:pt x="1246083" y="6830364"/>
                    <a:pt x="1289734" y="6857592"/>
                  </a:cubicBezTo>
                  <a:lnTo>
                    <a:pt x="1271150" y="6857592"/>
                  </a:lnTo>
                  <a:cubicBezTo>
                    <a:pt x="1230523" y="6832093"/>
                    <a:pt x="1190329" y="6806593"/>
                    <a:pt x="1151432" y="6780662"/>
                  </a:cubicBezTo>
                  <a:cubicBezTo>
                    <a:pt x="1004054" y="6683419"/>
                    <a:pt x="870076" y="6580125"/>
                    <a:pt x="743010" y="6472941"/>
                  </a:cubicBezTo>
                  <a:cubicBezTo>
                    <a:pt x="491907" y="6260303"/>
                    <a:pt x="272678" y="6021301"/>
                    <a:pt x="81919" y="5752315"/>
                  </a:cubicBezTo>
                  <a:lnTo>
                    <a:pt x="0" y="5628996"/>
                  </a:lnTo>
                  <a:close/>
                  <a:moveTo>
                    <a:pt x="0" y="5359076"/>
                  </a:moveTo>
                  <a:lnTo>
                    <a:pt x="78670" y="5496155"/>
                  </a:lnTo>
                  <a:cubicBezTo>
                    <a:pt x="296387" y="5850882"/>
                    <a:pt x="557492" y="6157873"/>
                    <a:pt x="867049" y="6423672"/>
                  </a:cubicBezTo>
                  <a:cubicBezTo>
                    <a:pt x="991088" y="6529127"/>
                    <a:pt x="1128093" y="6631988"/>
                    <a:pt x="1272015" y="6729231"/>
                  </a:cubicBezTo>
                  <a:cubicBezTo>
                    <a:pt x="1335979" y="6773315"/>
                    <a:pt x="1402536" y="6816102"/>
                    <a:pt x="1469526" y="6857592"/>
                  </a:cubicBezTo>
                  <a:lnTo>
                    <a:pt x="1450509" y="6857592"/>
                  </a:lnTo>
                  <a:cubicBezTo>
                    <a:pt x="1385681" y="6818263"/>
                    <a:pt x="1321284" y="6777637"/>
                    <a:pt x="1258184" y="6735282"/>
                  </a:cubicBezTo>
                  <a:cubicBezTo>
                    <a:pt x="1114264" y="6638039"/>
                    <a:pt x="980285" y="6534745"/>
                    <a:pt x="856678" y="6427561"/>
                  </a:cubicBezTo>
                  <a:cubicBezTo>
                    <a:pt x="547120" y="6161763"/>
                    <a:pt x="284664" y="5854772"/>
                    <a:pt x="65196" y="5499518"/>
                  </a:cubicBezTo>
                  <a:lnTo>
                    <a:pt x="0" y="5386698"/>
                  </a:lnTo>
                  <a:close/>
                  <a:moveTo>
                    <a:pt x="0" y="5079907"/>
                  </a:moveTo>
                  <a:lnTo>
                    <a:pt x="75746" y="5232455"/>
                  </a:lnTo>
                  <a:cubicBezTo>
                    <a:pt x="314438" y="5681597"/>
                    <a:pt x="611840" y="6058901"/>
                    <a:pt x="980716" y="6377859"/>
                  </a:cubicBezTo>
                  <a:cubicBezTo>
                    <a:pt x="1100866" y="6483315"/>
                    <a:pt x="1238303" y="6586176"/>
                    <a:pt x="1378765" y="6683419"/>
                  </a:cubicBezTo>
                  <a:cubicBezTo>
                    <a:pt x="1466068" y="6743925"/>
                    <a:pt x="1558557" y="6801840"/>
                    <a:pt x="1652775" y="6858024"/>
                  </a:cubicBezTo>
                  <a:lnTo>
                    <a:pt x="1631165" y="6858024"/>
                  </a:lnTo>
                  <a:cubicBezTo>
                    <a:pt x="1540405" y="6804432"/>
                    <a:pt x="1452670" y="6748680"/>
                    <a:pt x="1368824" y="6690334"/>
                  </a:cubicBezTo>
                  <a:cubicBezTo>
                    <a:pt x="1224905" y="6593091"/>
                    <a:pt x="1090925" y="6489797"/>
                    <a:pt x="967318" y="6382614"/>
                  </a:cubicBezTo>
                  <a:cubicBezTo>
                    <a:pt x="600712" y="6063656"/>
                    <a:pt x="301932" y="5685380"/>
                    <a:pt x="62592" y="5235569"/>
                  </a:cubicBezTo>
                  <a:lnTo>
                    <a:pt x="0" y="5109615"/>
                  </a:lnTo>
                  <a:close/>
                  <a:moveTo>
                    <a:pt x="0" y="4754262"/>
                  </a:moveTo>
                  <a:lnTo>
                    <a:pt x="86287" y="4958028"/>
                  </a:lnTo>
                  <a:cubicBezTo>
                    <a:pt x="336960" y="5509160"/>
                    <a:pt x="666675" y="5960362"/>
                    <a:pt x="1091358" y="6332479"/>
                  </a:cubicBezTo>
                  <a:cubicBezTo>
                    <a:pt x="1214964" y="6437934"/>
                    <a:pt x="1348944" y="6540795"/>
                    <a:pt x="1489406" y="6638039"/>
                  </a:cubicBezTo>
                  <a:cubicBezTo>
                    <a:pt x="1600048" y="6714537"/>
                    <a:pt x="1716308" y="6787577"/>
                    <a:pt x="1836889" y="6857592"/>
                  </a:cubicBezTo>
                  <a:lnTo>
                    <a:pt x="1816575" y="6857592"/>
                  </a:lnTo>
                  <a:cubicBezTo>
                    <a:pt x="1699884" y="6789306"/>
                    <a:pt x="1586651" y="6718427"/>
                    <a:pt x="1479466" y="6644089"/>
                  </a:cubicBezTo>
                  <a:cubicBezTo>
                    <a:pt x="1335546" y="6546846"/>
                    <a:pt x="1201999" y="6443552"/>
                    <a:pt x="1081417" y="6336369"/>
                  </a:cubicBezTo>
                  <a:cubicBezTo>
                    <a:pt x="656734" y="5964251"/>
                    <a:pt x="324372" y="5511395"/>
                    <a:pt x="73038" y="4959848"/>
                  </a:cubicBezTo>
                  <a:lnTo>
                    <a:pt x="0" y="4787554"/>
                  </a:lnTo>
                  <a:close/>
                  <a:moveTo>
                    <a:pt x="0" y="4357497"/>
                  </a:moveTo>
                  <a:lnTo>
                    <a:pt x="3590" y="4371077"/>
                  </a:lnTo>
                  <a:cubicBezTo>
                    <a:pt x="33405" y="4468408"/>
                    <a:pt x="67926" y="4568055"/>
                    <a:pt x="107256" y="4670269"/>
                  </a:cubicBezTo>
                  <a:cubicBezTo>
                    <a:pt x="364842" y="5332819"/>
                    <a:pt x="723130" y="5861822"/>
                    <a:pt x="1205024" y="6287099"/>
                  </a:cubicBezTo>
                  <a:cubicBezTo>
                    <a:pt x="1325606" y="6392554"/>
                    <a:pt x="1456128" y="6495415"/>
                    <a:pt x="1600048" y="6592659"/>
                  </a:cubicBezTo>
                  <a:cubicBezTo>
                    <a:pt x="1733164" y="6685148"/>
                    <a:pt x="1874923" y="6773747"/>
                    <a:pt x="2023165" y="6858024"/>
                  </a:cubicBezTo>
                  <a:lnTo>
                    <a:pt x="2001554" y="6858024"/>
                  </a:lnTo>
                  <a:cubicBezTo>
                    <a:pt x="1858500" y="6775908"/>
                    <a:pt x="1719334" y="6689469"/>
                    <a:pt x="1587082" y="6599142"/>
                  </a:cubicBezTo>
                  <a:cubicBezTo>
                    <a:pt x="1446188" y="6501898"/>
                    <a:pt x="1315665" y="6398605"/>
                    <a:pt x="1192058" y="6291421"/>
                  </a:cubicBezTo>
                  <a:cubicBezTo>
                    <a:pt x="713190" y="5866144"/>
                    <a:pt x="351877" y="5337573"/>
                    <a:pt x="94290" y="4672429"/>
                  </a:cubicBezTo>
                  <a:lnTo>
                    <a:pt x="0" y="4400852"/>
                  </a:lnTo>
                  <a:close/>
                  <a:moveTo>
                    <a:pt x="0" y="3631903"/>
                  </a:moveTo>
                  <a:lnTo>
                    <a:pt x="10844" y="3768898"/>
                  </a:lnTo>
                  <a:cubicBezTo>
                    <a:pt x="44858" y="4035486"/>
                    <a:pt x="118926" y="4317816"/>
                    <a:pt x="234320" y="4624456"/>
                  </a:cubicBezTo>
                  <a:cubicBezTo>
                    <a:pt x="488449" y="5287439"/>
                    <a:pt x="839822" y="5816009"/>
                    <a:pt x="1315233" y="6239558"/>
                  </a:cubicBezTo>
                  <a:cubicBezTo>
                    <a:pt x="1435814" y="6347174"/>
                    <a:pt x="1566337" y="6450035"/>
                    <a:pt x="1706800" y="6547278"/>
                  </a:cubicBezTo>
                  <a:cubicBezTo>
                    <a:pt x="1864118" y="6656623"/>
                    <a:pt x="2028350" y="6758620"/>
                    <a:pt x="2205549" y="6857592"/>
                  </a:cubicBezTo>
                  <a:lnTo>
                    <a:pt x="2183507" y="6857592"/>
                  </a:lnTo>
                  <a:cubicBezTo>
                    <a:pt x="2010198" y="6760782"/>
                    <a:pt x="1848127" y="6660513"/>
                    <a:pt x="1696860" y="6553329"/>
                  </a:cubicBezTo>
                  <a:cubicBezTo>
                    <a:pt x="1556397" y="6456086"/>
                    <a:pt x="1425874" y="6352792"/>
                    <a:pt x="1305292" y="6245609"/>
                  </a:cubicBezTo>
                  <a:cubicBezTo>
                    <a:pt x="829883" y="5820332"/>
                    <a:pt x="475051" y="5291760"/>
                    <a:pt x="220923" y="4626617"/>
                  </a:cubicBezTo>
                  <a:cubicBezTo>
                    <a:pt x="142263" y="4421110"/>
                    <a:pt x="82837" y="4226947"/>
                    <a:pt x="42265" y="4041321"/>
                  </a:cubicBezTo>
                  <a:lnTo>
                    <a:pt x="0" y="3795139"/>
                  </a:lnTo>
                  <a:close/>
                  <a:moveTo>
                    <a:pt x="5434888" y="1729"/>
                  </a:moveTo>
                  <a:lnTo>
                    <a:pt x="5448286" y="1729"/>
                  </a:lnTo>
                  <a:cubicBezTo>
                    <a:pt x="5418033" y="302967"/>
                    <a:pt x="5344560" y="600316"/>
                    <a:pt x="5227436" y="893774"/>
                  </a:cubicBezTo>
                  <a:cubicBezTo>
                    <a:pt x="5173844" y="1019974"/>
                    <a:pt x="5117227" y="1145742"/>
                    <a:pt x="5060177" y="1269781"/>
                  </a:cubicBezTo>
                  <a:cubicBezTo>
                    <a:pt x="4952995" y="1494521"/>
                    <a:pt x="4842785" y="1727905"/>
                    <a:pt x="4785736" y="1963449"/>
                  </a:cubicBezTo>
                  <a:cubicBezTo>
                    <a:pt x="4695407" y="2329084"/>
                    <a:pt x="4728687" y="2696879"/>
                    <a:pt x="4768880" y="3010651"/>
                  </a:cubicBezTo>
                  <a:cubicBezTo>
                    <a:pt x="4832844" y="3470935"/>
                    <a:pt x="4956451" y="4067793"/>
                    <a:pt x="5361416" y="4600686"/>
                  </a:cubicBezTo>
                  <a:cubicBezTo>
                    <a:pt x="5441371" y="4710462"/>
                    <a:pt x="5538614" y="4817646"/>
                    <a:pt x="5642341" y="4920939"/>
                  </a:cubicBezTo>
                  <a:cubicBezTo>
                    <a:pt x="5986797" y="5257618"/>
                    <a:pt x="6438438" y="5559287"/>
                    <a:pt x="6990779" y="5817306"/>
                  </a:cubicBezTo>
                  <a:cubicBezTo>
                    <a:pt x="7131674" y="5883431"/>
                    <a:pt x="7275593" y="5945235"/>
                    <a:pt x="7425997" y="6003148"/>
                  </a:cubicBezTo>
                  <a:cubicBezTo>
                    <a:pt x="7821020" y="6156144"/>
                    <a:pt x="8255805" y="6287963"/>
                    <a:pt x="8717818" y="6393418"/>
                  </a:cubicBezTo>
                  <a:cubicBezTo>
                    <a:pt x="9019489" y="6462137"/>
                    <a:pt x="9337150" y="6520050"/>
                    <a:pt x="9666913" y="6567592"/>
                  </a:cubicBezTo>
                  <a:lnTo>
                    <a:pt x="9666913" y="6576236"/>
                  </a:lnTo>
                  <a:cubicBezTo>
                    <a:pt x="9335853" y="6528262"/>
                    <a:pt x="9016896" y="6470348"/>
                    <a:pt x="8714362" y="6401198"/>
                  </a:cubicBezTo>
                  <a:cubicBezTo>
                    <a:pt x="8249322" y="6295742"/>
                    <a:pt x="7814105" y="6163492"/>
                    <a:pt x="7416056" y="6008767"/>
                  </a:cubicBezTo>
                  <a:cubicBezTo>
                    <a:pt x="7268679" y="5950854"/>
                    <a:pt x="7124759" y="5889050"/>
                    <a:pt x="6984296" y="5822924"/>
                  </a:cubicBezTo>
                  <a:cubicBezTo>
                    <a:pt x="6428930" y="5564474"/>
                    <a:pt x="5973832" y="5263236"/>
                    <a:pt x="5632400" y="4924397"/>
                  </a:cubicBezTo>
                  <a:cubicBezTo>
                    <a:pt x="5525216" y="4821103"/>
                    <a:pt x="5431863" y="4713487"/>
                    <a:pt x="5348018" y="4604143"/>
                  </a:cubicBezTo>
                  <a:cubicBezTo>
                    <a:pt x="4943053" y="4069089"/>
                    <a:pt x="4819014" y="3472232"/>
                    <a:pt x="4755482" y="3009786"/>
                  </a:cubicBezTo>
                  <a:cubicBezTo>
                    <a:pt x="4712262" y="2697743"/>
                    <a:pt x="4682010" y="2328220"/>
                    <a:pt x="4772337" y="1962585"/>
                  </a:cubicBezTo>
                  <a:cubicBezTo>
                    <a:pt x="4828955" y="1725312"/>
                    <a:pt x="4939596" y="1491927"/>
                    <a:pt x="5043322" y="1266755"/>
                  </a:cubicBezTo>
                  <a:cubicBezTo>
                    <a:pt x="5103397" y="1142716"/>
                    <a:pt x="5160446" y="1016517"/>
                    <a:pt x="5210581" y="890749"/>
                  </a:cubicBezTo>
                  <a:cubicBezTo>
                    <a:pt x="5327704" y="597723"/>
                    <a:pt x="5404635" y="300374"/>
                    <a:pt x="5434888" y="1729"/>
                  </a:cubicBezTo>
                  <a:close/>
                  <a:moveTo>
                    <a:pt x="5575783" y="1297"/>
                  </a:moveTo>
                  <a:lnTo>
                    <a:pt x="5589181" y="1297"/>
                  </a:lnTo>
                  <a:cubicBezTo>
                    <a:pt x="5555902" y="288272"/>
                    <a:pt x="5481997" y="573087"/>
                    <a:pt x="5368330" y="854012"/>
                  </a:cubicBezTo>
                  <a:cubicBezTo>
                    <a:pt x="5314738" y="979780"/>
                    <a:pt x="5254664" y="1107709"/>
                    <a:pt x="5197614" y="1231748"/>
                  </a:cubicBezTo>
                  <a:cubicBezTo>
                    <a:pt x="5090430" y="1454760"/>
                    <a:pt x="4979790" y="1685982"/>
                    <a:pt x="4919715" y="1921527"/>
                  </a:cubicBezTo>
                  <a:cubicBezTo>
                    <a:pt x="4825929" y="2282839"/>
                    <a:pt x="4856183" y="2652364"/>
                    <a:pt x="4896376" y="2964406"/>
                  </a:cubicBezTo>
                  <a:cubicBezTo>
                    <a:pt x="4956883" y="3424691"/>
                    <a:pt x="5077033" y="4021548"/>
                    <a:pt x="5472057" y="4554441"/>
                  </a:cubicBezTo>
                  <a:cubicBezTo>
                    <a:pt x="5555470" y="4664218"/>
                    <a:pt x="5649256" y="4771402"/>
                    <a:pt x="5752981" y="4874695"/>
                  </a:cubicBezTo>
                  <a:cubicBezTo>
                    <a:pt x="6094413" y="5213533"/>
                    <a:pt x="6546053" y="5515204"/>
                    <a:pt x="7094937" y="5773223"/>
                  </a:cubicBezTo>
                  <a:cubicBezTo>
                    <a:pt x="7232375" y="5837187"/>
                    <a:pt x="7376294" y="5898990"/>
                    <a:pt x="7526698" y="5956904"/>
                  </a:cubicBezTo>
                  <a:cubicBezTo>
                    <a:pt x="7921721" y="6109900"/>
                    <a:pt x="8353481" y="6239990"/>
                    <a:pt x="8818519" y="6343283"/>
                  </a:cubicBezTo>
                  <a:cubicBezTo>
                    <a:pt x="9090369" y="6405087"/>
                    <a:pt x="9373886" y="6457382"/>
                    <a:pt x="9666913" y="6500602"/>
                  </a:cubicBezTo>
                  <a:lnTo>
                    <a:pt x="9666913" y="6509246"/>
                  </a:lnTo>
                  <a:cubicBezTo>
                    <a:pt x="9372158" y="6465594"/>
                    <a:pt x="9086479" y="6413299"/>
                    <a:pt x="8811605" y="6351496"/>
                  </a:cubicBezTo>
                  <a:cubicBezTo>
                    <a:pt x="8349591" y="6248201"/>
                    <a:pt x="7914374" y="6118112"/>
                    <a:pt x="7516324" y="5965116"/>
                  </a:cubicBezTo>
                  <a:cubicBezTo>
                    <a:pt x="7368947" y="5907202"/>
                    <a:pt x="7225028" y="5845399"/>
                    <a:pt x="7084564" y="5779273"/>
                  </a:cubicBezTo>
                  <a:cubicBezTo>
                    <a:pt x="6535681" y="5521255"/>
                    <a:pt x="6080582" y="5217856"/>
                    <a:pt x="5739151" y="4879017"/>
                  </a:cubicBezTo>
                  <a:cubicBezTo>
                    <a:pt x="5635425" y="4775724"/>
                    <a:pt x="5542072" y="4668108"/>
                    <a:pt x="5458226" y="4558762"/>
                  </a:cubicBezTo>
                  <a:cubicBezTo>
                    <a:pt x="5059745" y="4023709"/>
                    <a:pt x="4942621" y="3427284"/>
                    <a:pt x="4882546" y="2966567"/>
                  </a:cubicBezTo>
                  <a:cubicBezTo>
                    <a:pt x="4842352" y="2652364"/>
                    <a:pt x="4812099" y="2282839"/>
                    <a:pt x="4905886" y="1919366"/>
                  </a:cubicBezTo>
                  <a:cubicBezTo>
                    <a:pt x="4965960" y="1683821"/>
                    <a:pt x="5076601" y="1452598"/>
                    <a:pt x="5180327" y="1229587"/>
                  </a:cubicBezTo>
                  <a:cubicBezTo>
                    <a:pt x="5240834" y="1105980"/>
                    <a:pt x="5300909" y="977619"/>
                    <a:pt x="5354501" y="851851"/>
                  </a:cubicBezTo>
                  <a:cubicBezTo>
                    <a:pt x="5468599" y="573087"/>
                    <a:pt x="5542072" y="287840"/>
                    <a:pt x="5575783" y="1297"/>
                  </a:cubicBezTo>
                  <a:close/>
                  <a:moveTo>
                    <a:pt x="5293994" y="1297"/>
                  </a:moveTo>
                  <a:lnTo>
                    <a:pt x="5307392" y="1297"/>
                  </a:lnTo>
                  <a:cubicBezTo>
                    <a:pt x="5277139" y="315069"/>
                    <a:pt x="5203665" y="624950"/>
                    <a:pt x="5083083" y="930511"/>
                  </a:cubicBezTo>
                  <a:cubicBezTo>
                    <a:pt x="5036406" y="1056710"/>
                    <a:pt x="4976332" y="1182478"/>
                    <a:pt x="4919283" y="1306517"/>
                  </a:cubicBezTo>
                  <a:cubicBezTo>
                    <a:pt x="4815557" y="1533851"/>
                    <a:pt x="4708806" y="1768963"/>
                    <a:pt x="4651756" y="2006668"/>
                  </a:cubicBezTo>
                  <a:cubicBezTo>
                    <a:pt x="4564885" y="2374031"/>
                    <a:pt x="4598597" y="2741827"/>
                    <a:pt x="4645273" y="3055599"/>
                  </a:cubicBezTo>
                  <a:cubicBezTo>
                    <a:pt x="4712262" y="3515884"/>
                    <a:pt x="4839328" y="4112741"/>
                    <a:pt x="5247749" y="4645633"/>
                  </a:cubicBezTo>
                  <a:cubicBezTo>
                    <a:pt x="5331595" y="4755410"/>
                    <a:pt x="5428405" y="4862594"/>
                    <a:pt x="5535589" y="4965888"/>
                  </a:cubicBezTo>
                  <a:cubicBezTo>
                    <a:pt x="5877020" y="5300404"/>
                    <a:pt x="6335575" y="5602075"/>
                    <a:pt x="6890942" y="5862254"/>
                  </a:cubicBezTo>
                  <a:cubicBezTo>
                    <a:pt x="7031838" y="5926218"/>
                    <a:pt x="7175758" y="5988023"/>
                    <a:pt x="7326160" y="6045935"/>
                  </a:cubicBezTo>
                  <a:cubicBezTo>
                    <a:pt x="7721184" y="6201092"/>
                    <a:pt x="8159427" y="6335072"/>
                    <a:pt x="8617983" y="6440527"/>
                  </a:cubicBezTo>
                  <a:cubicBezTo>
                    <a:pt x="8950770" y="6516161"/>
                    <a:pt x="9301711" y="6580989"/>
                    <a:pt x="9667345" y="6632852"/>
                  </a:cubicBezTo>
                  <a:lnTo>
                    <a:pt x="9667345" y="6642793"/>
                  </a:lnTo>
                  <a:cubicBezTo>
                    <a:pt x="9298685" y="6590498"/>
                    <a:pt x="8946016" y="6526101"/>
                    <a:pt x="8614525" y="6448739"/>
                  </a:cubicBezTo>
                  <a:cubicBezTo>
                    <a:pt x="8152944" y="6341123"/>
                    <a:pt x="7714269" y="6208872"/>
                    <a:pt x="7316220" y="6054147"/>
                  </a:cubicBezTo>
                  <a:cubicBezTo>
                    <a:pt x="7168842" y="5996234"/>
                    <a:pt x="7021464" y="5934431"/>
                    <a:pt x="6884460" y="5868305"/>
                  </a:cubicBezTo>
                  <a:cubicBezTo>
                    <a:pt x="6325635" y="5607693"/>
                    <a:pt x="5867512" y="5306455"/>
                    <a:pt x="5522623" y="4969778"/>
                  </a:cubicBezTo>
                  <a:cubicBezTo>
                    <a:pt x="5415440" y="4866483"/>
                    <a:pt x="5318629" y="4758867"/>
                    <a:pt x="5234783" y="4649523"/>
                  </a:cubicBezTo>
                  <a:cubicBezTo>
                    <a:pt x="4826361" y="4114469"/>
                    <a:pt x="4695840" y="3515884"/>
                    <a:pt x="4628850" y="3055167"/>
                  </a:cubicBezTo>
                  <a:cubicBezTo>
                    <a:pt x="4585198" y="2741395"/>
                    <a:pt x="4551920" y="2371870"/>
                    <a:pt x="4638790" y="2004076"/>
                  </a:cubicBezTo>
                  <a:cubicBezTo>
                    <a:pt x="4695407" y="1766370"/>
                    <a:pt x="4802591" y="1531258"/>
                    <a:pt x="4906318" y="1303924"/>
                  </a:cubicBezTo>
                  <a:cubicBezTo>
                    <a:pt x="4962934" y="1179885"/>
                    <a:pt x="5019984" y="1053685"/>
                    <a:pt x="5070118" y="927917"/>
                  </a:cubicBezTo>
                  <a:cubicBezTo>
                    <a:pt x="5190699" y="624518"/>
                    <a:pt x="5264173" y="312908"/>
                    <a:pt x="5293994" y="1297"/>
                  </a:cubicBezTo>
                  <a:close/>
                  <a:moveTo>
                    <a:pt x="5150073" y="1297"/>
                  </a:moveTo>
                  <a:lnTo>
                    <a:pt x="5163472" y="1297"/>
                  </a:lnTo>
                  <a:cubicBezTo>
                    <a:pt x="5140133" y="327603"/>
                    <a:pt x="5066228" y="651747"/>
                    <a:pt x="4942621" y="969840"/>
                  </a:cubicBezTo>
                  <a:cubicBezTo>
                    <a:pt x="4895512" y="1096040"/>
                    <a:pt x="4838895" y="1221807"/>
                    <a:pt x="4781845" y="1343686"/>
                  </a:cubicBezTo>
                  <a:cubicBezTo>
                    <a:pt x="4681145" y="1572748"/>
                    <a:pt x="4574394" y="1810454"/>
                    <a:pt x="4517344" y="2049888"/>
                  </a:cubicBezTo>
                  <a:cubicBezTo>
                    <a:pt x="4433499" y="2417251"/>
                    <a:pt x="4470667" y="2786775"/>
                    <a:pt x="4517344" y="3098818"/>
                  </a:cubicBezTo>
                  <a:cubicBezTo>
                    <a:pt x="4587359" y="3559535"/>
                    <a:pt x="4721339" y="4155959"/>
                    <a:pt x="5136243" y="4691014"/>
                  </a:cubicBezTo>
                  <a:cubicBezTo>
                    <a:pt x="5220088" y="4800790"/>
                    <a:pt x="5316900" y="4907974"/>
                    <a:pt x="5424084" y="5011268"/>
                  </a:cubicBezTo>
                  <a:cubicBezTo>
                    <a:pt x="5768540" y="5343623"/>
                    <a:pt x="6230554" y="5645293"/>
                    <a:pt x="6789377" y="5905473"/>
                  </a:cubicBezTo>
                  <a:cubicBezTo>
                    <a:pt x="6930272" y="5971598"/>
                    <a:pt x="7074193" y="6033402"/>
                    <a:pt x="7224595" y="6091316"/>
                  </a:cubicBezTo>
                  <a:cubicBezTo>
                    <a:pt x="7623076" y="6248201"/>
                    <a:pt x="8057862" y="6380452"/>
                    <a:pt x="8519875" y="6487636"/>
                  </a:cubicBezTo>
                  <a:cubicBezTo>
                    <a:pt x="8879026" y="6571913"/>
                    <a:pt x="9262813" y="6643225"/>
                    <a:pt x="9666480" y="6699411"/>
                  </a:cubicBezTo>
                  <a:lnTo>
                    <a:pt x="9666480" y="6708918"/>
                  </a:lnTo>
                  <a:cubicBezTo>
                    <a:pt x="9261516" y="6651869"/>
                    <a:pt x="8875568" y="6580557"/>
                    <a:pt x="8513393" y="6495848"/>
                  </a:cubicBezTo>
                  <a:cubicBezTo>
                    <a:pt x="8051379" y="6388664"/>
                    <a:pt x="7616161" y="6254252"/>
                    <a:pt x="7218112" y="6099527"/>
                  </a:cubicBezTo>
                  <a:cubicBezTo>
                    <a:pt x="7067710" y="6039452"/>
                    <a:pt x="6920332" y="5977649"/>
                    <a:pt x="6779869" y="5911524"/>
                  </a:cubicBezTo>
                  <a:cubicBezTo>
                    <a:pt x="6221045" y="5651345"/>
                    <a:pt x="5759032" y="5349674"/>
                    <a:pt x="5411118" y="5015158"/>
                  </a:cubicBezTo>
                  <a:cubicBezTo>
                    <a:pt x="5303934" y="4911864"/>
                    <a:pt x="5207123" y="4804248"/>
                    <a:pt x="5123278" y="4694903"/>
                  </a:cubicBezTo>
                  <a:cubicBezTo>
                    <a:pt x="4708373" y="4157688"/>
                    <a:pt x="4574826" y="3561263"/>
                    <a:pt x="4504379" y="3100547"/>
                  </a:cubicBezTo>
                  <a:cubicBezTo>
                    <a:pt x="4457701" y="2786775"/>
                    <a:pt x="4420534" y="2416819"/>
                    <a:pt x="4504379" y="2047294"/>
                  </a:cubicBezTo>
                  <a:cubicBezTo>
                    <a:pt x="4561428" y="1807860"/>
                    <a:pt x="4668612" y="1570154"/>
                    <a:pt x="4768880" y="1341093"/>
                  </a:cubicBezTo>
                  <a:cubicBezTo>
                    <a:pt x="4825929" y="1219214"/>
                    <a:pt x="4882979" y="1093015"/>
                    <a:pt x="4929656" y="967246"/>
                  </a:cubicBezTo>
                  <a:cubicBezTo>
                    <a:pt x="5053263" y="649153"/>
                    <a:pt x="5127167" y="327170"/>
                    <a:pt x="5150073" y="1297"/>
                  </a:cubicBezTo>
                  <a:close/>
                  <a:moveTo>
                    <a:pt x="5008747" y="1297"/>
                  </a:moveTo>
                  <a:lnTo>
                    <a:pt x="5022145" y="1297"/>
                  </a:lnTo>
                  <a:cubicBezTo>
                    <a:pt x="4998807" y="340136"/>
                    <a:pt x="4924902" y="676814"/>
                    <a:pt x="4801294" y="1009169"/>
                  </a:cubicBezTo>
                  <a:cubicBezTo>
                    <a:pt x="4754618" y="1132776"/>
                    <a:pt x="4697569" y="1258976"/>
                    <a:pt x="4643977" y="1378694"/>
                  </a:cubicBezTo>
                  <a:cubicBezTo>
                    <a:pt x="4543708" y="1612077"/>
                    <a:pt x="4439982" y="1851512"/>
                    <a:pt x="4386390" y="2093107"/>
                  </a:cubicBezTo>
                  <a:cubicBezTo>
                    <a:pt x="4302977" y="2462631"/>
                    <a:pt x="4343171" y="2832155"/>
                    <a:pt x="4389848" y="3144198"/>
                  </a:cubicBezTo>
                  <a:cubicBezTo>
                    <a:pt x="4463320" y="3604915"/>
                    <a:pt x="4600325" y="4201340"/>
                    <a:pt x="5022145" y="4736393"/>
                  </a:cubicBezTo>
                  <a:cubicBezTo>
                    <a:pt x="5109448" y="4846171"/>
                    <a:pt x="5206258" y="4953355"/>
                    <a:pt x="5313442" y="5056648"/>
                  </a:cubicBezTo>
                  <a:cubicBezTo>
                    <a:pt x="5661356" y="5386843"/>
                    <a:pt x="6122938" y="5686351"/>
                    <a:pt x="6688676" y="5948692"/>
                  </a:cubicBezTo>
                  <a:cubicBezTo>
                    <a:pt x="6829571" y="6014818"/>
                    <a:pt x="6973492" y="6076622"/>
                    <a:pt x="7123895" y="6136696"/>
                  </a:cubicBezTo>
                  <a:cubicBezTo>
                    <a:pt x="7522376" y="6293582"/>
                    <a:pt x="7960618" y="6427993"/>
                    <a:pt x="8419174" y="6537339"/>
                  </a:cubicBezTo>
                  <a:cubicBezTo>
                    <a:pt x="8805986" y="6628962"/>
                    <a:pt x="9224349" y="6706325"/>
                    <a:pt x="9666049" y="6767264"/>
                  </a:cubicBezTo>
                  <a:lnTo>
                    <a:pt x="9666049" y="6775908"/>
                  </a:lnTo>
                  <a:cubicBezTo>
                    <a:pt x="9222187" y="6714537"/>
                    <a:pt x="8802529" y="6637175"/>
                    <a:pt x="8412691" y="6545550"/>
                  </a:cubicBezTo>
                  <a:cubicBezTo>
                    <a:pt x="7954135" y="6436206"/>
                    <a:pt x="7515460" y="6299633"/>
                    <a:pt x="7117412" y="6142747"/>
                  </a:cubicBezTo>
                  <a:cubicBezTo>
                    <a:pt x="6967009" y="6084833"/>
                    <a:pt x="6819631" y="6023030"/>
                    <a:pt x="6679169" y="5956904"/>
                  </a:cubicBezTo>
                  <a:cubicBezTo>
                    <a:pt x="6113862" y="5692402"/>
                    <a:pt x="5651848" y="5392893"/>
                    <a:pt x="5303934" y="5060537"/>
                  </a:cubicBezTo>
                  <a:cubicBezTo>
                    <a:pt x="5193725" y="4957244"/>
                    <a:pt x="5096482" y="4849628"/>
                    <a:pt x="5009611" y="4740283"/>
                  </a:cubicBezTo>
                  <a:cubicBezTo>
                    <a:pt x="4588224" y="4203068"/>
                    <a:pt x="4450787" y="3606643"/>
                    <a:pt x="4377314" y="3145926"/>
                  </a:cubicBezTo>
                  <a:cubicBezTo>
                    <a:pt x="4327180" y="2831723"/>
                    <a:pt x="4290444" y="2462199"/>
                    <a:pt x="4370831" y="2090514"/>
                  </a:cubicBezTo>
                  <a:cubicBezTo>
                    <a:pt x="4424423" y="1848919"/>
                    <a:pt x="4531607" y="1609484"/>
                    <a:pt x="4631875" y="1376100"/>
                  </a:cubicBezTo>
                  <a:cubicBezTo>
                    <a:pt x="4685467" y="1256383"/>
                    <a:pt x="4742516" y="1130616"/>
                    <a:pt x="4789193" y="1006575"/>
                  </a:cubicBezTo>
                  <a:cubicBezTo>
                    <a:pt x="4912800" y="675949"/>
                    <a:pt x="4986705" y="339703"/>
                    <a:pt x="5008747" y="1297"/>
                  </a:cubicBezTo>
                  <a:close/>
                  <a:moveTo>
                    <a:pt x="4865691" y="1297"/>
                  </a:moveTo>
                  <a:lnTo>
                    <a:pt x="4879089" y="1297"/>
                  </a:lnTo>
                  <a:cubicBezTo>
                    <a:pt x="4862666" y="352670"/>
                    <a:pt x="4788761" y="703609"/>
                    <a:pt x="4661697" y="1048499"/>
                  </a:cubicBezTo>
                  <a:cubicBezTo>
                    <a:pt x="4615020" y="1172538"/>
                    <a:pt x="4561428" y="1296577"/>
                    <a:pt x="4507836" y="1416295"/>
                  </a:cubicBezTo>
                  <a:cubicBezTo>
                    <a:pt x="4407567" y="1649678"/>
                    <a:pt x="4303842" y="1891273"/>
                    <a:pt x="4253707" y="2135030"/>
                  </a:cubicBezTo>
                  <a:cubicBezTo>
                    <a:pt x="4173320" y="2511036"/>
                    <a:pt x="4216971" y="2895255"/>
                    <a:pt x="4267105" y="3190442"/>
                  </a:cubicBezTo>
                  <a:cubicBezTo>
                    <a:pt x="4344036" y="3651159"/>
                    <a:pt x="4484930" y="4247584"/>
                    <a:pt x="4909775" y="4782638"/>
                  </a:cubicBezTo>
                  <a:cubicBezTo>
                    <a:pt x="4996645" y="4892416"/>
                    <a:pt x="5096914" y="4999599"/>
                    <a:pt x="5207555" y="5102893"/>
                  </a:cubicBezTo>
                  <a:cubicBezTo>
                    <a:pt x="5555470" y="5431358"/>
                    <a:pt x="6020509" y="5730435"/>
                    <a:pt x="6586247" y="5994937"/>
                  </a:cubicBezTo>
                  <a:cubicBezTo>
                    <a:pt x="6730168" y="6061062"/>
                    <a:pt x="6874087" y="6122866"/>
                    <a:pt x="7024491" y="6180779"/>
                  </a:cubicBezTo>
                  <a:cubicBezTo>
                    <a:pt x="7426430" y="6339826"/>
                    <a:pt x="7861214" y="6476399"/>
                    <a:pt x="8319770" y="6585744"/>
                  </a:cubicBezTo>
                  <a:cubicBezTo>
                    <a:pt x="8733378" y="6684284"/>
                    <a:pt x="9185883" y="6769425"/>
                    <a:pt x="9666913" y="6835982"/>
                  </a:cubicBezTo>
                  <a:lnTo>
                    <a:pt x="9666913" y="6844626"/>
                  </a:lnTo>
                  <a:cubicBezTo>
                    <a:pt x="9184585" y="6778069"/>
                    <a:pt x="8730784" y="6692928"/>
                    <a:pt x="8316312" y="6593955"/>
                  </a:cubicBezTo>
                  <a:cubicBezTo>
                    <a:pt x="7854731" y="6484179"/>
                    <a:pt x="7419514" y="6348038"/>
                    <a:pt x="7018008" y="6188992"/>
                  </a:cubicBezTo>
                  <a:cubicBezTo>
                    <a:pt x="6867604" y="6131078"/>
                    <a:pt x="6720226" y="6067113"/>
                    <a:pt x="6579764" y="6000988"/>
                  </a:cubicBezTo>
                  <a:cubicBezTo>
                    <a:pt x="6010567" y="5736486"/>
                    <a:pt x="5545529" y="5437409"/>
                    <a:pt x="5194157" y="5106782"/>
                  </a:cubicBezTo>
                  <a:cubicBezTo>
                    <a:pt x="5083948" y="5003488"/>
                    <a:pt x="4986705" y="4895872"/>
                    <a:pt x="4899835" y="4786528"/>
                  </a:cubicBezTo>
                  <a:cubicBezTo>
                    <a:pt x="4471532" y="4249313"/>
                    <a:pt x="4327612" y="3650727"/>
                    <a:pt x="4254139" y="3190010"/>
                  </a:cubicBezTo>
                  <a:cubicBezTo>
                    <a:pt x="4204005" y="2896552"/>
                    <a:pt x="4156895" y="2510604"/>
                    <a:pt x="4240741" y="2134598"/>
                  </a:cubicBezTo>
                  <a:cubicBezTo>
                    <a:pt x="4290876" y="1890841"/>
                    <a:pt x="4394601" y="1647084"/>
                    <a:pt x="4494870" y="1413701"/>
                  </a:cubicBezTo>
                  <a:cubicBezTo>
                    <a:pt x="4548030" y="1293552"/>
                    <a:pt x="4601622" y="1169945"/>
                    <a:pt x="4645273" y="1045906"/>
                  </a:cubicBezTo>
                  <a:cubicBezTo>
                    <a:pt x="4775796" y="701016"/>
                    <a:pt x="4849268" y="351805"/>
                    <a:pt x="4865691" y="1297"/>
                  </a:cubicBezTo>
                  <a:close/>
                  <a:moveTo>
                    <a:pt x="4438253" y="1297"/>
                  </a:moveTo>
                  <a:lnTo>
                    <a:pt x="4451652" y="1297"/>
                  </a:lnTo>
                  <a:cubicBezTo>
                    <a:pt x="4441278" y="391567"/>
                    <a:pt x="4371263" y="779675"/>
                    <a:pt x="4237284" y="1163894"/>
                  </a:cubicBezTo>
                  <a:cubicBezTo>
                    <a:pt x="4194064" y="1285772"/>
                    <a:pt x="4143498" y="1407650"/>
                    <a:pt x="4096821" y="1525207"/>
                  </a:cubicBezTo>
                  <a:cubicBezTo>
                    <a:pt x="4000010" y="1765073"/>
                    <a:pt x="3899309" y="2014880"/>
                    <a:pt x="3852633" y="2264687"/>
                  </a:cubicBezTo>
                  <a:cubicBezTo>
                    <a:pt x="3782187" y="2644584"/>
                    <a:pt x="3832320" y="3030532"/>
                    <a:pt x="3889369" y="3323990"/>
                  </a:cubicBezTo>
                  <a:cubicBezTo>
                    <a:pt x="3972783" y="3784706"/>
                    <a:pt x="4130100" y="4381564"/>
                    <a:pt x="4575258" y="4918347"/>
                  </a:cubicBezTo>
                  <a:cubicBezTo>
                    <a:pt x="4665586" y="5027691"/>
                    <a:pt x="4766286" y="5135307"/>
                    <a:pt x="4879953" y="5236440"/>
                  </a:cubicBezTo>
                  <a:cubicBezTo>
                    <a:pt x="5231326" y="5560584"/>
                    <a:pt x="5706304" y="5860093"/>
                    <a:pt x="6285442" y="6126323"/>
                  </a:cubicBezTo>
                  <a:cubicBezTo>
                    <a:pt x="6425904" y="6192449"/>
                    <a:pt x="6573281" y="6256413"/>
                    <a:pt x="6723685" y="6314327"/>
                  </a:cubicBezTo>
                  <a:cubicBezTo>
                    <a:pt x="7128648" y="6475103"/>
                    <a:pt x="7566892" y="6615565"/>
                    <a:pt x="8021989" y="6729231"/>
                  </a:cubicBezTo>
                  <a:cubicBezTo>
                    <a:pt x="8202645" y="6774179"/>
                    <a:pt x="8391946" y="6816966"/>
                    <a:pt x="8590321" y="6858456"/>
                  </a:cubicBezTo>
                  <a:lnTo>
                    <a:pt x="8546671" y="6858456"/>
                  </a:lnTo>
                  <a:cubicBezTo>
                    <a:pt x="8362557" y="6819992"/>
                    <a:pt x="8186222" y="6779798"/>
                    <a:pt x="8018964" y="6737876"/>
                  </a:cubicBezTo>
                  <a:cubicBezTo>
                    <a:pt x="7560409" y="6624641"/>
                    <a:pt x="7122165" y="6484179"/>
                    <a:pt x="6717202" y="6322971"/>
                  </a:cubicBezTo>
                  <a:cubicBezTo>
                    <a:pt x="6566798" y="6262896"/>
                    <a:pt x="6419421" y="6198932"/>
                    <a:pt x="6275502" y="6134968"/>
                  </a:cubicBezTo>
                  <a:cubicBezTo>
                    <a:pt x="5696365" y="5866576"/>
                    <a:pt x="5221385" y="5564906"/>
                    <a:pt x="4866555" y="5242923"/>
                  </a:cubicBezTo>
                  <a:cubicBezTo>
                    <a:pt x="4752457" y="5139629"/>
                    <a:pt x="4652188" y="5032013"/>
                    <a:pt x="4561860" y="4922669"/>
                  </a:cubicBezTo>
                  <a:cubicBezTo>
                    <a:pt x="4117134" y="4383293"/>
                    <a:pt x="3959817" y="3784706"/>
                    <a:pt x="3875971" y="3326151"/>
                  </a:cubicBezTo>
                  <a:cubicBezTo>
                    <a:pt x="3819355" y="3030964"/>
                    <a:pt x="3765762" y="2644584"/>
                    <a:pt x="3839235" y="2262526"/>
                  </a:cubicBezTo>
                  <a:cubicBezTo>
                    <a:pt x="3885911" y="2012287"/>
                    <a:pt x="3986180" y="1764641"/>
                    <a:pt x="4083423" y="1523045"/>
                  </a:cubicBezTo>
                  <a:cubicBezTo>
                    <a:pt x="4130100" y="1405489"/>
                    <a:pt x="4180235" y="1283611"/>
                    <a:pt x="4223886" y="1161733"/>
                  </a:cubicBezTo>
                  <a:cubicBezTo>
                    <a:pt x="4357866" y="779675"/>
                    <a:pt x="4428313" y="391567"/>
                    <a:pt x="4438253" y="1297"/>
                  </a:cubicBezTo>
                  <a:close/>
                  <a:moveTo>
                    <a:pt x="3715197" y="1297"/>
                  </a:moveTo>
                  <a:lnTo>
                    <a:pt x="3728595" y="1297"/>
                  </a:lnTo>
                  <a:cubicBezTo>
                    <a:pt x="3738534" y="453370"/>
                    <a:pt x="3671545" y="907604"/>
                    <a:pt x="3531083" y="1357948"/>
                  </a:cubicBezTo>
                  <a:cubicBezTo>
                    <a:pt x="3494347" y="1473776"/>
                    <a:pt x="3450694" y="1591332"/>
                    <a:pt x="3410501" y="1704998"/>
                  </a:cubicBezTo>
                  <a:cubicBezTo>
                    <a:pt x="3320173" y="1956967"/>
                    <a:pt x="3226388" y="2217146"/>
                    <a:pt x="3186194" y="2479486"/>
                  </a:cubicBezTo>
                  <a:cubicBezTo>
                    <a:pt x="3142542" y="2782886"/>
                    <a:pt x="3162423" y="3121725"/>
                    <a:pt x="3259665" y="3549162"/>
                  </a:cubicBezTo>
                  <a:cubicBezTo>
                    <a:pt x="3410070" y="4230297"/>
                    <a:pt x="3641292" y="4723861"/>
                    <a:pt x="4012544" y="5147409"/>
                  </a:cubicBezTo>
                  <a:cubicBezTo>
                    <a:pt x="4106330" y="5254592"/>
                    <a:pt x="4213513" y="5362207"/>
                    <a:pt x="4330638" y="5463341"/>
                  </a:cubicBezTo>
                  <a:cubicBezTo>
                    <a:pt x="4691950" y="5774951"/>
                    <a:pt x="5177302" y="6072299"/>
                    <a:pt x="5776320" y="6347174"/>
                  </a:cubicBezTo>
                  <a:cubicBezTo>
                    <a:pt x="5923697" y="6415028"/>
                    <a:pt x="6071074" y="6478992"/>
                    <a:pt x="6221478" y="6539067"/>
                  </a:cubicBezTo>
                  <a:cubicBezTo>
                    <a:pt x="6514504" y="6655326"/>
                    <a:pt x="6818767" y="6762510"/>
                    <a:pt x="7132106" y="6858889"/>
                  </a:cubicBezTo>
                  <a:lnTo>
                    <a:pt x="7102285" y="6858889"/>
                  </a:lnTo>
                  <a:cubicBezTo>
                    <a:pt x="6797589" y="6765103"/>
                    <a:pt x="6500242" y="6660513"/>
                    <a:pt x="6214995" y="6546414"/>
                  </a:cubicBezTo>
                  <a:cubicBezTo>
                    <a:pt x="6064159" y="6486339"/>
                    <a:pt x="5913757" y="6422375"/>
                    <a:pt x="5769837" y="6356249"/>
                  </a:cubicBezTo>
                  <a:cubicBezTo>
                    <a:pt x="5167361" y="6079214"/>
                    <a:pt x="4682010" y="5781866"/>
                    <a:pt x="4320697" y="5468095"/>
                  </a:cubicBezTo>
                  <a:cubicBezTo>
                    <a:pt x="4203573" y="5366962"/>
                    <a:pt x="4096821" y="5259346"/>
                    <a:pt x="3999578" y="5152162"/>
                  </a:cubicBezTo>
                  <a:cubicBezTo>
                    <a:pt x="3627894" y="4726885"/>
                    <a:pt x="3397102" y="4233322"/>
                    <a:pt x="3243243" y="3549594"/>
                  </a:cubicBezTo>
                  <a:cubicBezTo>
                    <a:pt x="3186194" y="3281203"/>
                    <a:pt x="3112721" y="2878400"/>
                    <a:pt x="3172796" y="2477758"/>
                  </a:cubicBezTo>
                  <a:cubicBezTo>
                    <a:pt x="3212988" y="2215417"/>
                    <a:pt x="3306775" y="1955237"/>
                    <a:pt x="3397102" y="1703270"/>
                  </a:cubicBezTo>
                  <a:cubicBezTo>
                    <a:pt x="3437296" y="1589603"/>
                    <a:pt x="3477491" y="1472047"/>
                    <a:pt x="3514226" y="1356220"/>
                  </a:cubicBezTo>
                  <a:cubicBezTo>
                    <a:pt x="3658147" y="908036"/>
                    <a:pt x="3725137" y="453370"/>
                    <a:pt x="3715197" y="1297"/>
                  </a:cubicBezTo>
                  <a:close/>
                  <a:moveTo>
                    <a:pt x="3566955" y="1297"/>
                  </a:moveTo>
                  <a:lnTo>
                    <a:pt x="3583809" y="1297"/>
                  </a:lnTo>
                  <a:cubicBezTo>
                    <a:pt x="3593751" y="465903"/>
                    <a:pt x="3530218" y="932671"/>
                    <a:pt x="3386299" y="1395117"/>
                  </a:cubicBezTo>
                  <a:cubicBezTo>
                    <a:pt x="3353019" y="1510944"/>
                    <a:pt x="3312826" y="1628500"/>
                    <a:pt x="3272631" y="1740006"/>
                  </a:cubicBezTo>
                  <a:cubicBezTo>
                    <a:pt x="3182303" y="1994135"/>
                    <a:pt x="3091976" y="2258205"/>
                    <a:pt x="3055239" y="2520545"/>
                  </a:cubicBezTo>
                  <a:cubicBezTo>
                    <a:pt x="3011588" y="2826105"/>
                    <a:pt x="3034926" y="3167104"/>
                    <a:pt x="3132169" y="3592381"/>
                  </a:cubicBezTo>
                  <a:cubicBezTo>
                    <a:pt x="3228980" y="4015497"/>
                    <a:pt x="3413094" y="4643472"/>
                    <a:pt x="3898445" y="5192789"/>
                  </a:cubicBezTo>
                  <a:cubicBezTo>
                    <a:pt x="3995256" y="5299972"/>
                    <a:pt x="4102439" y="5407588"/>
                    <a:pt x="4223022" y="5508721"/>
                  </a:cubicBezTo>
                  <a:cubicBezTo>
                    <a:pt x="4587792" y="5822492"/>
                    <a:pt x="5063203" y="6111629"/>
                    <a:pt x="5675619" y="6392554"/>
                  </a:cubicBezTo>
                  <a:cubicBezTo>
                    <a:pt x="5822996" y="6458678"/>
                    <a:pt x="5973400" y="6522644"/>
                    <a:pt x="6120777" y="6584447"/>
                  </a:cubicBezTo>
                  <a:cubicBezTo>
                    <a:pt x="6369287" y="6682122"/>
                    <a:pt x="6624280" y="6773747"/>
                    <a:pt x="6884460" y="6858024"/>
                  </a:cubicBezTo>
                  <a:lnTo>
                    <a:pt x="6853343" y="6858024"/>
                  </a:lnTo>
                  <a:cubicBezTo>
                    <a:pt x="6600943" y="6775908"/>
                    <a:pt x="6353296" y="6686444"/>
                    <a:pt x="6113862" y="6590931"/>
                  </a:cubicBezTo>
                  <a:cubicBezTo>
                    <a:pt x="5963026" y="6531288"/>
                    <a:pt x="5812624" y="6467323"/>
                    <a:pt x="5665247" y="6399037"/>
                  </a:cubicBezTo>
                  <a:cubicBezTo>
                    <a:pt x="5052831" y="6118112"/>
                    <a:pt x="4577851" y="5828975"/>
                    <a:pt x="4209623" y="5513043"/>
                  </a:cubicBezTo>
                  <a:cubicBezTo>
                    <a:pt x="4092499" y="5411910"/>
                    <a:pt x="3982290" y="5304294"/>
                    <a:pt x="3888505" y="5197111"/>
                  </a:cubicBezTo>
                  <a:cubicBezTo>
                    <a:pt x="3399696" y="4645633"/>
                    <a:pt x="3216015" y="4018091"/>
                    <a:pt x="3118771" y="3594543"/>
                  </a:cubicBezTo>
                  <a:cubicBezTo>
                    <a:pt x="3021528" y="3168832"/>
                    <a:pt x="2994731" y="2826105"/>
                    <a:pt x="3038384" y="2520545"/>
                  </a:cubicBezTo>
                  <a:cubicBezTo>
                    <a:pt x="3078578" y="2256043"/>
                    <a:pt x="3168906" y="1994135"/>
                    <a:pt x="3259234" y="1737845"/>
                  </a:cubicBezTo>
                  <a:cubicBezTo>
                    <a:pt x="3295971" y="1626340"/>
                    <a:pt x="3339622" y="1510944"/>
                    <a:pt x="3372899" y="1395117"/>
                  </a:cubicBezTo>
                  <a:cubicBezTo>
                    <a:pt x="3516821" y="932671"/>
                    <a:pt x="3580353" y="465903"/>
                    <a:pt x="3566955" y="1297"/>
                  </a:cubicBezTo>
                  <a:close/>
                  <a:moveTo>
                    <a:pt x="3423467" y="1297"/>
                  </a:moveTo>
                  <a:lnTo>
                    <a:pt x="3436865" y="1297"/>
                  </a:lnTo>
                  <a:cubicBezTo>
                    <a:pt x="3453720" y="478437"/>
                    <a:pt x="3390188" y="959467"/>
                    <a:pt x="3246268" y="1434446"/>
                  </a:cubicBezTo>
                  <a:cubicBezTo>
                    <a:pt x="3212557" y="1549842"/>
                    <a:pt x="3172364" y="1663508"/>
                    <a:pt x="3135627" y="1775013"/>
                  </a:cubicBezTo>
                  <a:cubicBezTo>
                    <a:pt x="3048324" y="2033033"/>
                    <a:pt x="2957995" y="2297534"/>
                    <a:pt x="2921258" y="2563764"/>
                  </a:cubicBezTo>
                  <a:cubicBezTo>
                    <a:pt x="2878041" y="2871485"/>
                    <a:pt x="2907861" y="3212484"/>
                    <a:pt x="3005104" y="3637761"/>
                  </a:cubicBezTo>
                  <a:cubicBezTo>
                    <a:pt x="3165880" y="4311116"/>
                    <a:pt x="3413525" y="4818942"/>
                    <a:pt x="3788238" y="5238168"/>
                  </a:cubicBezTo>
                  <a:cubicBezTo>
                    <a:pt x="3885047" y="5345352"/>
                    <a:pt x="3992231" y="5452968"/>
                    <a:pt x="4112813" y="5554101"/>
                  </a:cubicBezTo>
                  <a:cubicBezTo>
                    <a:pt x="4481040" y="5865712"/>
                    <a:pt x="4956451" y="6154848"/>
                    <a:pt x="5575351" y="6435773"/>
                  </a:cubicBezTo>
                  <a:cubicBezTo>
                    <a:pt x="5722728" y="6503627"/>
                    <a:pt x="5873131" y="6567592"/>
                    <a:pt x="6020509" y="6627666"/>
                  </a:cubicBezTo>
                  <a:cubicBezTo>
                    <a:pt x="6223206" y="6709783"/>
                    <a:pt x="6432387" y="6786281"/>
                    <a:pt x="6644161" y="6857592"/>
                  </a:cubicBezTo>
                  <a:lnTo>
                    <a:pt x="6615637" y="6857592"/>
                  </a:lnTo>
                  <a:cubicBezTo>
                    <a:pt x="6411209" y="6788009"/>
                    <a:pt x="6210240" y="6714537"/>
                    <a:pt x="6014025" y="6635877"/>
                  </a:cubicBezTo>
                  <a:cubicBezTo>
                    <a:pt x="5863191" y="6574074"/>
                    <a:pt x="5712788" y="6510110"/>
                    <a:pt x="5565410" y="6443985"/>
                  </a:cubicBezTo>
                  <a:cubicBezTo>
                    <a:pt x="4949536" y="6160899"/>
                    <a:pt x="4467642" y="5871762"/>
                    <a:pt x="4102871" y="5557991"/>
                  </a:cubicBezTo>
                  <a:cubicBezTo>
                    <a:pt x="3982290" y="5456858"/>
                    <a:pt x="3872082" y="5349242"/>
                    <a:pt x="3774838" y="5242058"/>
                  </a:cubicBezTo>
                  <a:cubicBezTo>
                    <a:pt x="3400127" y="4822832"/>
                    <a:pt x="3149025" y="4312846"/>
                    <a:pt x="2991707" y="3639491"/>
                  </a:cubicBezTo>
                  <a:cubicBezTo>
                    <a:pt x="2891006" y="3214213"/>
                    <a:pt x="2864210" y="2871485"/>
                    <a:pt x="2907861" y="2563764"/>
                  </a:cubicBezTo>
                  <a:cubicBezTo>
                    <a:pt x="2941572" y="2297534"/>
                    <a:pt x="3031900" y="2031303"/>
                    <a:pt x="3122227" y="1775013"/>
                  </a:cubicBezTo>
                  <a:cubicBezTo>
                    <a:pt x="3159398" y="1663508"/>
                    <a:pt x="3199590" y="1548113"/>
                    <a:pt x="3232870" y="1432286"/>
                  </a:cubicBezTo>
                  <a:cubicBezTo>
                    <a:pt x="3376790" y="957306"/>
                    <a:pt x="3440323" y="476276"/>
                    <a:pt x="3423467" y="1297"/>
                  </a:cubicBezTo>
                  <a:close/>
                  <a:moveTo>
                    <a:pt x="3276521" y="1297"/>
                  </a:moveTo>
                  <a:lnTo>
                    <a:pt x="3293377" y="1297"/>
                  </a:lnTo>
                  <a:cubicBezTo>
                    <a:pt x="3313258" y="490971"/>
                    <a:pt x="3249726" y="984535"/>
                    <a:pt x="3105805" y="1473776"/>
                  </a:cubicBezTo>
                  <a:cubicBezTo>
                    <a:pt x="3072095" y="1587442"/>
                    <a:pt x="3035357" y="1701108"/>
                    <a:pt x="2998622" y="1812614"/>
                  </a:cubicBezTo>
                  <a:cubicBezTo>
                    <a:pt x="2911319" y="2071065"/>
                    <a:pt x="2820991" y="2339456"/>
                    <a:pt x="2787713" y="2607848"/>
                  </a:cubicBezTo>
                  <a:cubicBezTo>
                    <a:pt x="2747519" y="2917297"/>
                    <a:pt x="2777772" y="3258297"/>
                    <a:pt x="2881497" y="3683573"/>
                  </a:cubicBezTo>
                  <a:cubicBezTo>
                    <a:pt x="3042273" y="4356929"/>
                    <a:pt x="3296402" y="4864755"/>
                    <a:pt x="3674571" y="5283981"/>
                  </a:cubicBezTo>
                  <a:cubicBezTo>
                    <a:pt x="3771814" y="5391164"/>
                    <a:pt x="3882022" y="5498780"/>
                    <a:pt x="4002604" y="5599913"/>
                  </a:cubicBezTo>
                  <a:cubicBezTo>
                    <a:pt x="4370831" y="5909363"/>
                    <a:pt x="4852726" y="6196771"/>
                    <a:pt x="5471625" y="6481585"/>
                  </a:cubicBezTo>
                  <a:cubicBezTo>
                    <a:pt x="5619002" y="6547711"/>
                    <a:pt x="5769837" y="6611675"/>
                    <a:pt x="5920240" y="6673478"/>
                  </a:cubicBezTo>
                  <a:cubicBezTo>
                    <a:pt x="6081880" y="6737876"/>
                    <a:pt x="6244384" y="6799679"/>
                    <a:pt x="6409913" y="6858024"/>
                  </a:cubicBezTo>
                  <a:lnTo>
                    <a:pt x="6380956" y="6858024"/>
                  </a:lnTo>
                  <a:cubicBezTo>
                    <a:pt x="6222774" y="6801840"/>
                    <a:pt x="6066753" y="6742629"/>
                    <a:pt x="5913757" y="6679961"/>
                  </a:cubicBezTo>
                  <a:cubicBezTo>
                    <a:pt x="5762922" y="6620318"/>
                    <a:pt x="5612519" y="6556355"/>
                    <a:pt x="5465142" y="6488068"/>
                  </a:cubicBezTo>
                  <a:cubicBezTo>
                    <a:pt x="4842785" y="6203253"/>
                    <a:pt x="4360891" y="5916278"/>
                    <a:pt x="3992663" y="5604236"/>
                  </a:cubicBezTo>
                  <a:cubicBezTo>
                    <a:pt x="3872082" y="5503103"/>
                    <a:pt x="3761872" y="5395487"/>
                    <a:pt x="3664629" y="5288303"/>
                  </a:cubicBezTo>
                  <a:cubicBezTo>
                    <a:pt x="3283004" y="4869077"/>
                    <a:pt x="3028443" y="4359091"/>
                    <a:pt x="2864642" y="3685734"/>
                  </a:cubicBezTo>
                  <a:cubicBezTo>
                    <a:pt x="2764374" y="3260457"/>
                    <a:pt x="2734121" y="2917730"/>
                    <a:pt x="2774314" y="2605687"/>
                  </a:cubicBezTo>
                  <a:cubicBezTo>
                    <a:pt x="2807594" y="2336863"/>
                    <a:pt x="2897921" y="2068472"/>
                    <a:pt x="2981766" y="1810454"/>
                  </a:cubicBezTo>
                  <a:cubicBezTo>
                    <a:pt x="3018935" y="1698947"/>
                    <a:pt x="3059128" y="1585281"/>
                    <a:pt x="3092408" y="1471615"/>
                  </a:cubicBezTo>
                  <a:cubicBezTo>
                    <a:pt x="3236328" y="982373"/>
                    <a:pt x="3296402" y="488809"/>
                    <a:pt x="3276521" y="1297"/>
                  </a:cubicBezTo>
                  <a:close/>
                  <a:moveTo>
                    <a:pt x="3132169" y="1297"/>
                  </a:moveTo>
                  <a:lnTo>
                    <a:pt x="3145566" y="1297"/>
                  </a:lnTo>
                  <a:cubicBezTo>
                    <a:pt x="3168906" y="501343"/>
                    <a:pt x="3108830" y="1009169"/>
                    <a:pt x="2964911" y="1513105"/>
                  </a:cubicBezTo>
                  <a:cubicBezTo>
                    <a:pt x="2931201" y="1624611"/>
                    <a:pt x="2894463" y="1738277"/>
                    <a:pt x="2857726" y="1845461"/>
                  </a:cubicBezTo>
                  <a:cubicBezTo>
                    <a:pt x="2774314" y="2107801"/>
                    <a:pt x="2687012" y="2378353"/>
                    <a:pt x="2653732" y="2651066"/>
                  </a:cubicBezTo>
                  <a:cubicBezTo>
                    <a:pt x="2616996" y="2960516"/>
                    <a:pt x="2650275" y="3303677"/>
                    <a:pt x="2754001" y="3728954"/>
                  </a:cubicBezTo>
                  <a:cubicBezTo>
                    <a:pt x="2921258" y="4400148"/>
                    <a:pt x="3179278" y="4910135"/>
                    <a:pt x="3563930" y="5329361"/>
                  </a:cubicBezTo>
                  <a:cubicBezTo>
                    <a:pt x="3661173" y="5436545"/>
                    <a:pt x="3774838" y="5544161"/>
                    <a:pt x="3895420" y="5643133"/>
                  </a:cubicBezTo>
                  <a:cubicBezTo>
                    <a:pt x="4263647" y="5950854"/>
                    <a:pt x="4745542" y="6239990"/>
                    <a:pt x="5371356" y="6524804"/>
                  </a:cubicBezTo>
                  <a:cubicBezTo>
                    <a:pt x="5518733" y="6593091"/>
                    <a:pt x="5672594" y="6657055"/>
                    <a:pt x="5819971" y="6718859"/>
                  </a:cubicBezTo>
                  <a:cubicBezTo>
                    <a:pt x="5940552" y="6766400"/>
                    <a:pt x="6061566" y="6813076"/>
                    <a:pt x="6183877" y="6858024"/>
                  </a:cubicBezTo>
                  <a:lnTo>
                    <a:pt x="6156648" y="6858024"/>
                  </a:lnTo>
                  <a:cubicBezTo>
                    <a:pt x="6040821" y="6815238"/>
                    <a:pt x="5925858" y="6771154"/>
                    <a:pt x="5813056" y="6725342"/>
                  </a:cubicBezTo>
                  <a:cubicBezTo>
                    <a:pt x="5662221" y="6665699"/>
                    <a:pt x="5511818" y="6599574"/>
                    <a:pt x="5364441" y="6531288"/>
                  </a:cubicBezTo>
                  <a:cubicBezTo>
                    <a:pt x="4735169" y="6246473"/>
                    <a:pt x="4253275" y="5957337"/>
                    <a:pt x="3882022" y="5649616"/>
                  </a:cubicBezTo>
                  <a:cubicBezTo>
                    <a:pt x="3761440" y="5548483"/>
                    <a:pt x="3650800" y="5443028"/>
                    <a:pt x="3550532" y="5333683"/>
                  </a:cubicBezTo>
                  <a:cubicBezTo>
                    <a:pt x="3165448" y="4912296"/>
                    <a:pt x="2907861" y="4404038"/>
                    <a:pt x="2740603" y="3728954"/>
                  </a:cubicBezTo>
                  <a:cubicBezTo>
                    <a:pt x="2633852" y="3303677"/>
                    <a:pt x="2603598" y="2960948"/>
                    <a:pt x="2640334" y="2648906"/>
                  </a:cubicBezTo>
                  <a:cubicBezTo>
                    <a:pt x="2673614" y="2378353"/>
                    <a:pt x="2760485" y="2105641"/>
                    <a:pt x="2844328" y="1845461"/>
                  </a:cubicBezTo>
                  <a:cubicBezTo>
                    <a:pt x="2881065" y="1736116"/>
                    <a:pt x="2917801" y="1622449"/>
                    <a:pt x="2948056" y="1510944"/>
                  </a:cubicBezTo>
                  <a:cubicBezTo>
                    <a:pt x="3095432" y="1007009"/>
                    <a:pt x="3155507" y="500911"/>
                    <a:pt x="3132169" y="1297"/>
                  </a:cubicBezTo>
                  <a:close/>
                  <a:moveTo>
                    <a:pt x="1666605" y="1297"/>
                  </a:moveTo>
                  <a:lnTo>
                    <a:pt x="1680003" y="1297"/>
                  </a:lnTo>
                  <a:cubicBezTo>
                    <a:pt x="1680003" y="7348"/>
                    <a:pt x="1680003" y="13831"/>
                    <a:pt x="1680003" y="19882"/>
                  </a:cubicBezTo>
                  <a:cubicBezTo>
                    <a:pt x="1737053" y="624950"/>
                    <a:pt x="1693402" y="1256815"/>
                    <a:pt x="1549482" y="1899053"/>
                  </a:cubicBezTo>
                  <a:cubicBezTo>
                    <a:pt x="1529168" y="1995864"/>
                    <a:pt x="1505831" y="2093107"/>
                    <a:pt x="1482491" y="2186028"/>
                  </a:cubicBezTo>
                  <a:cubicBezTo>
                    <a:pt x="1408587" y="2477326"/>
                    <a:pt x="1335114" y="2778564"/>
                    <a:pt x="1321715" y="3078073"/>
                  </a:cubicBezTo>
                  <a:cubicBezTo>
                    <a:pt x="1308318" y="3402217"/>
                    <a:pt x="1365367" y="3761800"/>
                    <a:pt x="1495889" y="4176705"/>
                  </a:cubicBezTo>
                  <a:cubicBezTo>
                    <a:pt x="1706800" y="4847899"/>
                    <a:pt x="2008038" y="5360047"/>
                    <a:pt x="2439797" y="5785324"/>
                  </a:cubicBezTo>
                  <a:cubicBezTo>
                    <a:pt x="2550006" y="5892940"/>
                    <a:pt x="2670587" y="5996234"/>
                    <a:pt x="2801111" y="6095205"/>
                  </a:cubicBezTo>
                  <a:cubicBezTo>
                    <a:pt x="3137787" y="6352360"/>
                    <a:pt x="3550964" y="6591363"/>
                    <a:pt x="4120160" y="6858024"/>
                  </a:cubicBezTo>
                  <a:lnTo>
                    <a:pt x="4095092" y="6858024"/>
                  </a:lnTo>
                  <a:cubicBezTo>
                    <a:pt x="3533675" y="6593955"/>
                    <a:pt x="3123958" y="6356681"/>
                    <a:pt x="2790738" y="6101688"/>
                  </a:cubicBezTo>
                  <a:cubicBezTo>
                    <a:pt x="2660216" y="6002284"/>
                    <a:pt x="2536609" y="5896829"/>
                    <a:pt x="2425967" y="5789646"/>
                  </a:cubicBezTo>
                  <a:cubicBezTo>
                    <a:pt x="1994207" y="5364369"/>
                    <a:pt x="1693402" y="4852221"/>
                    <a:pt x="1479034" y="4178866"/>
                  </a:cubicBezTo>
                  <a:cubicBezTo>
                    <a:pt x="1348512" y="3763530"/>
                    <a:pt x="1294921" y="3404378"/>
                    <a:pt x="1308318" y="3078073"/>
                  </a:cubicBezTo>
                  <a:cubicBezTo>
                    <a:pt x="1321715" y="2776403"/>
                    <a:pt x="1395622" y="2475165"/>
                    <a:pt x="1469093" y="2183867"/>
                  </a:cubicBezTo>
                  <a:cubicBezTo>
                    <a:pt x="1489406" y="2090946"/>
                    <a:pt x="1512745" y="1994135"/>
                    <a:pt x="1536083" y="1899053"/>
                  </a:cubicBezTo>
                  <a:cubicBezTo>
                    <a:pt x="1680003" y="1256815"/>
                    <a:pt x="1723655" y="624950"/>
                    <a:pt x="1666605" y="19882"/>
                  </a:cubicBezTo>
                  <a:cubicBezTo>
                    <a:pt x="1666605" y="13831"/>
                    <a:pt x="1666605" y="7348"/>
                    <a:pt x="1666605" y="1297"/>
                  </a:cubicBezTo>
                  <a:close/>
                  <a:moveTo>
                    <a:pt x="5716245" y="865"/>
                  </a:moveTo>
                  <a:lnTo>
                    <a:pt x="5729643" y="865"/>
                  </a:lnTo>
                  <a:cubicBezTo>
                    <a:pt x="5692906" y="275739"/>
                    <a:pt x="5619434" y="548452"/>
                    <a:pt x="5508793" y="814683"/>
                  </a:cubicBezTo>
                  <a:cubicBezTo>
                    <a:pt x="5455201" y="942611"/>
                    <a:pt x="5394694" y="1070541"/>
                    <a:pt x="5334619" y="1194580"/>
                  </a:cubicBezTo>
                  <a:cubicBezTo>
                    <a:pt x="5223979" y="1415429"/>
                    <a:pt x="5113769" y="1644491"/>
                    <a:pt x="5053695" y="1878739"/>
                  </a:cubicBezTo>
                  <a:cubicBezTo>
                    <a:pt x="4956451" y="2237891"/>
                    <a:pt x="4983248" y="2607416"/>
                    <a:pt x="5023441" y="2919458"/>
                  </a:cubicBezTo>
                  <a:cubicBezTo>
                    <a:pt x="5077033" y="3379743"/>
                    <a:pt x="5194157" y="3976600"/>
                    <a:pt x="5585723" y="4509493"/>
                  </a:cubicBezTo>
                  <a:cubicBezTo>
                    <a:pt x="5990687" y="5060537"/>
                    <a:pt x="6716769" y="5560584"/>
                    <a:pt x="7626966" y="5911524"/>
                  </a:cubicBezTo>
                  <a:cubicBezTo>
                    <a:pt x="8232035" y="6146204"/>
                    <a:pt x="8915763" y="6321675"/>
                    <a:pt x="9666913" y="6434908"/>
                  </a:cubicBezTo>
                  <a:lnTo>
                    <a:pt x="9666913" y="6443985"/>
                  </a:lnTo>
                  <a:cubicBezTo>
                    <a:pt x="8913170" y="6330750"/>
                    <a:pt x="8225552" y="6154848"/>
                    <a:pt x="7617025" y="5919736"/>
                  </a:cubicBezTo>
                  <a:cubicBezTo>
                    <a:pt x="7171868" y="5746426"/>
                    <a:pt x="6770362" y="5539838"/>
                    <a:pt x="6425472" y="5306455"/>
                  </a:cubicBezTo>
                  <a:cubicBezTo>
                    <a:pt x="6067617" y="5062699"/>
                    <a:pt x="5779778" y="4796468"/>
                    <a:pt x="5572325" y="4513383"/>
                  </a:cubicBezTo>
                  <a:cubicBezTo>
                    <a:pt x="5180759" y="3980490"/>
                    <a:pt x="5063635" y="3381904"/>
                    <a:pt x="5006586" y="2921188"/>
                  </a:cubicBezTo>
                  <a:cubicBezTo>
                    <a:pt x="4969849" y="2607416"/>
                    <a:pt x="4943053" y="2237459"/>
                    <a:pt x="5036839" y="1876146"/>
                  </a:cubicBezTo>
                  <a:cubicBezTo>
                    <a:pt x="5100372" y="1642763"/>
                    <a:pt x="5210581" y="1413269"/>
                    <a:pt x="5321221" y="1192419"/>
                  </a:cubicBezTo>
                  <a:cubicBezTo>
                    <a:pt x="5381728" y="1068812"/>
                    <a:pt x="5441803" y="940451"/>
                    <a:pt x="5495395" y="812521"/>
                  </a:cubicBezTo>
                  <a:cubicBezTo>
                    <a:pt x="5605604" y="545859"/>
                    <a:pt x="5679509" y="273579"/>
                    <a:pt x="5716245" y="865"/>
                  </a:cubicBezTo>
                  <a:close/>
                  <a:moveTo>
                    <a:pt x="4726525" y="865"/>
                  </a:moveTo>
                  <a:lnTo>
                    <a:pt x="4739923" y="865"/>
                  </a:lnTo>
                  <a:cubicBezTo>
                    <a:pt x="4723068" y="366500"/>
                    <a:pt x="4649595" y="727812"/>
                    <a:pt x="4519073" y="1085235"/>
                  </a:cubicBezTo>
                  <a:cubicBezTo>
                    <a:pt x="4475422" y="1209274"/>
                    <a:pt x="4421830" y="1333313"/>
                    <a:pt x="4371695" y="1453030"/>
                  </a:cubicBezTo>
                  <a:cubicBezTo>
                    <a:pt x="4274453" y="1688575"/>
                    <a:pt x="4170726" y="1931899"/>
                    <a:pt x="4120592" y="2177816"/>
                  </a:cubicBezTo>
                  <a:cubicBezTo>
                    <a:pt x="4043230" y="2555552"/>
                    <a:pt x="4090338" y="2939771"/>
                    <a:pt x="4140473" y="3234958"/>
                  </a:cubicBezTo>
                  <a:cubicBezTo>
                    <a:pt x="4220429" y="3693514"/>
                    <a:pt x="4367806" y="4290372"/>
                    <a:pt x="4799566" y="4827154"/>
                  </a:cubicBezTo>
                  <a:cubicBezTo>
                    <a:pt x="4886436" y="4936498"/>
                    <a:pt x="4986705" y="5044114"/>
                    <a:pt x="5097346" y="5145247"/>
                  </a:cubicBezTo>
                  <a:cubicBezTo>
                    <a:pt x="5448718" y="5473714"/>
                    <a:pt x="5913757" y="5772791"/>
                    <a:pt x="6485979" y="6037292"/>
                  </a:cubicBezTo>
                  <a:cubicBezTo>
                    <a:pt x="6626441" y="6103417"/>
                    <a:pt x="6773819" y="6167382"/>
                    <a:pt x="6924221" y="6225295"/>
                  </a:cubicBezTo>
                  <a:cubicBezTo>
                    <a:pt x="7325729" y="6384342"/>
                    <a:pt x="7763970" y="6520482"/>
                    <a:pt x="8222527" y="6631988"/>
                  </a:cubicBezTo>
                  <a:cubicBezTo>
                    <a:pt x="8573466" y="6718427"/>
                    <a:pt x="8955524" y="6793628"/>
                    <a:pt x="9362217" y="6858024"/>
                  </a:cubicBezTo>
                  <a:lnTo>
                    <a:pt x="9306465" y="6858024"/>
                  </a:lnTo>
                  <a:cubicBezTo>
                    <a:pt x="8917924" y="6795789"/>
                    <a:pt x="8552290" y="6723181"/>
                    <a:pt x="8216044" y="6640632"/>
                  </a:cubicBezTo>
                  <a:cubicBezTo>
                    <a:pt x="7757921" y="6529127"/>
                    <a:pt x="7319246" y="6392986"/>
                    <a:pt x="6917738" y="6233939"/>
                  </a:cubicBezTo>
                  <a:cubicBezTo>
                    <a:pt x="6767336" y="6173865"/>
                    <a:pt x="6619958" y="6112061"/>
                    <a:pt x="6479496" y="6045935"/>
                  </a:cubicBezTo>
                  <a:cubicBezTo>
                    <a:pt x="5903817" y="5779706"/>
                    <a:pt x="5435320" y="5478035"/>
                    <a:pt x="5083948" y="5151730"/>
                  </a:cubicBezTo>
                  <a:cubicBezTo>
                    <a:pt x="4973739" y="5048437"/>
                    <a:pt x="4873038" y="4940821"/>
                    <a:pt x="4786168" y="4831476"/>
                  </a:cubicBezTo>
                  <a:cubicBezTo>
                    <a:pt x="4354840" y="4294261"/>
                    <a:pt x="4207463" y="3695676"/>
                    <a:pt x="4127075" y="3234958"/>
                  </a:cubicBezTo>
                  <a:cubicBezTo>
                    <a:pt x="4076940" y="2939771"/>
                    <a:pt x="4026807" y="2553824"/>
                    <a:pt x="4107194" y="2177816"/>
                  </a:cubicBezTo>
                  <a:cubicBezTo>
                    <a:pt x="4157329" y="1930170"/>
                    <a:pt x="4261054" y="1686415"/>
                    <a:pt x="4358298" y="1450869"/>
                  </a:cubicBezTo>
                  <a:cubicBezTo>
                    <a:pt x="4408432" y="1330721"/>
                    <a:pt x="4462023" y="1207113"/>
                    <a:pt x="4505676" y="1083075"/>
                  </a:cubicBezTo>
                  <a:cubicBezTo>
                    <a:pt x="4636198" y="727812"/>
                    <a:pt x="4709670" y="364338"/>
                    <a:pt x="4726525" y="865"/>
                  </a:cubicBezTo>
                  <a:close/>
                  <a:moveTo>
                    <a:pt x="4581741" y="865"/>
                  </a:moveTo>
                  <a:lnTo>
                    <a:pt x="4595139" y="865"/>
                  </a:lnTo>
                  <a:cubicBezTo>
                    <a:pt x="4581741" y="378601"/>
                    <a:pt x="4511725" y="754608"/>
                    <a:pt x="4377746" y="1124132"/>
                  </a:cubicBezTo>
                  <a:cubicBezTo>
                    <a:pt x="4334094" y="1246011"/>
                    <a:pt x="4283961" y="1370050"/>
                    <a:pt x="4233826" y="1489767"/>
                  </a:cubicBezTo>
                  <a:cubicBezTo>
                    <a:pt x="4136583" y="1727473"/>
                    <a:pt x="4036314" y="1973390"/>
                    <a:pt x="3986180" y="2221036"/>
                  </a:cubicBezTo>
                  <a:cubicBezTo>
                    <a:pt x="3912708" y="2598772"/>
                    <a:pt x="3962841" y="2984720"/>
                    <a:pt x="4012976" y="3278178"/>
                  </a:cubicBezTo>
                  <a:cubicBezTo>
                    <a:pt x="4096389" y="3738894"/>
                    <a:pt x="4247224" y="4335752"/>
                    <a:pt x="4685467" y="4872534"/>
                  </a:cubicBezTo>
                  <a:cubicBezTo>
                    <a:pt x="4775796" y="4981879"/>
                    <a:pt x="4876064" y="5089495"/>
                    <a:pt x="4986705" y="5190628"/>
                  </a:cubicBezTo>
                  <a:cubicBezTo>
                    <a:pt x="5341534" y="5516933"/>
                    <a:pt x="5810031" y="5816441"/>
                    <a:pt x="6385711" y="6082672"/>
                  </a:cubicBezTo>
                  <a:cubicBezTo>
                    <a:pt x="6526173" y="6148797"/>
                    <a:pt x="6673550" y="6210601"/>
                    <a:pt x="6823953" y="6270675"/>
                  </a:cubicBezTo>
                  <a:cubicBezTo>
                    <a:pt x="7228916" y="6429723"/>
                    <a:pt x="7663702" y="6568024"/>
                    <a:pt x="8122259" y="6681690"/>
                  </a:cubicBezTo>
                  <a:cubicBezTo>
                    <a:pt x="8381573" y="6745655"/>
                    <a:pt x="8658608" y="6804432"/>
                    <a:pt x="8951634" y="6858456"/>
                  </a:cubicBezTo>
                  <a:lnTo>
                    <a:pt x="8900205" y="6858456"/>
                  </a:lnTo>
                  <a:cubicBezTo>
                    <a:pt x="8623169" y="6807459"/>
                    <a:pt x="8360829" y="6751273"/>
                    <a:pt x="8115776" y="6690766"/>
                  </a:cubicBezTo>
                  <a:cubicBezTo>
                    <a:pt x="7657652" y="6577100"/>
                    <a:pt x="7222433" y="6438798"/>
                    <a:pt x="6817470" y="6277591"/>
                  </a:cubicBezTo>
                  <a:cubicBezTo>
                    <a:pt x="6667067" y="6219676"/>
                    <a:pt x="6519690" y="6155712"/>
                    <a:pt x="6375770" y="6089588"/>
                  </a:cubicBezTo>
                  <a:cubicBezTo>
                    <a:pt x="5800090" y="5823356"/>
                    <a:pt x="5328136" y="5521687"/>
                    <a:pt x="4976765" y="5197543"/>
                  </a:cubicBezTo>
                  <a:cubicBezTo>
                    <a:pt x="4863098" y="5094249"/>
                    <a:pt x="4762397" y="4986633"/>
                    <a:pt x="4675527" y="4877289"/>
                  </a:cubicBezTo>
                  <a:cubicBezTo>
                    <a:pt x="4233826" y="4337913"/>
                    <a:pt x="4083423" y="3741488"/>
                    <a:pt x="3999578" y="3280771"/>
                  </a:cubicBezTo>
                  <a:cubicBezTo>
                    <a:pt x="3945986" y="2985584"/>
                    <a:pt x="3895852" y="2599204"/>
                    <a:pt x="3972783" y="2219307"/>
                  </a:cubicBezTo>
                  <a:cubicBezTo>
                    <a:pt x="4022916" y="1971229"/>
                    <a:pt x="4123185" y="1725312"/>
                    <a:pt x="4220429" y="1488038"/>
                  </a:cubicBezTo>
                  <a:cubicBezTo>
                    <a:pt x="4270562" y="1368320"/>
                    <a:pt x="4320697" y="1244281"/>
                    <a:pt x="4364348" y="1122404"/>
                  </a:cubicBezTo>
                  <a:cubicBezTo>
                    <a:pt x="4494870" y="752447"/>
                    <a:pt x="4568343" y="376872"/>
                    <a:pt x="4581741" y="865"/>
                  </a:cubicBezTo>
                  <a:close/>
                  <a:moveTo>
                    <a:pt x="4293901" y="865"/>
                  </a:moveTo>
                  <a:lnTo>
                    <a:pt x="4307299" y="865"/>
                  </a:lnTo>
                  <a:cubicBezTo>
                    <a:pt x="4300384" y="403668"/>
                    <a:pt x="4230369" y="806471"/>
                    <a:pt x="4096389" y="1202791"/>
                  </a:cubicBezTo>
                  <a:cubicBezTo>
                    <a:pt x="4053170" y="1322508"/>
                    <a:pt x="4006061" y="1444386"/>
                    <a:pt x="3959384" y="1561942"/>
                  </a:cubicBezTo>
                  <a:cubicBezTo>
                    <a:pt x="3865599" y="1803538"/>
                    <a:pt x="3765330" y="2053345"/>
                    <a:pt x="3721679" y="2305314"/>
                  </a:cubicBezTo>
                  <a:cubicBezTo>
                    <a:pt x="3648207" y="2689532"/>
                    <a:pt x="3704824" y="3075480"/>
                    <a:pt x="3761872" y="3368937"/>
                  </a:cubicBezTo>
                  <a:cubicBezTo>
                    <a:pt x="3895420" y="4050505"/>
                    <a:pt x="4109787" y="4544068"/>
                    <a:pt x="4461159" y="4965455"/>
                  </a:cubicBezTo>
                  <a:cubicBezTo>
                    <a:pt x="4551488" y="5072639"/>
                    <a:pt x="4655214" y="5180255"/>
                    <a:pt x="4768880" y="5281388"/>
                  </a:cubicBezTo>
                  <a:cubicBezTo>
                    <a:pt x="5123710" y="5603372"/>
                    <a:pt x="5599121" y="5900719"/>
                    <a:pt x="6181283" y="6171271"/>
                  </a:cubicBezTo>
                  <a:cubicBezTo>
                    <a:pt x="6325203" y="6237397"/>
                    <a:pt x="6472580" y="6299201"/>
                    <a:pt x="6622984" y="6359275"/>
                  </a:cubicBezTo>
                  <a:cubicBezTo>
                    <a:pt x="7030974" y="6520050"/>
                    <a:pt x="7466191" y="6660513"/>
                    <a:pt x="7921289" y="6776340"/>
                  </a:cubicBezTo>
                  <a:cubicBezTo>
                    <a:pt x="8031066" y="6804865"/>
                    <a:pt x="8143003" y="6831661"/>
                    <a:pt x="8257533" y="6857592"/>
                  </a:cubicBezTo>
                  <a:lnTo>
                    <a:pt x="8219501" y="6857592"/>
                  </a:lnTo>
                  <a:cubicBezTo>
                    <a:pt x="8116640" y="6833822"/>
                    <a:pt x="8015939" y="6809619"/>
                    <a:pt x="7917399" y="6784552"/>
                  </a:cubicBezTo>
                  <a:cubicBezTo>
                    <a:pt x="7458844" y="6669157"/>
                    <a:pt x="7024058" y="6528695"/>
                    <a:pt x="6615637" y="6367487"/>
                  </a:cubicBezTo>
                  <a:cubicBezTo>
                    <a:pt x="6465233" y="6307412"/>
                    <a:pt x="6317856" y="6243448"/>
                    <a:pt x="6173937" y="6177322"/>
                  </a:cubicBezTo>
                  <a:cubicBezTo>
                    <a:pt x="5588317" y="5906770"/>
                    <a:pt x="5113337" y="5607693"/>
                    <a:pt x="4755050" y="5287439"/>
                  </a:cubicBezTo>
                  <a:cubicBezTo>
                    <a:pt x="4644841" y="5184144"/>
                    <a:pt x="4541115" y="5076528"/>
                    <a:pt x="4447329" y="4967184"/>
                  </a:cubicBezTo>
                  <a:cubicBezTo>
                    <a:pt x="4095957" y="4546229"/>
                    <a:pt x="3882022" y="4052666"/>
                    <a:pt x="3748043" y="3368937"/>
                  </a:cubicBezTo>
                  <a:cubicBezTo>
                    <a:pt x="3690994" y="3075480"/>
                    <a:pt x="3633944" y="2689532"/>
                    <a:pt x="3704392" y="2305314"/>
                  </a:cubicBezTo>
                  <a:cubicBezTo>
                    <a:pt x="3751501" y="2053345"/>
                    <a:pt x="3848311" y="1801378"/>
                    <a:pt x="3945554" y="1559782"/>
                  </a:cubicBezTo>
                  <a:cubicBezTo>
                    <a:pt x="3992663" y="1442226"/>
                    <a:pt x="4039340" y="1320347"/>
                    <a:pt x="4079533" y="1200631"/>
                  </a:cubicBezTo>
                  <a:cubicBezTo>
                    <a:pt x="4216971" y="804310"/>
                    <a:pt x="4287418" y="403668"/>
                    <a:pt x="4293901" y="865"/>
                  </a:cubicBezTo>
                  <a:close/>
                  <a:moveTo>
                    <a:pt x="3858684" y="865"/>
                  </a:moveTo>
                  <a:lnTo>
                    <a:pt x="3872082" y="865"/>
                  </a:lnTo>
                  <a:cubicBezTo>
                    <a:pt x="3878564" y="440836"/>
                    <a:pt x="3811575" y="882969"/>
                    <a:pt x="3671113" y="1318619"/>
                  </a:cubicBezTo>
                  <a:cubicBezTo>
                    <a:pt x="3631351" y="1436175"/>
                    <a:pt x="3591157" y="1553731"/>
                    <a:pt x="3547506" y="1669558"/>
                  </a:cubicBezTo>
                  <a:cubicBezTo>
                    <a:pt x="3456745" y="1919366"/>
                    <a:pt x="3363393" y="2175656"/>
                    <a:pt x="3319740" y="2435835"/>
                  </a:cubicBezTo>
                  <a:cubicBezTo>
                    <a:pt x="3272631" y="2741395"/>
                    <a:pt x="3292945" y="3071590"/>
                    <a:pt x="3383272" y="3503350"/>
                  </a:cubicBezTo>
                  <a:cubicBezTo>
                    <a:pt x="3530650" y="4184484"/>
                    <a:pt x="3757983" y="4678048"/>
                    <a:pt x="4126211" y="5101596"/>
                  </a:cubicBezTo>
                  <a:cubicBezTo>
                    <a:pt x="4219996" y="5208780"/>
                    <a:pt x="4323722" y="5316396"/>
                    <a:pt x="4440846" y="5417529"/>
                  </a:cubicBezTo>
                  <a:cubicBezTo>
                    <a:pt x="4799134" y="5731300"/>
                    <a:pt x="5284053" y="6030809"/>
                    <a:pt x="5876588" y="6303522"/>
                  </a:cubicBezTo>
                  <a:cubicBezTo>
                    <a:pt x="6023965" y="6369648"/>
                    <a:pt x="6171343" y="6433612"/>
                    <a:pt x="6321746" y="6493687"/>
                  </a:cubicBezTo>
                  <a:cubicBezTo>
                    <a:pt x="6662314" y="6630260"/>
                    <a:pt x="7021033" y="6753003"/>
                    <a:pt x="7390557" y="6857592"/>
                  </a:cubicBezTo>
                  <a:lnTo>
                    <a:pt x="7359439" y="6857592"/>
                  </a:lnTo>
                  <a:cubicBezTo>
                    <a:pt x="6997262" y="6753867"/>
                    <a:pt x="6647187" y="6635445"/>
                    <a:pt x="6314831" y="6501898"/>
                  </a:cubicBezTo>
                  <a:cubicBezTo>
                    <a:pt x="6163995" y="6442256"/>
                    <a:pt x="6013593" y="6378291"/>
                    <a:pt x="5869673" y="6310005"/>
                  </a:cubicBezTo>
                  <a:cubicBezTo>
                    <a:pt x="5274112" y="6037292"/>
                    <a:pt x="4788761" y="5737783"/>
                    <a:pt x="4427449" y="5421850"/>
                  </a:cubicBezTo>
                  <a:cubicBezTo>
                    <a:pt x="4313782" y="5320717"/>
                    <a:pt x="4206598" y="5213101"/>
                    <a:pt x="4112813" y="5105917"/>
                  </a:cubicBezTo>
                  <a:cubicBezTo>
                    <a:pt x="3744585" y="4682803"/>
                    <a:pt x="3517253" y="4189238"/>
                    <a:pt x="3369875" y="3505511"/>
                  </a:cubicBezTo>
                  <a:cubicBezTo>
                    <a:pt x="3276089" y="3071590"/>
                    <a:pt x="3259665" y="2741395"/>
                    <a:pt x="3306342" y="2433674"/>
                  </a:cubicBezTo>
                  <a:cubicBezTo>
                    <a:pt x="3346536" y="2175224"/>
                    <a:pt x="3443780" y="1917204"/>
                    <a:pt x="3534108" y="1667398"/>
                  </a:cubicBezTo>
                  <a:cubicBezTo>
                    <a:pt x="3573869" y="1552002"/>
                    <a:pt x="3617522" y="1434014"/>
                    <a:pt x="3657715" y="1316458"/>
                  </a:cubicBezTo>
                  <a:cubicBezTo>
                    <a:pt x="3798609" y="880808"/>
                    <a:pt x="3865167" y="440836"/>
                    <a:pt x="3858684" y="865"/>
                  </a:cubicBezTo>
                  <a:close/>
                  <a:moveTo>
                    <a:pt x="2985225" y="865"/>
                  </a:moveTo>
                  <a:lnTo>
                    <a:pt x="2998622" y="865"/>
                  </a:lnTo>
                  <a:cubicBezTo>
                    <a:pt x="3028875" y="513013"/>
                    <a:pt x="2968801" y="1033372"/>
                    <a:pt x="2821423" y="1551570"/>
                  </a:cubicBezTo>
                  <a:cubicBezTo>
                    <a:pt x="2791602" y="1661347"/>
                    <a:pt x="2757890" y="1772853"/>
                    <a:pt x="2721154" y="1880037"/>
                  </a:cubicBezTo>
                  <a:cubicBezTo>
                    <a:pt x="2637310" y="2144538"/>
                    <a:pt x="2553464" y="2418979"/>
                    <a:pt x="2520184" y="2691693"/>
                  </a:cubicBezTo>
                  <a:cubicBezTo>
                    <a:pt x="2486906" y="3005464"/>
                    <a:pt x="2520184" y="3348193"/>
                    <a:pt x="2627369" y="3771741"/>
                  </a:cubicBezTo>
                  <a:cubicBezTo>
                    <a:pt x="2801543" y="4445097"/>
                    <a:pt x="3062587" y="4955083"/>
                    <a:pt x="3450694" y="5374309"/>
                  </a:cubicBezTo>
                  <a:cubicBezTo>
                    <a:pt x="3550964" y="5481493"/>
                    <a:pt x="3664629" y="5589109"/>
                    <a:pt x="3785211" y="5688081"/>
                  </a:cubicBezTo>
                  <a:cubicBezTo>
                    <a:pt x="4153439" y="5994072"/>
                    <a:pt x="4641816" y="6283209"/>
                    <a:pt x="5271088" y="6568024"/>
                  </a:cubicBezTo>
                  <a:cubicBezTo>
                    <a:pt x="5418033" y="6636310"/>
                    <a:pt x="5572325" y="6702003"/>
                    <a:pt x="5722728" y="6762078"/>
                  </a:cubicBezTo>
                  <a:cubicBezTo>
                    <a:pt x="5802252" y="6794493"/>
                    <a:pt x="5882639" y="6826475"/>
                    <a:pt x="5963890" y="6858024"/>
                  </a:cubicBezTo>
                  <a:lnTo>
                    <a:pt x="5935798" y="6858024"/>
                  </a:lnTo>
                  <a:cubicBezTo>
                    <a:pt x="5861029" y="6829499"/>
                    <a:pt x="5787125" y="6800544"/>
                    <a:pt x="5712788" y="6770722"/>
                  </a:cubicBezTo>
                  <a:cubicBezTo>
                    <a:pt x="5562385" y="6708918"/>
                    <a:pt x="5411550" y="6644955"/>
                    <a:pt x="5261147" y="6576668"/>
                  </a:cubicBezTo>
                  <a:cubicBezTo>
                    <a:pt x="4631875" y="6289692"/>
                    <a:pt x="4143498" y="6000555"/>
                    <a:pt x="3775272" y="5694996"/>
                  </a:cubicBezTo>
                  <a:cubicBezTo>
                    <a:pt x="3651663" y="5593862"/>
                    <a:pt x="3537566" y="5488408"/>
                    <a:pt x="3437296" y="5379064"/>
                  </a:cubicBezTo>
                  <a:cubicBezTo>
                    <a:pt x="3049189" y="4957676"/>
                    <a:pt x="2788145" y="4447689"/>
                    <a:pt x="2613972" y="3774334"/>
                  </a:cubicBezTo>
                  <a:cubicBezTo>
                    <a:pt x="2506787" y="3348625"/>
                    <a:pt x="2473508" y="3005897"/>
                    <a:pt x="2506787" y="2692125"/>
                  </a:cubicBezTo>
                  <a:cubicBezTo>
                    <a:pt x="2537042" y="2417251"/>
                    <a:pt x="2623912" y="2144538"/>
                    <a:pt x="2707756" y="1878307"/>
                  </a:cubicBezTo>
                  <a:cubicBezTo>
                    <a:pt x="2741035" y="1770692"/>
                    <a:pt x="2777772" y="1659186"/>
                    <a:pt x="2808025" y="1549842"/>
                  </a:cubicBezTo>
                  <a:cubicBezTo>
                    <a:pt x="2954970" y="1031211"/>
                    <a:pt x="3012020" y="513013"/>
                    <a:pt x="2985225" y="865"/>
                  </a:cubicBezTo>
                  <a:close/>
                  <a:moveTo>
                    <a:pt x="2838710" y="865"/>
                  </a:moveTo>
                  <a:lnTo>
                    <a:pt x="2855567" y="865"/>
                  </a:lnTo>
                  <a:cubicBezTo>
                    <a:pt x="2885387" y="525114"/>
                    <a:pt x="2828770" y="1058007"/>
                    <a:pt x="2681392" y="1588739"/>
                  </a:cubicBezTo>
                  <a:cubicBezTo>
                    <a:pt x="2651139" y="1698083"/>
                    <a:pt x="2617428" y="1807860"/>
                    <a:pt x="2584149" y="1915044"/>
                  </a:cubicBezTo>
                  <a:cubicBezTo>
                    <a:pt x="2503762" y="2181274"/>
                    <a:pt x="2416891" y="2458309"/>
                    <a:pt x="2390096" y="2734912"/>
                  </a:cubicBezTo>
                  <a:cubicBezTo>
                    <a:pt x="2356383" y="3050844"/>
                    <a:pt x="2393120" y="3393572"/>
                    <a:pt x="2503762" y="3817122"/>
                  </a:cubicBezTo>
                  <a:cubicBezTo>
                    <a:pt x="2677936" y="4490477"/>
                    <a:pt x="2945462" y="4998302"/>
                    <a:pt x="3340485" y="5419690"/>
                  </a:cubicBezTo>
                  <a:cubicBezTo>
                    <a:pt x="3440755" y="5526873"/>
                    <a:pt x="3554421" y="5634489"/>
                    <a:pt x="3675002" y="5733461"/>
                  </a:cubicBezTo>
                  <a:cubicBezTo>
                    <a:pt x="4046255" y="6037292"/>
                    <a:pt x="4535064" y="6324267"/>
                    <a:pt x="5170819" y="6613403"/>
                  </a:cubicBezTo>
                  <a:cubicBezTo>
                    <a:pt x="5317764" y="6681690"/>
                    <a:pt x="5472057" y="6745655"/>
                    <a:pt x="5622459" y="6807459"/>
                  </a:cubicBezTo>
                  <a:cubicBezTo>
                    <a:pt x="5663518" y="6824314"/>
                    <a:pt x="5705440" y="6841169"/>
                    <a:pt x="5747363" y="6858024"/>
                  </a:cubicBezTo>
                  <a:lnTo>
                    <a:pt x="5722728" y="6858024"/>
                  </a:lnTo>
                  <a:cubicBezTo>
                    <a:pt x="5685992" y="6843330"/>
                    <a:pt x="5649256" y="6828635"/>
                    <a:pt x="5612519" y="6813941"/>
                  </a:cubicBezTo>
                  <a:cubicBezTo>
                    <a:pt x="5462117" y="6754299"/>
                    <a:pt x="5311281" y="6688173"/>
                    <a:pt x="5160879" y="6619886"/>
                  </a:cubicBezTo>
                  <a:cubicBezTo>
                    <a:pt x="4525124" y="6330750"/>
                    <a:pt x="4036314" y="6043343"/>
                    <a:pt x="3665063" y="5739943"/>
                  </a:cubicBezTo>
                  <a:cubicBezTo>
                    <a:pt x="3541456" y="5638810"/>
                    <a:pt x="3427357" y="5533356"/>
                    <a:pt x="3327087" y="5424011"/>
                  </a:cubicBezTo>
                  <a:cubicBezTo>
                    <a:pt x="2932064" y="5002624"/>
                    <a:pt x="2664538" y="4492638"/>
                    <a:pt x="2490364" y="3819282"/>
                  </a:cubicBezTo>
                  <a:cubicBezTo>
                    <a:pt x="2376698" y="3393572"/>
                    <a:pt x="2342986" y="3050844"/>
                    <a:pt x="2373240" y="2734912"/>
                  </a:cubicBezTo>
                  <a:cubicBezTo>
                    <a:pt x="2403493" y="2457877"/>
                    <a:pt x="2490364" y="2181274"/>
                    <a:pt x="2570751" y="1912883"/>
                  </a:cubicBezTo>
                  <a:cubicBezTo>
                    <a:pt x="2604462" y="1807428"/>
                    <a:pt x="2637742" y="1695923"/>
                    <a:pt x="2667995" y="1588739"/>
                  </a:cubicBezTo>
                  <a:cubicBezTo>
                    <a:pt x="2815373" y="1056278"/>
                    <a:pt x="2871989" y="523385"/>
                    <a:pt x="2838710" y="865"/>
                  </a:cubicBezTo>
                  <a:close/>
                  <a:moveTo>
                    <a:pt x="2693495" y="865"/>
                  </a:moveTo>
                  <a:lnTo>
                    <a:pt x="2706893" y="865"/>
                  </a:lnTo>
                  <a:cubicBezTo>
                    <a:pt x="2740603" y="535486"/>
                    <a:pt x="2687012" y="1083075"/>
                    <a:pt x="2539633" y="1628068"/>
                  </a:cubicBezTo>
                  <a:cubicBezTo>
                    <a:pt x="2509381" y="1735252"/>
                    <a:pt x="2476102" y="1844596"/>
                    <a:pt x="2445847" y="1950052"/>
                  </a:cubicBezTo>
                  <a:cubicBezTo>
                    <a:pt x="2365893" y="2218443"/>
                    <a:pt x="2282048" y="2499368"/>
                    <a:pt x="2255252" y="2778131"/>
                  </a:cubicBezTo>
                  <a:cubicBezTo>
                    <a:pt x="2225430" y="3094064"/>
                    <a:pt x="2262167" y="3438954"/>
                    <a:pt x="2375833" y="3862501"/>
                  </a:cubicBezTo>
                  <a:cubicBezTo>
                    <a:pt x="2556490" y="4533696"/>
                    <a:pt x="2827906" y="5043682"/>
                    <a:pt x="3225955" y="5465070"/>
                  </a:cubicBezTo>
                  <a:cubicBezTo>
                    <a:pt x="3326224" y="5572253"/>
                    <a:pt x="3443780" y="5679869"/>
                    <a:pt x="3567387" y="5778841"/>
                  </a:cubicBezTo>
                  <a:cubicBezTo>
                    <a:pt x="3935614" y="6080510"/>
                    <a:pt x="4427449" y="6367487"/>
                    <a:pt x="5066660" y="6656623"/>
                  </a:cubicBezTo>
                  <a:cubicBezTo>
                    <a:pt x="5217064" y="6724910"/>
                    <a:pt x="5371356" y="6791034"/>
                    <a:pt x="5521759" y="6852838"/>
                  </a:cubicBezTo>
                  <a:cubicBezTo>
                    <a:pt x="5526081" y="6854568"/>
                    <a:pt x="5529970" y="6856296"/>
                    <a:pt x="5533428" y="6857592"/>
                  </a:cubicBezTo>
                  <a:lnTo>
                    <a:pt x="5507928" y="6857592"/>
                  </a:lnTo>
                  <a:cubicBezTo>
                    <a:pt x="5358390" y="6795789"/>
                    <a:pt x="5209284" y="6732257"/>
                    <a:pt x="5059745" y="6664835"/>
                  </a:cubicBezTo>
                  <a:cubicBezTo>
                    <a:pt x="4417508" y="6373537"/>
                    <a:pt x="3925241" y="6086561"/>
                    <a:pt x="3553989" y="5784892"/>
                  </a:cubicBezTo>
                  <a:cubicBezTo>
                    <a:pt x="3429949" y="5683759"/>
                    <a:pt x="3316284" y="5578303"/>
                    <a:pt x="3212557" y="5468959"/>
                  </a:cubicBezTo>
                  <a:cubicBezTo>
                    <a:pt x="2814076" y="5048005"/>
                    <a:pt x="2543090" y="4537585"/>
                    <a:pt x="2362435" y="3862501"/>
                  </a:cubicBezTo>
                  <a:cubicBezTo>
                    <a:pt x="2248336" y="3438954"/>
                    <a:pt x="2208575" y="3094064"/>
                    <a:pt x="2241852" y="2778131"/>
                  </a:cubicBezTo>
                  <a:cubicBezTo>
                    <a:pt x="2268650" y="2497207"/>
                    <a:pt x="2352062" y="2218443"/>
                    <a:pt x="2432449" y="1947890"/>
                  </a:cubicBezTo>
                  <a:cubicBezTo>
                    <a:pt x="2462704" y="1842868"/>
                    <a:pt x="2495983" y="1733091"/>
                    <a:pt x="2526235" y="1625908"/>
                  </a:cubicBezTo>
                  <a:cubicBezTo>
                    <a:pt x="2670155" y="1080913"/>
                    <a:pt x="2726772" y="535919"/>
                    <a:pt x="2693495" y="865"/>
                  </a:cubicBezTo>
                  <a:close/>
                  <a:moveTo>
                    <a:pt x="2546980" y="865"/>
                  </a:moveTo>
                  <a:lnTo>
                    <a:pt x="2560380" y="865"/>
                  </a:lnTo>
                  <a:cubicBezTo>
                    <a:pt x="2600573" y="548020"/>
                    <a:pt x="2543525" y="1107709"/>
                    <a:pt x="2399604" y="1667398"/>
                  </a:cubicBezTo>
                  <a:cubicBezTo>
                    <a:pt x="2369351" y="1772853"/>
                    <a:pt x="2339529" y="1880037"/>
                    <a:pt x="2309276" y="1983330"/>
                  </a:cubicBezTo>
                  <a:cubicBezTo>
                    <a:pt x="2228887" y="2256043"/>
                    <a:pt x="2148500" y="2538697"/>
                    <a:pt x="2121704" y="2821783"/>
                  </a:cubicBezTo>
                  <a:cubicBezTo>
                    <a:pt x="2094908" y="3139444"/>
                    <a:pt x="2135103" y="3484333"/>
                    <a:pt x="2248768" y="3907881"/>
                  </a:cubicBezTo>
                  <a:cubicBezTo>
                    <a:pt x="2436341" y="4579076"/>
                    <a:pt x="2710782" y="5089063"/>
                    <a:pt x="3112289" y="5510450"/>
                  </a:cubicBezTo>
                  <a:cubicBezTo>
                    <a:pt x="3216015" y="5617634"/>
                    <a:pt x="3333571" y="5723088"/>
                    <a:pt x="3457178" y="5824221"/>
                  </a:cubicBezTo>
                  <a:cubicBezTo>
                    <a:pt x="3828431" y="6121569"/>
                    <a:pt x="4320697" y="6408545"/>
                    <a:pt x="4966392" y="6702003"/>
                  </a:cubicBezTo>
                  <a:cubicBezTo>
                    <a:pt x="5086109" y="6756459"/>
                    <a:pt x="5207555" y="6807891"/>
                    <a:pt x="5328136" y="6857160"/>
                  </a:cubicBezTo>
                  <a:lnTo>
                    <a:pt x="5299612" y="6857160"/>
                  </a:lnTo>
                  <a:cubicBezTo>
                    <a:pt x="5186378" y="6809187"/>
                    <a:pt x="5073143" y="6759485"/>
                    <a:pt x="4959910" y="6708054"/>
                  </a:cubicBezTo>
                  <a:cubicBezTo>
                    <a:pt x="4313782" y="6416756"/>
                    <a:pt x="3818491" y="6127620"/>
                    <a:pt x="3447237" y="5830272"/>
                  </a:cubicBezTo>
                  <a:cubicBezTo>
                    <a:pt x="3319740" y="5729139"/>
                    <a:pt x="3206074" y="5623684"/>
                    <a:pt x="3102348" y="5514339"/>
                  </a:cubicBezTo>
                  <a:cubicBezTo>
                    <a:pt x="2697816" y="5093385"/>
                    <a:pt x="2423375" y="4581237"/>
                    <a:pt x="2235803" y="3907881"/>
                  </a:cubicBezTo>
                  <a:cubicBezTo>
                    <a:pt x="2118679" y="3484765"/>
                    <a:pt x="2078484" y="3139876"/>
                    <a:pt x="2108737" y="2819622"/>
                  </a:cubicBezTo>
                  <a:cubicBezTo>
                    <a:pt x="2132508" y="2536968"/>
                    <a:pt x="2215922" y="2256043"/>
                    <a:pt x="2296308" y="1983330"/>
                  </a:cubicBezTo>
                  <a:cubicBezTo>
                    <a:pt x="2326131" y="1877875"/>
                    <a:pt x="2356383" y="1770692"/>
                    <a:pt x="2383181" y="1665237"/>
                  </a:cubicBezTo>
                  <a:cubicBezTo>
                    <a:pt x="2530125" y="1105548"/>
                    <a:pt x="2583717" y="545859"/>
                    <a:pt x="2546980" y="865"/>
                  </a:cubicBezTo>
                  <a:close/>
                  <a:moveTo>
                    <a:pt x="2400036" y="865"/>
                  </a:moveTo>
                  <a:lnTo>
                    <a:pt x="2413434" y="865"/>
                  </a:lnTo>
                  <a:cubicBezTo>
                    <a:pt x="2457084" y="558392"/>
                    <a:pt x="2403493" y="1130616"/>
                    <a:pt x="2256115" y="1706727"/>
                  </a:cubicBezTo>
                  <a:cubicBezTo>
                    <a:pt x="2229320" y="1810022"/>
                    <a:pt x="2199067" y="1915476"/>
                    <a:pt x="2172271" y="2018770"/>
                  </a:cubicBezTo>
                  <a:cubicBezTo>
                    <a:pt x="2091882" y="2293212"/>
                    <a:pt x="2011496" y="2578459"/>
                    <a:pt x="1988157" y="2863273"/>
                  </a:cubicBezTo>
                  <a:cubicBezTo>
                    <a:pt x="1961361" y="3183095"/>
                    <a:pt x="2004581" y="3530145"/>
                    <a:pt x="2125161" y="3951533"/>
                  </a:cubicBezTo>
                  <a:cubicBezTo>
                    <a:pt x="2316190" y="4624888"/>
                    <a:pt x="2593657" y="5134875"/>
                    <a:pt x="3002080" y="5556263"/>
                  </a:cubicBezTo>
                  <a:cubicBezTo>
                    <a:pt x="3105805" y="5663445"/>
                    <a:pt x="3223362" y="5768900"/>
                    <a:pt x="3346969" y="5870033"/>
                  </a:cubicBezTo>
                  <a:cubicBezTo>
                    <a:pt x="3725137" y="6169543"/>
                    <a:pt x="4207030" y="6448307"/>
                    <a:pt x="4866123" y="6745655"/>
                  </a:cubicBezTo>
                  <a:cubicBezTo>
                    <a:pt x="4950400" y="6783688"/>
                    <a:pt x="5035542" y="6821288"/>
                    <a:pt x="5120684" y="6857592"/>
                  </a:cubicBezTo>
                  <a:lnTo>
                    <a:pt x="5091296" y="6857592"/>
                  </a:lnTo>
                  <a:cubicBezTo>
                    <a:pt x="5012636" y="6823881"/>
                    <a:pt x="4933545" y="6789306"/>
                    <a:pt x="4855751" y="6753867"/>
                  </a:cubicBezTo>
                  <a:cubicBezTo>
                    <a:pt x="4196658" y="6454357"/>
                    <a:pt x="3714765" y="6175593"/>
                    <a:pt x="3336595" y="5876084"/>
                  </a:cubicBezTo>
                  <a:cubicBezTo>
                    <a:pt x="3209531" y="5774951"/>
                    <a:pt x="3092408" y="5669496"/>
                    <a:pt x="2988682" y="5562313"/>
                  </a:cubicBezTo>
                  <a:cubicBezTo>
                    <a:pt x="2580259" y="5139197"/>
                    <a:pt x="2302360" y="4627049"/>
                    <a:pt x="2111764" y="3953694"/>
                  </a:cubicBezTo>
                  <a:cubicBezTo>
                    <a:pt x="1991614" y="3530145"/>
                    <a:pt x="1947963" y="3185257"/>
                    <a:pt x="1974759" y="2863273"/>
                  </a:cubicBezTo>
                  <a:cubicBezTo>
                    <a:pt x="1998098" y="2578459"/>
                    <a:pt x="2078484" y="2293212"/>
                    <a:pt x="2158874" y="2016609"/>
                  </a:cubicBezTo>
                  <a:cubicBezTo>
                    <a:pt x="2185669" y="1915044"/>
                    <a:pt x="2215922" y="1810022"/>
                    <a:pt x="2242718" y="1704566"/>
                  </a:cubicBezTo>
                  <a:cubicBezTo>
                    <a:pt x="2390096" y="1130616"/>
                    <a:pt x="2443687" y="558392"/>
                    <a:pt x="2400036" y="865"/>
                  </a:cubicBezTo>
                  <a:close/>
                  <a:moveTo>
                    <a:pt x="2252226" y="865"/>
                  </a:moveTo>
                  <a:lnTo>
                    <a:pt x="2265624" y="865"/>
                  </a:lnTo>
                  <a:cubicBezTo>
                    <a:pt x="2312734" y="568766"/>
                    <a:pt x="2262599" y="1155250"/>
                    <a:pt x="2115221" y="1743896"/>
                  </a:cubicBezTo>
                  <a:cubicBezTo>
                    <a:pt x="2088426" y="1847189"/>
                    <a:pt x="2061629" y="1952644"/>
                    <a:pt x="2034834" y="2051617"/>
                  </a:cubicBezTo>
                  <a:cubicBezTo>
                    <a:pt x="1957904" y="2330380"/>
                    <a:pt x="1877515" y="2619518"/>
                    <a:pt x="1854176" y="2906493"/>
                  </a:cubicBezTo>
                  <a:cubicBezTo>
                    <a:pt x="1830839" y="3228475"/>
                    <a:pt x="1877515" y="3575525"/>
                    <a:pt x="1998098" y="3996913"/>
                  </a:cubicBezTo>
                  <a:cubicBezTo>
                    <a:pt x="2192151" y="4670269"/>
                    <a:pt x="2476966" y="5180255"/>
                    <a:pt x="2888413" y="5601642"/>
                  </a:cubicBezTo>
                  <a:cubicBezTo>
                    <a:pt x="2995596" y="5710987"/>
                    <a:pt x="3112721" y="5814281"/>
                    <a:pt x="3239786" y="5915414"/>
                  </a:cubicBezTo>
                  <a:cubicBezTo>
                    <a:pt x="3614496" y="6212762"/>
                    <a:pt x="4099847" y="6489365"/>
                    <a:pt x="4765854" y="6791034"/>
                  </a:cubicBezTo>
                  <a:cubicBezTo>
                    <a:pt x="4815125" y="6813509"/>
                    <a:pt x="4865259" y="6835982"/>
                    <a:pt x="4915393" y="6858024"/>
                  </a:cubicBezTo>
                  <a:lnTo>
                    <a:pt x="4892055" y="6858024"/>
                  </a:lnTo>
                  <a:cubicBezTo>
                    <a:pt x="4846243" y="6838144"/>
                    <a:pt x="4800862" y="6817831"/>
                    <a:pt x="4755482" y="6797517"/>
                  </a:cubicBezTo>
                  <a:cubicBezTo>
                    <a:pt x="4089474" y="6498009"/>
                    <a:pt x="3604123" y="6219244"/>
                    <a:pt x="3225955" y="5919736"/>
                  </a:cubicBezTo>
                  <a:cubicBezTo>
                    <a:pt x="3098891" y="5820332"/>
                    <a:pt x="2981766" y="5714876"/>
                    <a:pt x="2878041" y="5607693"/>
                  </a:cubicBezTo>
                  <a:cubicBezTo>
                    <a:pt x="2463136" y="5182416"/>
                    <a:pt x="2178753" y="4672429"/>
                    <a:pt x="1984699" y="3999074"/>
                  </a:cubicBezTo>
                  <a:cubicBezTo>
                    <a:pt x="1864118" y="3575525"/>
                    <a:pt x="1817441" y="3228475"/>
                    <a:pt x="1840778" y="2906493"/>
                  </a:cubicBezTo>
                  <a:cubicBezTo>
                    <a:pt x="1864118" y="2617356"/>
                    <a:pt x="1941048" y="2330380"/>
                    <a:pt x="2017978" y="2051617"/>
                  </a:cubicBezTo>
                  <a:cubicBezTo>
                    <a:pt x="2048231" y="1950484"/>
                    <a:pt x="2075028" y="1847189"/>
                    <a:pt x="2101823" y="1743896"/>
                  </a:cubicBezTo>
                  <a:cubicBezTo>
                    <a:pt x="2248768" y="1155250"/>
                    <a:pt x="2298903" y="568766"/>
                    <a:pt x="2252226" y="865"/>
                  </a:cubicBezTo>
                  <a:close/>
                  <a:moveTo>
                    <a:pt x="2105282" y="865"/>
                  </a:moveTo>
                  <a:lnTo>
                    <a:pt x="2122137" y="865"/>
                  </a:lnTo>
                  <a:cubicBezTo>
                    <a:pt x="2168812" y="581299"/>
                    <a:pt x="2122137" y="1180317"/>
                    <a:pt x="1974759" y="1783225"/>
                  </a:cubicBezTo>
                  <a:cubicBezTo>
                    <a:pt x="1947963" y="1884358"/>
                    <a:pt x="1921168" y="1987652"/>
                    <a:pt x="1894371" y="2086624"/>
                  </a:cubicBezTo>
                  <a:cubicBezTo>
                    <a:pt x="1820899" y="2367549"/>
                    <a:pt x="1743537" y="2658415"/>
                    <a:pt x="1723655" y="2949711"/>
                  </a:cubicBezTo>
                  <a:cubicBezTo>
                    <a:pt x="1699884" y="3273856"/>
                    <a:pt x="1746993" y="3620906"/>
                    <a:pt x="1874058" y="4042292"/>
                  </a:cubicBezTo>
                  <a:cubicBezTo>
                    <a:pt x="2071570" y="4713055"/>
                    <a:pt x="2359410" y="5223475"/>
                    <a:pt x="2777772" y="5648752"/>
                  </a:cubicBezTo>
                  <a:cubicBezTo>
                    <a:pt x="2881497" y="5756367"/>
                    <a:pt x="3002080" y="5859661"/>
                    <a:pt x="3129144" y="5960794"/>
                  </a:cubicBezTo>
                  <a:cubicBezTo>
                    <a:pt x="3507312" y="6253820"/>
                    <a:pt x="3992231" y="6532584"/>
                    <a:pt x="4661697" y="6834254"/>
                  </a:cubicBezTo>
                  <a:cubicBezTo>
                    <a:pt x="4678984" y="6842033"/>
                    <a:pt x="4695840" y="6849813"/>
                    <a:pt x="4712694" y="6858024"/>
                  </a:cubicBezTo>
                  <a:lnTo>
                    <a:pt x="4691518" y="6858024"/>
                  </a:lnTo>
                  <a:cubicBezTo>
                    <a:pt x="4678984" y="6852406"/>
                    <a:pt x="4666883" y="6846356"/>
                    <a:pt x="4654782" y="6840737"/>
                  </a:cubicBezTo>
                  <a:cubicBezTo>
                    <a:pt x="3982290" y="6539067"/>
                    <a:pt x="3493482" y="6260303"/>
                    <a:pt x="3118771" y="5965116"/>
                  </a:cubicBezTo>
                  <a:cubicBezTo>
                    <a:pt x="2988249" y="5865712"/>
                    <a:pt x="2871126" y="5760257"/>
                    <a:pt x="2763942" y="5653073"/>
                  </a:cubicBezTo>
                  <a:cubicBezTo>
                    <a:pt x="2345580" y="5227796"/>
                    <a:pt x="2058173" y="4717377"/>
                    <a:pt x="1857203" y="4042292"/>
                  </a:cubicBezTo>
                  <a:cubicBezTo>
                    <a:pt x="1733596" y="3620906"/>
                    <a:pt x="1686919" y="3273856"/>
                    <a:pt x="1706800" y="2949711"/>
                  </a:cubicBezTo>
                  <a:cubicBezTo>
                    <a:pt x="1727112" y="2658415"/>
                    <a:pt x="1807501" y="2365387"/>
                    <a:pt x="1880974" y="2084463"/>
                  </a:cubicBezTo>
                  <a:cubicBezTo>
                    <a:pt x="1907769" y="1985491"/>
                    <a:pt x="1934566" y="1882197"/>
                    <a:pt x="1961361" y="1781064"/>
                  </a:cubicBezTo>
                  <a:cubicBezTo>
                    <a:pt x="2105282" y="1178156"/>
                    <a:pt x="2155414" y="579138"/>
                    <a:pt x="2105282" y="865"/>
                  </a:cubicBezTo>
                  <a:close/>
                  <a:moveTo>
                    <a:pt x="1957472" y="865"/>
                  </a:moveTo>
                  <a:lnTo>
                    <a:pt x="1974327" y="865"/>
                  </a:lnTo>
                  <a:cubicBezTo>
                    <a:pt x="2024460" y="591240"/>
                    <a:pt x="1977783" y="1202791"/>
                    <a:pt x="1833865" y="1822122"/>
                  </a:cubicBezTo>
                  <a:cubicBezTo>
                    <a:pt x="1810526" y="1921094"/>
                    <a:pt x="1783730" y="2022227"/>
                    <a:pt x="1756935" y="2119471"/>
                  </a:cubicBezTo>
                  <a:cubicBezTo>
                    <a:pt x="1683462" y="2404286"/>
                    <a:pt x="1606530" y="2697743"/>
                    <a:pt x="1589675" y="2992931"/>
                  </a:cubicBezTo>
                  <a:cubicBezTo>
                    <a:pt x="1569795" y="3313185"/>
                    <a:pt x="1619928" y="3670607"/>
                    <a:pt x="1746993" y="4085512"/>
                  </a:cubicBezTo>
                  <a:cubicBezTo>
                    <a:pt x="1951420" y="4758435"/>
                    <a:pt x="2242284" y="5268854"/>
                    <a:pt x="2664105" y="5694131"/>
                  </a:cubicBezTo>
                  <a:cubicBezTo>
                    <a:pt x="2771288" y="5801747"/>
                    <a:pt x="2891871" y="5905041"/>
                    <a:pt x="3018935" y="6006174"/>
                  </a:cubicBezTo>
                  <a:cubicBezTo>
                    <a:pt x="3388459" y="6290989"/>
                    <a:pt x="3863871" y="6561973"/>
                    <a:pt x="4516912" y="6858024"/>
                  </a:cubicBezTo>
                  <a:lnTo>
                    <a:pt x="4491845" y="6858024"/>
                  </a:lnTo>
                  <a:cubicBezTo>
                    <a:pt x="3844854" y="6564998"/>
                    <a:pt x="3375061" y="6294446"/>
                    <a:pt x="3008562" y="6010496"/>
                  </a:cubicBezTo>
                  <a:cubicBezTo>
                    <a:pt x="2878041" y="5911092"/>
                    <a:pt x="2760917" y="5805637"/>
                    <a:pt x="2653732" y="5698453"/>
                  </a:cubicBezTo>
                  <a:cubicBezTo>
                    <a:pt x="2228887" y="5273176"/>
                    <a:pt x="1937590" y="4761029"/>
                    <a:pt x="1733596" y="4087673"/>
                  </a:cubicBezTo>
                  <a:cubicBezTo>
                    <a:pt x="1606530" y="3672769"/>
                    <a:pt x="1556397" y="3313617"/>
                    <a:pt x="1576277" y="2993363"/>
                  </a:cubicBezTo>
                  <a:cubicBezTo>
                    <a:pt x="1593132" y="2698176"/>
                    <a:pt x="1670063" y="2402556"/>
                    <a:pt x="1743537" y="2117741"/>
                  </a:cubicBezTo>
                  <a:cubicBezTo>
                    <a:pt x="1770332" y="2020499"/>
                    <a:pt x="1793670" y="1919366"/>
                    <a:pt x="1817009" y="1820394"/>
                  </a:cubicBezTo>
                  <a:cubicBezTo>
                    <a:pt x="1963953" y="1202791"/>
                    <a:pt x="2011063" y="589510"/>
                    <a:pt x="1957472" y="865"/>
                  </a:cubicBezTo>
                  <a:close/>
                  <a:moveTo>
                    <a:pt x="1813983" y="865"/>
                  </a:moveTo>
                  <a:lnTo>
                    <a:pt x="1827381" y="865"/>
                  </a:lnTo>
                  <a:cubicBezTo>
                    <a:pt x="1884431" y="601612"/>
                    <a:pt x="1837754" y="1227426"/>
                    <a:pt x="1690376" y="1861452"/>
                  </a:cubicBezTo>
                  <a:cubicBezTo>
                    <a:pt x="1670063" y="1958695"/>
                    <a:pt x="1643267" y="2057667"/>
                    <a:pt x="1619928" y="2152749"/>
                  </a:cubicBezTo>
                  <a:cubicBezTo>
                    <a:pt x="1546455" y="2439725"/>
                    <a:pt x="1472983" y="2739234"/>
                    <a:pt x="1456128" y="3034421"/>
                  </a:cubicBezTo>
                  <a:cubicBezTo>
                    <a:pt x="1439272" y="3358565"/>
                    <a:pt x="1492863" y="3715988"/>
                    <a:pt x="1619928" y="4130892"/>
                  </a:cubicBezTo>
                  <a:cubicBezTo>
                    <a:pt x="1827381" y="4803816"/>
                    <a:pt x="2125161" y="5314234"/>
                    <a:pt x="2553464" y="5739511"/>
                  </a:cubicBezTo>
                  <a:cubicBezTo>
                    <a:pt x="2660648" y="5847127"/>
                    <a:pt x="2781230" y="5950421"/>
                    <a:pt x="2911750" y="6051554"/>
                  </a:cubicBezTo>
                  <a:cubicBezTo>
                    <a:pt x="3259665" y="6319945"/>
                    <a:pt x="3708281" y="6577532"/>
                    <a:pt x="4316807" y="6857592"/>
                  </a:cubicBezTo>
                  <a:lnTo>
                    <a:pt x="4293901" y="6857592"/>
                  </a:lnTo>
                  <a:cubicBezTo>
                    <a:pt x="3694452" y="6580125"/>
                    <a:pt x="3246700" y="6324267"/>
                    <a:pt x="2898352" y="6055876"/>
                  </a:cubicBezTo>
                  <a:cubicBezTo>
                    <a:pt x="2770856" y="5956471"/>
                    <a:pt x="2647250" y="5851017"/>
                    <a:pt x="2540066" y="5743834"/>
                  </a:cubicBezTo>
                  <a:cubicBezTo>
                    <a:pt x="2111764" y="5318557"/>
                    <a:pt x="1813983" y="4806409"/>
                    <a:pt x="1606530" y="4133053"/>
                  </a:cubicBezTo>
                  <a:cubicBezTo>
                    <a:pt x="1479466" y="3718149"/>
                    <a:pt x="1425874" y="3358565"/>
                    <a:pt x="1442730" y="3034421"/>
                  </a:cubicBezTo>
                  <a:cubicBezTo>
                    <a:pt x="1459154" y="2737073"/>
                    <a:pt x="1533058" y="2439725"/>
                    <a:pt x="1606530" y="2150589"/>
                  </a:cubicBezTo>
                  <a:cubicBezTo>
                    <a:pt x="1630301" y="2055506"/>
                    <a:pt x="1653639" y="1956534"/>
                    <a:pt x="1676978" y="1859291"/>
                  </a:cubicBezTo>
                  <a:cubicBezTo>
                    <a:pt x="1823923" y="1225697"/>
                    <a:pt x="1867576" y="599883"/>
                    <a:pt x="1813983" y="865"/>
                  </a:cubicBezTo>
                  <a:close/>
                  <a:moveTo>
                    <a:pt x="1519660" y="865"/>
                  </a:moveTo>
                  <a:lnTo>
                    <a:pt x="1533058" y="865"/>
                  </a:lnTo>
                  <a:cubicBezTo>
                    <a:pt x="1533058" y="17288"/>
                    <a:pt x="1536516" y="35873"/>
                    <a:pt x="1536516" y="52296"/>
                  </a:cubicBezTo>
                  <a:cubicBezTo>
                    <a:pt x="1593565" y="657364"/>
                    <a:pt x="1549913" y="1291390"/>
                    <a:pt x="1409451" y="1937950"/>
                  </a:cubicBezTo>
                  <a:cubicBezTo>
                    <a:pt x="1389138" y="2030871"/>
                    <a:pt x="1365799" y="2125954"/>
                    <a:pt x="1342461" y="2218875"/>
                  </a:cubicBezTo>
                  <a:cubicBezTo>
                    <a:pt x="1275471" y="2511901"/>
                    <a:pt x="1201999" y="2817893"/>
                    <a:pt x="1188601" y="3121292"/>
                  </a:cubicBezTo>
                  <a:cubicBezTo>
                    <a:pt x="1178660" y="3447597"/>
                    <a:pt x="1235277" y="3807181"/>
                    <a:pt x="1369256" y="4222085"/>
                  </a:cubicBezTo>
                  <a:cubicBezTo>
                    <a:pt x="1586651" y="4893280"/>
                    <a:pt x="1891345" y="5405427"/>
                    <a:pt x="2329588" y="5830704"/>
                  </a:cubicBezTo>
                  <a:cubicBezTo>
                    <a:pt x="2436773" y="5938320"/>
                    <a:pt x="2560380" y="6041613"/>
                    <a:pt x="2690902" y="6140585"/>
                  </a:cubicBezTo>
                  <a:cubicBezTo>
                    <a:pt x="3009859" y="6381316"/>
                    <a:pt x="3397102" y="6607353"/>
                    <a:pt x="3923512" y="6858024"/>
                  </a:cubicBezTo>
                  <a:lnTo>
                    <a:pt x="3900606" y="6858024"/>
                  </a:lnTo>
                  <a:cubicBezTo>
                    <a:pt x="3380248" y="6609946"/>
                    <a:pt x="2996461" y="6385639"/>
                    <a:pt x="2680528" y="6147068"/>
                  </a:cubicBezTo>
                  <a:cubicBezTo>
                    <a:pt x="2550006" y="6047664"/>
                    <a:pt x="2426399" y="5942210"/>
                    <a:pt x="2315758" y="5835026"/>
                  </a:cubicBezTo>
                  <a:cubicBezTo>
                    <a:pt x="1877515" y="5409749"/>
                    <a:pt x="1572820" y="4895440"/>
                    <a:pt x="1355426" y="4222085"/>
                  </a:cubicBezTo>
                  <a:cubicBezTo>
                    <a:pt x="1221447" y="3808910"/>
                    <a:pt x="1161372" y="3447597"/>
                    <a:pt x="1174770" y="3121292"/>
                  </a:cubicBezTo>
                  <a:cubicBezTo>
                    <a:pt x="1188168" y="2817893"/>
                    <a:pt x="1258617" y="2511901"/>
                    <a:pt x="1329063" y="2216714"/>
                  </a:cubicBezTo>
                  <a:cubicBezTo>
                    <a:pt x="1352401" y="2125954"/>
                    <a:pt x="1372715" y="2030871"/>
                    <a:pt x="1396053" y="1937950"/>
                  </a:cubicBezTo>
                  <a:cubicBezTo>
                    <a:pt x="1536516" y="1291390"/>
                    <a:pt x="1580167" y="657364"/>
                    <a:pt x="1523118" y="52296"/>
                  </a:cubicBezTo>
                  <a:cubicBezTo>
                    <a:pt x="1523118" y="35873"/>
                    <a:pt x="1519660" y="17288"/>
                    <a:pt x="1519660" y="865"/>
                  </a:cubicBezTo>
                  <a:close/>
                  <a:moveTo>
                    <a:pt x="927556" y="865"/>
                  </a:moveTo>
                  <a:lnTo>
                    <a:pt x="940955" y="865"/>
                  </a:lnTo>
                  <a:cubicBezTo>
                    <a:pt x="950895" y="58347"/>
                    <a:pt x="957379" y="118421"/>
                    <a:pt x="960836" y="182386"/>
                  </a:cubicBezTo>
                  <a:cubicBezTo>
                    <a:pt x="1010970" y="785294"/>
                    <a:pt x="970777" y="1429692"/>
                    <a:pt x="843711" y="2092675"/>
                  </a:cubicBezTo>
                  <a:cubicBezTo>
                    <a:pt x="826856" y="2177384"/>
                    <a:pt x="810000" y="2264255"/>
                    <a:pt x="790119" y="2346804"/>
                  </a:cubicBezTo>
                  <a:cubicBezTo>
                    <a:pt x="726587" y="2656253"/>
                    <a:pt x="659598" y="2974346"/>
                    <a:pt x="656141" y="3292440"/>
                  </a:cubicBezTo>
                  <a:cubicBezTo>
                    <a:pt x="652683" y="3624796"/>
                    <a:pt x="723130" y="3988269"/>
                    <a:pt x="863592" y="4401445"/>
                  </a:cubicBezTo>
                  <a:cubicBezTo>
                    <a:pt x="1097840" y="5072639"/>
                    <a:pt x="1422417" y="5584786"/>
                    <a:pt x="1877515" y="6012225"/>
                  </a:cubicBezTo>
                  <a:cubicBezTo>
                    <a:pt x="1991181" y="6119841"/>
                    <a:pt x="2118679" y="6223134"/>
                    <a:pt x="2255684" y="6322107"/>
                  </a:cubicBezTo>
                  <a:cubicBezTo>
                    <a:pt x="2527965" y="6522644"/>
                    <a:pt x="2838710" y="6698979"/>
                    <a:pt x="3150753" y="6858024"/>
                  </a:cubicBezTo>
                  <a:lnTo>
                    <a:pt x="3127414" y="6858024"/>
                  </a:lnTo>
                  <a:cubicBezTo>
                    <a:pt x="2819694" y="6700707"/>
                    <a:pt x="2514135" y="6525237"/>
                    <a:pt x="2242284" y="6328590"/>
                  </a:cubicBezTo>
                  <a:cubicBezTo>
                    <a:pt x="2108737" y="6229185"/>
                    <a:pt x="1981241" y="6123730"/>
                    <a:pt x="1867576" y="6016547"/>
                  </a:cubicBezTo>
                  <a:cubicBezTo>
                    <a:pt x="1409019" y="5589109"/>
                    <a:pt x="1084443" y="5074800"/>
                    <a:pt x="850194" y="4401445"/>
                  </a:cubicBezTo>
                  <a:cubicBezTo>
                    <a:pt x="706275" y="3990430"/>
                    <a:pt x="639285" y="3626957"/>
                    <a:pt x="642743" y="3292440"/>
                  </a:cubicBezTo>
                  <a:cubicBezTo>
                    <a:pt x="646200" y="2974346"/>
                    <a:pt x="713190" y="2654525"/>
                    <a:pt x="776722" y="2344643"/>
                  </a:cubicBezTo>
                  <a:cubicBezTo>
                    <a:pt x="793577" y="2262094"/>
                    <a:pt x="813457" y="2177384"/>
                    <a:pt x="830313" y="2092675"/>
                  </a:cubicBezTo>
                  <a:cubicBezTo>
                    <a:pt x="957379" y="1429692"/>
                    <a:pt x="997572" y="785294"/>
                    <a:pt x="947438" y="182386"/>
                  </a:cubicBezTo>
                  <a:cubicBezTo>
                    <a:pt x="944413" y="118421"/>
                    <a:pt x="937497" y="58779"/>
                    <a:pt x="927556" y="865"/>
                  </a:cubicBezTo>
                  <a:close/>
                  <a:moveTo>
                    <a:pt x="482400" y="865"/>
                  </a:moveTo>
                  <a:lnTo>
                    <a:pt x="495797" y="865"/>
                  </a:lnTo>
                  <a:cubicBezTo>
                    <a:pt x="515678" y="98108"/>
                    <a:pt x="522593" y="192758"/>
                    <a:pt x="529076" y="279629"/>
                  </a:cubicBezTo>
                  <a:cubicBezTo>
                    <a:pt x="575753" y="882536"/>
                    <a:pt x="539016" y="1531258"/>
                    <a:pt x="418434" y="2208502"/>
                  </a:cubicBezTo>
                  <a:cubicBezTo>
                    <a:pt x="405036" y="2286729"/>
                    <a:pt x="391639" y="2365387"/>
                    <a:pt x="374782" y="2439725"/>
                  </a:cubicBezTo>
                  <a:cubicBezTo>
                    <a:pt x="314708" y="2762141"/>
                    <a:pt x="254202" y="3092335"/>
                    <a:pt x="257659" y="3420801"/>
                  </a:cubicBezTo>
                  <a:cubicBezTo>
                    <a:pt x="261117" y="3759207"/>
                    <a:pt x="335022" y="4124842"/>
                    <a:pt x="485424" y="4535856"/>
                  </a:cubicBezTo>
                  <a:cubicBezTo>
                    <a:pt x="729612" y="5198839"/>
                    <a:pt x="1074502" y="5725249"/>
                    <a:pt x="1542998" y="6148797"/>
                  </a:cubicBezTo>
                  <a:cubicBezTo>
                    <a:pt x="1660122" y="6256413"/>
                    <a:pt x="1787188" y="6359708"/>
                    <a:pt x="1927651" y="6458678"/>
                  </a:cubicBezTo>
                  <a:cubicBezTo>
                    <a:pt x="2129916" y="6601302"/>
                    <a:pt x="2350767" y="6733553"/>
                    <a:pt x="2581556" y="6857592"/>
                  </a:cubicBezTo>
                  <a:lnTo>
                    <a:pt x="2559515" y="6857592"/>
                  </a:lnTo>
                  <a:cubicBezTo>
                    <a:pt x="2333477" y="6735282"/>
                    <a:pt x="2115653" y="6604760"/>
                    <a:pt x="1914251" y="6462569"/>
                  </a:cubicBezTo>
                  <a:cubicBezTo>
                    <a:pt x="1777246" y="6365325"/>
                    <a:pt x="1646724" y="6262032"/>
                    <a:pt x="1529600" y="6154848"/>
                  </a:cubicBezTo>
                  <a:cubicBezTo>
                    <a:pt x="1064561" y="5729571"/>
                    <a:pt x="716215" y="5201000"/>
                    <a:pt x="472026" y="4538018"/>
                  </a:cubicBezTo>
                  <a:cubicBezTo>
                    <a:pt x="321191" y="4124842"/>
                    <a:pt x="247718" y="3761368"/>
                    <a:pt x="244261" y="3420801"/>
                  </a:cubicBezTo>
                  <a:cubicBezTo>
                    <a:pt x="240804" y="3092335"/>
                    <a:pt x="301310" y="2759980"/>
                    <a:pt x="361385" y="2439725"/>
                  </a:cubicBezTo>
                  <a:cubicBezTo>
                    <a:pt x="374782" y="2363227"/>
                    <a:pt x="391639" y="2285000"/>
                    <a:pt x="405036" y="2208502"/>
                  </a:cubicBezTo>
                  <a:cubicBezTo>
                    <a:pt x="525618" y="1531258"/>
                    <a:pt x="562354" y="882536"/>
                    <a:pt x="515678" y="279629"/>
                  </a:cubicBezTo>
                  <a:cubicBezTo>
                    <a:pt x="509195" y="192758"/>
                    <a:pt x="499254" y="98108"/>
                    <a:pt x="482400" y="865"/>
                  </a:cubicBezTo>
                  <a:close/>
                  <a:moveTo>
                    <a:pt x="331564" y="865"/>
                  </a:moveTo>
                  <a:lnTo>
                    <a:pt x="344962" y="865"/>
                  </a:lnTo>
                  <a:cubicBezTo>
                    <a:pt x="368301" y="108481"/>
                    <a:pt x="378674" y="215664"/>
                    <a:pt x="385156" y="312908"/>
                  </a:cubicBezTo>
                  <a:cubicBezTo>
                    <a:pt x="431833" y="913655"/>
                    <a:pt x="395096" y="1564104"/>
                    <a:pt x="277973" y="2247832"/>
                  </a:cubicBezTo>
                  <a:cubicBezTo>
                    <a:pt x="264575" y="2322169"/>
                    <a:pt x="251175" y="2398667"/>
                    <a:pt x="237778" y="2470843"/>
                  </a:cubicBezTo>
                  <a:cubicBezTo>
                    <a:pt x="177703" y="2794987"/>
                    <a:pt x="117628" y="3131665"/>
                    <a:pt x="124111" y="3464020"/>
                  </a:cubicBezTo>
                  <a:cubicBezTo>
                    <a:pt x="131026" y="3804588"/>
                    <a:pt x="207957" y="4170222"/>
                    <a:pt x="361817" y="4579076"/>
                  </a:cubicBezTo>
                  <a:cubicBezTo>
                    <a:pt x="609463" y="5244219"/>
                    <a:pt x="957379" y="5770629"/>
                    <a:pt x="1429331" y="6194177"/>
                  </a:cubicBezTo>
                  <a:cubicBezTo>
                    <a:pt x="1546455" y="6301793"/>
                    <a:pt x="1676978" y="6405087"/>
                    <a:pt x="1817441" y="6504059"/>
                  </a:cubicBezTo>
                  <a:cubicBezTo>
                    <a:pt x="1996801" y="6628962"/>
                    <a:pt x="2191720" y="6746520"/>
                    <a:pt x="2394850" y="6857592"/>
                  </a:cubicBezTo>
                  <a:lnTo>
                    <a:pt x="2373240" y="6857592"/>
                  </a:lnTo>
                  <a:cubicBezTo>
                    <a:pt x="2173136" y="6748248"/>
                    <a:pt x="1983402" y="6632420"/>
                    <a:pt x="1807501" y="6507949"/>
                  </a:cubicBezTo>
                  <a:cubicBezTo>
                    <a:pt x="1667037" y="6410705"/>
                    <a:pt x="1536516" y="6307412"/>
                    <a:pt x="1415933" y="6200228"/>
                  </a:cubicBezTo>
                  <a:cubicBezTo>
                    <a:pt x="947438" y="5774951"/>
                    <a:pt x="596065" y="5246380"/>
                    <a:pt x="348419" y="4581237"/>
                  </a:cubicBezTo>
                  <a:cubicBezTo>
                    <a:pt x="194559" y="4170222"/>
                    <a:pt x="117197" y="3804588"/>
                    <a:pt x="110713" y="3464020"/>
                  </a:cubicBezTo>
                  <a:cubicBezTo>
                    <a:pt x="103798" y="3131665"/>
                    <a:pt x="164305" y="2794987"/>
                    <a:pt x="224380" y="2470843"/>
                  </a:cubicBezTo>
                  <a:cubicBezTo>
                    <a:pt x="237778" y="2396505"/>
                    <a:pt x="251175" y="2322169"/>
                    <a:pt x="264575" y="2247832"/>
                  </a:cubicBezTo>
                  <a:cubicBezTo>
                    <a:pt x="378240" y="1564536"/>
                    <a:pt x="415409" y="913655"/>
                    <a:pt x="371757" y="312908"/>
                  </a:cubicBezTo>
                  <a:cubicBezTo>
                    <a:pt x="364842" y="215664"/>
                    <a:pt x="354903" y="108048"/>
                    <a:pt x="331564" y="865"/>
                  </a:cubicBezTo>
                  <a:close/>
                  <a:moveTo>
                    <a:pt x="177272" y="865"/>
                  </a:moveTo>
                  <a:lnTo>
                    <a:pt x="194126" y="865"/>
                  </a:lnTo>
                  <a:cubicBezTo>
                    <a:pt x="224380" y="118421"/>
                    <a:pt x="234320" y="238571"/>
                    <a:pt x="241235" y="343594"/>
                  </a:cubicBezTo>
                  <a:cubicBezTo>
                    <a:pt x="284887" y="944340"/>
                    <a:pt x="251175" y="1599111"/>
                    <a:pt x="137509" y="2286729"/>
                  </a:cubicBezTo>
                  <a:cubicBezTo>
                    <a:pt x="124111" y="2358905"/>
                    <a:pt x="110713" y="2431513"/>
                    <a:pt x="100773" y="2501528"/>
                  </a:cubicBezTo>
                  <a:cubicBezTo>
                    <a:pt x="72248" y="2665761"/>
                    <a:pt x="42967" y="2833020"/>
                    <a:pt x="21628" y="3001305"/>
                  </a:cubicBezTo>
                  <a:lnTo>
                    <a:pt x="0" y="3220433"/>
                  </a:lnTo>
                  <a:lnTo>
                    <a:pt x="0" y="3069197"/>
                  </a:lnTo>
                  <a:lnTo>
                    <a:pt x="6448" y="3000440"/>
                  </a:lnTo>
                  <a:cubicBezTo>
                    <a:pt x="26869" y="2832156"/>
                    <a:pt x="55177" y="2664897"/>
                    <a:pt x="83485" y="2499800"/>
                  </a:cubicBezTo>
                  <a:cubicBezTo>
                    <a:pt x="96883" y="2429353"/>
                    <a:pt x="110281" y="2357177"/>
                    <a:pt x="120222" y="2285000"/>
                  </a:cubicBezTo>
                  <a:cubicBezTo>
                    <a:pt x="233888" y="1599111"/>
                    <a:pt x="271057" y="944340"/>
                    <a:pt x="227406" y="343594"/>
                  </a:cubicBezTo>
                  <a:cubicBezTo>
                    <a:pt x="220923" y="238571"/>
                    <a:pt x="210550" y="118421"/>
                    <a:pt x="177272" y="865"/>
                  </a:cubicBezTo>
                  <a:close/>
                  <a:moveTo>
                    <a:pt x="26870" y="865"/>
                  </a:moveTo>
                  <a:lnTo>
                    <a:pt x="39834" y="865"/>
                  </a:lnTo>
                  <a:cubicBezTo>
                    <a:pt x="77002" y="129226"/>
                    <a:pt x="90401" y="261045"/>
                    <a:pt x="96883" y="376872"/>
                  </a:cubicBezTo>
                  <a:cubicBezTo>
                    <a:pt x="129621" y="826136"/>
                    <a:pt x="117142" y="1307976"/>
                    <a:pt x="62180" y="1813458"/>
                  </a:cubicBezTo>
                  <a:lnTo>
                    <a:pt x="0" y="2275627"/>
                  </a:lnTo>
                  <a:lnTo>
                    <a:pt x="0" y="2177011"/>
                  </a:lnTo>
                  <a:lnTo>
                    <a:pt x="49031" y="1812364"/>
                  </a:lnTo>
                  <a:cubicBezTo>
                    <a:pt x="103933" y="1307733"/>
                    <a:pt x="116656" y="826136"/>
                    <a:pt x="83918" y="376872"/>
                  </a:cubicBezTo>
                  <a:cubicBezTo>
                    <a:pt x="77002" y="261045"/>
                    <a:pt x="63604" y="128794"/>
                    <a:pt x="26870" y="865"/>
                  </a:cubicBezTo>
                  <a:close/>
                  <a:moveTo>
                    <a:pt x="4005629" y="433"/>
                  </a:moveTo>
                  <a:lnTo>
                    <a:pt x="4019027" y="433"/>
                  </a:lnTo>
                  <a:cubicBezTo>
                    <a:pt x="4019027" y="427871"/>
                    <a:pt x="3952037" y="857469"/>
                    <a:pt x="3811575" y="1278857"/>
                  </a:cubicBezTo>
                  <a:cubicBezTo>
                    <a:pt x="3771381" y="1398574"/>
                    <a:pt x="3728163" y="1518292"/>
                    <a:pt x="3684510" y="1634119"/>
                  </a:cubicBezTo>
                  <a:cubicBezTo>
                    <a:pt x="3590725" y="1880037"/>
                    <a:pt x="3497371" y="2135894"/>
                    <a:pt x="3453720" y="2392184"/>
                  </a:cubicBezTo>
                  <a:cubicBezTo>
                    <a:pt x="3403587" y="2696014"/>
                    <a:pt x="3420441" y="3026210"/>
                    <a:pt x="3510769" y="3457970"/>
                  </a:cubicBezTo>
                  <a:cubicBezTo>
                    <a:pt x="3651231" y="4141265"/>
                    <a:pt x="3875539" y="4632667"/>
                    <a:pt x="4236852" y="5056216"/>
                  </a:cubicBezTo>
                  <a:cubicBezTo>
                    <a:pt x="4330638" y="5163400"/>
                    <a:pt x="4434363" y="5271016"/>
                    <a:pt x="4551488" y="5372149"/>
                  </a:cubicBezTo>
                  <a:cubicBezTo>
                    <a:pt x="4905886" y="5688081"/>
                    <a:pt x="5387779" y="5987589"/>
                    <a:pt x="5980314" y="6258142"/>
                  </a:cubicBezTo>
                  <a:cubicBezTo>
                    <a:pt x="6124234" y="6326428"/>
                    <a:pt x="6271611" y="6390393"/>
                    <a:pt x="6422015" y="6447010"/>
                  </a:cubicBezTo>
                  <a:cubicBezTo>
                    <a:pt x="6815309" y="6605192"/>
                    <a:pt x="7230213" y="6742197"/>
                    <a:pt x="7663269" y="6856728"/>
                  </a:cubicBezTo>
                  <a:lnTo>
                    <a:pt x="7626102" y="6856728"/>
                  </a:lnTo>
                  <a:cubicBezTo>
                    <a:pt x="7206443" y="6743925"/>
                    <a:pt x="6799319" y="6607785"/>
                    <a:pt x="6415531" y="6455654"/>
                  </a:cubicBezTo>
                  <a:cubicBezTo>
                    <a:pt x="6264696" y="6395579"/>
                    <a:pt x="6114294" y="6331615"/>
                    <a:pt x="5970373" y="6265489"/>
                  </a:cubicBezTo>
                  <a:cubicBezTo>
                    <a:pt x="5378271" y="5993208"/>
                    <a:pt x="4896376" y="5693699"/>
                    <a:pt x="4538090" y="5375605"/>
                  </a:cubicBezTo>
                  <a:cubicBezTo>
                    <a:pt x="4424423" y="5274473"/>
                    <a:pt x="4317239" y="5166857"/>
                    <a:pt x="4223454" y="5059673"/>
                  </a:cubicBezTo>
                  <a:cubicBezTo>
                    <a:pt x="3862141" y="4636558"/>
                    <a:pt x="3637833" y="4142994"/>
                    <a:pt x="3497371" y="3459266"/>
                  </a:cubicBezTo>
                  <a:cubicBezTo>
                    <a:pt x="3407043" y="3025778"/>
                    <a:pt x="3390188" y="2695150"/>
                    <a:pt x="3440323" y="2391752"/>
                  </a:cubicBezTo>
                  <a:cubicBezTo>
                    <a:pt x="3483541" y="2133734"/>
                    <a:pt x="3577327" y="1877875"/>
                    <a:pt x="3671113" y="1631957"/>
                  </a:cubicBezTo>
                  <a:cubicBezTo>
                    <a:pt x="3714332" y="1516131"/>
                    <a:pt x="3757983" y="1396413"/>
                    <a:pt x="3798177" y="1276696"/>
                  </a:cubicBezTo>
                  <a:cubicBezTo>
                    <a:pt x="3935182" y="855309"/>
                    <a:pt x="4005629" y="427871"/>
                    <a:pt x="4005629" y="433"/>
                  </a:cubicBezTo>
                  <a:close/>
                  <a:moveTo>
                    <a:pt x="1372282" y="433"/>
                  </a:moveTo>
                  <a:lnTo>
                    <a:pt x="1385681" y="433"/>
                  </a:lnTo>
                  <a:cubicBezTo>
                    <a:pt x="1388705" y="29390"/>
                    <a:pt x="1392163" y="56185"/>
                    <a:pt x="1392163" y="85142"/>
                  </a:cubicBezTo>
                  <a:cubicBezTo>
                    <a:pt x="1449213" y="690212"/>
                    <a:pt x="1405561" y="1326398"/>
                    <a:pt x="1268556" y="1976847"/>
                  </a:cubicBezTo>
                  <a:cubicBezTo>
                    <a:pt x="1248676" y="2068040"/>
                    <a:pt x="1224905" y="2160961"/>
                    <a:pt x="1205024" y="2251722"/>
                  </a:cubicBezTo>
                  <a:cubicBezTo>
                    <a:pt x="1138035" y="2549069"/>
                    <a:pt x="1067586" y="2856790"/>
                    <a:pt x="1057646" y="3164511"/>
                  </a:cubicBezTo>
                  <a:cubicBezTo>
                    <a:pt x="1047707" y="3492977"/>
                    <a:pt x="1107781" y="3852129"/>
                    <a:pt x="1241760" y="4265304"/>
                  </a:cubicBezTo>
                  <a:cubicBezTo>
                    <a:pt x="1462611" y="4938660"/>
                    <a:pt x="1773790" y="5450807"/>
                    <a:pt x="2215489" y="5876084"/>
                  </a:cubicBezTo>
                  <a:cubicBezTo>
                    <a:pt x="2326131" y="5983700"/>
                    <a:pt x="2449738" y="6086993"/>
                    <a:pt x="2583717" y="6185966"/>
                  </a:cubicBezTo>
                  <a:cubicBezTo>
                    <a:pt x="2932929" y="6448307"/>
                    <a:pt x="3348266" y="6672614"/>
                    <a:pt x="3730323" y="6858024"/>
                  </a:cubicBezTo>
                  <a:lnTo>
                    <a:pt x="3705687" y="6858024"/>
                  </a:lnTo>
                  <a:cubicBezTo>
                    <a:pt x="3326224" y="6674774"/>
                    <a:pt x="2918666" y="6452629"/>
                    <a:pt x="2570320" y="6192449"/>
                  </a:cubicBezTo>
                  <a:cubicBezTo>
                    <a:pt x="2439797" y="6093044"/>
                    <a:pt x="2315758" y="5987589"/>
                    <a:pt x="2202091" y="5880407"/>
                  </a:cubicBezTo>
                  <a:cubicBezTo>
                    <a:pt x="1760392" y="5452968"/>
                    <a:pt x="1449213" y="4940821"/>
                    <a:pt x="1228362" y="4267466"/>
                  </a:cubicBezTo>
                  <a:cubicBezTo>
                    <a:pt x="1094384" y="3854289"/>
                    <a:pt x="1030850" y="3492977"/>
                    <a:pt x="1040791" y="3164511"/>
                  </a:cubicBezTo>
                  <a:cubicBezTo>
                    <a:pt x="1051163" y="2856790"/>
                    <a:pt x="1124636" y="2547341"/>
                    <a:pt x="1191627" y="2249561"/>
                  </a:cubicBezTo>
                  <a:cubicBezTo>
                    <a:pt x="1211507" y="2160529"/>
                    <a:pt x="1234846" y="2067608"/>
                    <a:pt x="1251701" y="1974686"/>
                  </a:cubicBezTo>
                  <a:cubicBezTo>
                    <a:pt x="1392163" y="1326398"/>
                    <a:pt x="1432357" y="690212"/>
                    <a:pt x="1378765" y="85142"/>
                  </a:cubicBezTo>
                  <a:cubicBezTo>
                    <a:pt x="1375740" y="56185"/>
                    <a:pt x="1375740" y="29390"/>
                    <a:pt x="1372282" y="433"/>
                  </a:cubicBezTo>
                  <a:close/>
                  <a:moveTo>
                    <a:pt x="1225337" y="433"/>
                  </a:moveTo>
                  <a:lnTo>
                    <a:pt x="1238734" y="433"/>
                  </a:lnTo>
                  <a:cubicBezTo>
                    <a:pt x="1242193" y="39762"/>
                    <a:pt x="1245218" y="79091"/>
                    <a:pt x="1248676" y="116260"/>
                  </a:cubicBezTo>
                  <a:cubicBezTo>
                    <a:pt x="1302267" y="721330"/>
                    <a:pt x="1262074" y="1361405"/>
                    <a:pt x="1125069" y="2016176"/>
                  </a:cubicBezTo>
                  <a:cubicBezTo>
                    <a:pt x="1108213" y="2104776"/>
                    <a:pt x="1087900" y="2195536"/>
                    <a:pt x="1068020" y="2282407"/>
                  </a:cubicBezTo>
                  <a:cubicBezTo>
                    <a:pt x="1001030" y="2584077"/>
                    <a:pt x="930581" y="2895687"/>
                    <a:pt x="924099" y="3207730"/>
                  </a:cubicBezTo>
                  <a:cubicBezTo>
                    <a:pt x="914159" y="3536196"/>
                    <a:pt x="977691" y="3897509"/>
                    <a:pt x="1118153" y="4310684"/>
                  </a:cubicBezTo>
                  <a:cubicBezTo>
                    <a:pt x="1342029" y="4984040"/>
                    <a:pt x="1656665" y="5494027"/>
                    <a:pt x="2101823" y="5921465"/>
                  </a:cubicBezTo>
                  <a:cubicBezTo>
                    <a:pt x="2215489" y="6029081"/>
                    <a:pt x="2339096" y="6132374"/>
                    <a:pt x="2473076" y="6231346"/>
                  </a:cubicBezTo>
                  <a:cubicBezTo>
                    <a:pt x="2797651" y="6471212"/>
                    <a:pt x="3177981" y="6680826"/>
                    <a:pt x="3536701" y="6857592"/>
                  </a:cubicBezTo>
                  <a:lnTo>
                    <a:pt x="3511634" y="6857592"/>
                  </a:lnTo>
                  <a:cubicBezTo>
                    <a:pt x="3155507" y="6682554"/>
                    <a:pt x="2781230" y="6475103"/>
                    <a:pt x="2463136" y="6237397"/>
                  </a:cubicBezTo>
                  <a:cubicBezTo>
                    <a:pt x="2329588" y="6137993"/>
                    <a:pt x="2202524" y="6032537"/>
                    <a:pt x="2091882" y="5925354"/>
                  </a:cubicBezTo>
                  <a:cubicBezTo>
                    <a:pt x="1643267" y="5497916"/>
                    <a:pt x="1329063" y="4985769"/>
                    <a:pt x="1101298" y="4312414"/>
                  </a:cubicBezTo>
                  <a:cubicBezTo>
                    <a:pt x="964293" y="3899238"/>
                    <a:pt x="900761" y="3536196"/>
                    <a:pt x="910701" y="3205569"/>
                  </a:cubicBezTo>
                  <a:cubicBezTo>
                    <a:pt x="917616" y="2895687"/>
                    <a:pt x="987631" y="2584077"/>
                    <a:pt x="1054621" y="2282407"/>
                  </a:cubicBezTo>
                  <a:cubicBezTo>
                    <a:pt x="1074934" y="2193807"/>
                    <a:pt x="1094815" y="2102616"/>
                    <a:pt x="1111671" y="2014016"/>
                  </a:cubicBezTo>
                  <a:cubicBezTo>
                    <a:pt x="1245218" y="1359677"/>
                    <a:pt x="1288869" y="721330"/>
                    <a:pt x="1235277" y="116260"/>
                  </a:cubicBezTo>
                  <a:cubicBezTo>
                    <a:pt x="1231819" y="79091"/>
                    <a:pt x="1228794" y="39762"/>
                    <a:pt x="1225337" y="433"/>
                  </a:cubicBezTo>
                  <a:close/>
                  <a:moveTo>
                    <a:pt x="1074069" y="433"/>
                  </a:moveTo>
                  <a:lnTo>
                    <a:pt x="1090925" y="433"/>
                  </a:lnTo>
                  <a:cubicBezTo>
                    <a:pt x="1097840" y="47974"/>
                    <a:pt x="1100866" y="97676"/>
                    <a:pt x="1104323" y="149107"/>
                  </a:cubicBezTo>
                  <a:cubicBezTo>
                    <a:pt x="1157916" y="754176"/>
                    <a:pt x="1117721" y="1394685"/>
                    <a:pt x="983741" y="2053345"/>
                  </a:cubicBezTo>
                  <a:cubicBezTo>
                    <a:pt x="966887" y="2142376"/>
                    <a:pt x="947006" y="2228815"/>
                    <a:pt x="930150" y="2315686"/>
                  </a:cubicBezTo>
                  <a:cubicBezTo>
                    <a:pt x="863160" y="2619518"/>
                    <a:pt x="796170" y="2935449"/>
                    <a:pt x="789687" y="3249221"/>
                  </a:cubicBezTo>
                  <a:cubicBezTo>
                    <a:pt x="783204" y="3581576"/>
                    <a:pt x="850194" y="3942889"/>
                    <a:pt x="990657" y="4356065"/>
                  </a:cubicBezTo>
                  <a:cubicBezTo>
                    <a:pt x="1221880" y="5027259"/>
                    <a:pt x="1539540" y="5539406"/>
                    <a:pt x="1991614" y="5966845"/>
                  </a:cubicBezTo>
                  <a:cubicBezTo>
                    <a:pt x="2105282" y="6074461"/>
                    <a:pt x="2228887" y="6177754"/>
                    <a:pt x="2362867" y="6276726"/>
                  </a:cubicBezTo>
                  <a:cubicBezTo>
                    <a:pt x="2662808" y="6496280"/>
                    <a:pt x="3004672" y="6688605"/>
                    <a:pt x="3342214" y="6858024"/>
                  </a:cubicBezTo>
                  <a:lnTo>
                    <a:pt x="3320605" y="6858024"/>
                  </a:lnTo>
                  <a:cubicBezTo>
                    <a:pt x="2985657" y="6690766"/>
                    <a:pt x="2649843" y="6500602"/>
                    <a:pt x="2352927" y="6283209"/>
                  </a:cubicBezTo>
                  <a:cubicBezTo>
                    <a:pt x="2219381" y="6183805"/>
                    <a:pt x="2091882" y="6078350"/>
                    <a:pt x="1978216" y="5971166"/>
                  </a:cubicBezTo>
                  <a:cubicBezTo>
                    <a:pt x="1526575" y="5543729"/>
                    <a:pt x="1208483" y="5031581"/>
                    <a:pt x="977691" y="4358225"/>
                  </a:cubicBezTo>
                  <a:cubicBezTo>
                    <a:pt x="836797" y="3945050"/>
                    <a:pt x="770240" y="3581576"/>
                    <a:pt x="776722" y="3249221"/>
                  </a:cubicBezTo>
                  <a:cubicBezTo>
                    <a:pt x="783204" y="2935449"/>
                    <a:pt x="850194" y="2619518"/>
                    <a:pt x="913294" y="2313525"/>
                  </a:cubicBezTo>
                  <a:cubicBezTo>
                    <a:pt x="933608" y="2228815"/>
                    <a:pt x="953489" y="2140216"/>
                    <a:pt x="970344" y="2053345"/>
                  </a:cubicBezTo>
                  <a:cubicBezTo>
                    <a:pt x="1100866" y="1394253"/>
                    <a:pt x="1141060" y="754176"/>
                    <a:pt x="1090925" y="149107"/>
                  </a:cubicBezTo>
                  <a:cubicBezTo>
                    <a:pt x="1087468" y="97676"/>
                    <a:pt x="1080552" y="47974"/>
                    <a:pt x="1074069" y="433"/>
                  </a:cubicBezTo>
                  <a:close/>
                  <a:moveTo>
                    <a:pt x="780179" y="433"/>
                  </a:moveTo>
                  <a:lnTo>
                    <a:pt x="793577" y="433"/>
                  </a:lnTo>
                  <a:cubicBezTo>
                    <a:pt x="806974" y="74770"/>
                    <a:pt x="813457" y="146946"/>
                    <a:pt x="816915" y="213072"/>
                  </a:cubicBezTo>
                  <a:cubicBezTo>
                    <a:pt x="867049" y="818140"/>
                    <a:pt x="826856" y="1462539"/>
                    <a:pt x="703249" y="2131572"/>
                  </a:cubicBezTo>
                  <a:cubicBezTo>
                    <a:pt x="686393" y="2214553"/>
                    <a:pt x="669970" y="2297102"/>
                    <a:pt x="653115" y="2377489"/>
                  </a:cubicBezTo>
                  <a:cubicBezTo>
                    <a:pt x="589583" y="2691261"/>
                    <a:pt x="526050" y="3013676"/>
                    <a:pt x="522593" y="3335659"/>
                  </a:cubicBezTo>
                  <a:cubicBezTo>
                    <a:pt x="522593" y="3670175"/>
                    <a:pt x="592609" y="4033650"/>
                    <a:pt x="739985" y="4444664"/>
                  </a:cubicBezTo>
                  <a:cubicBezTo>
                    <a:pt x="977691" y="5118019"/>
                    <a:pt x="1305292" y="5630167"/>
                    <a:pt x="1767306" y="6057605"/>
                  </a:cubicBezTo>
                  <a:cubicBezTo>
                    <a:pt x="1880974" y="6165220"/>
                    <a:pt x="2008470" y="6268515"/>
                    <a:pt x="2145475" y="6367487"/>
                  </a:cubicBezTo>
                  <a:cubicBezTo>
                    <a:pt x="2395282" y="6546846"/>
                    <a:pt x="2675774" y="6709783"/>
                    <a:pt x="2960590" y="6857160"/>
                  </a:cubicBezTo>
                  <a:lnTo>
                    <a:pt x="2936818" y="6857160"/>
                  </a:lnTo>
                  <a:cubicBezTo>
                    <a:pt x="2655894" y="6711079"/>
                    <a:pt x="2379290" y="6550304"/>
                    <a:pt x="2135535" y="6373105"/>
                  </a:cubicBezTo>
                  <a:cubicBezTo>
                    <a:pt x="1998098" y="6273700"/>
                    <a:pt x="1871033" y="6168678"/>
                    <a:pt x="1753909" y="6063223"/>
                  </a:cubicBezTo>
                  <a:cubicBezTo>
                    <a:pt x="1292327" y="5634057"/>
                    <a:pt x="964293" y="5119748"/>
                    <a:pt x="726587" y="4446393"/>
                  </a:cubicBezTo>
                  <a:cubicBezTo>
                    <a:pt x="579642" y="4033218"/>
                    <a:pt x="509195" y="3669743"/>
                    <a:pt x="509195" y="3335227"/>
                  </a:cubicBezTo>
                  <a:cubicBezTo>
                    <a:pt x="512652" y="3013243"/>
                    <a:pt x="576185" y="2689099"/>
                    <a:pt x="639717" y="2377057"/>
                  </a:cubicBezTo>
                  <a:cubicBezTo>
                    <a:pt x="656141" y="2296670"/>
                    <a:pt x="672995" y="2211960"/>
                    <a:pt x="686393" y="2129411"/>
                  </a:cubicBezTo>
                  <a:cubicBezTo>
                    <a:pt x="813457" y="1462539"/>
                    <a:pt x="853652" y="818140"/>
                    <a:pt x="803517" y="215232"/>
                  </a:cubicBezTo>
                  <a:cubicBezTo>
                    <a:pt x="797035" y="146946"/>
                    <a:pt x="790119" y="74770"/>
                    <a:pt x="780179" y="433"/>
                  </a:cubicBezTo>
                  <a:close/>
                  <a:moveTo>
                    <a:pt x="628912" y="433"/>
                  </a:moveTo>
                  <a:lnTo>
                    <a:pt x="645768" y="433"/>
                  </a:lnTo>
                  <a:cubicBezTo>
                    <a:pt x="659165" y="85142"/>
                    <a:pt x="669106" y="169852"/>
                    <a:pt x="672563" y="246350"/>
                  </a:cubicBezTo>
                  <a:cubicBezTo>
                    <a:pt x="719672" y="849258"/>
                    <a:pt x="682504" y="1497546"/>
                    <a:pt x="558897" y="2170901"/>
                  </a:cubicBezTo>
                  <a:cubicBezTo>
                    <a:pt x="545499" y="2249128"/>
                    <a:pt x="528644" y="2329516"/>
                    <a:pt x="515245" y="2408175"/>
                  </a:cubicBezTo>
                  <a:cubicBezTo>
                    <a:pt x="451713" y="2726268"/>
                    <a:pt x="388180" y="3052574"/>
                    <a:pt x="391639" y="3378879"/>
                  </a:cubicBezTo>
                  <a:cubicBezTo>
                    <a:pt x="391639" y="3715556"/>
                    <a:pt x="465112" y="4079029"/>
                    <a:pt x="612488" y="4490044"/>
                  </a:cubicBezTo>
                  <a:cubicBezTo>
                    <a:pt x="856678" y="5163400"/>
                    <a:pt x="1188168" y="5675547"/>
                    <a:pt x="1653207" y="6102985"/>
                  </a:cubicBezTo>
                  <a:cubicBezTo>
                    <a:pt x="1770332" y="6210601"/>
                    <a:pt x="1897829" y="6313895"/>
                    <a:pt x="2034834" y="6412867"/>
                  </a:cubicBezTo>
                  <a:cubicBezTo>
                    <a:pt x="2262167" y="6574938"/>
                    <a:pt x="2510676" y="6721884"/>
                    <a:pt x="2768696" y="6857592"/>
                  </a:cubicBezTo>
                  <a:lnTo>
                    <a:pt x="2748382" y="6857592"/>
                  </a:lnTo>
                  <a:cubicBezTo>
                    <a:pt x="2493821" y="6724045"/>
                    <a:pt x="2248768" y="6578828"/>
                    <a:pt x="2024893" y="6419349"/>
                  </a:cubicBezTo>
                  <a:cubicBezTo>
                    <a:pt x="1887456" y="6319945"/>
                    <a:pt x="1756935" y="6214923"/>
                    <a:pt x="1643267" y="6109468"/>
                  </a:cubicBezTo>
                  <a:cubicBezTo>
                    <a:pt x="1174770" y="5679869"/>
                    <a:pt x="843711" y="5165560"/>
                    <a:pt x="599091" y="4492205"/>
                  </a:cubicBezTo>
                  <a:cubicBezTo>
                    <a:pt x="451713" y="4079461"/>
                    <a:pt x="378240" y="3715988"/>
                    <a:pt x="374782" y="3379311"/>
                  </a:cubicBezTo>
                  <a:cubicBezTo>
                    <a:pt x="374782" y="3053006"/>
                    <a:pt x="438315" y="2724540"/>
                    <a:pt x="501847" y="2408607"/>
                  </a:cubicBezTo>
                  <a:cubicBezTo>
                    <a:pt x="515245" y="2330380"/>
                    <a:pt x="532101" y="2249561"/>
                    <a:pt x="545499" y="2169173"/>
                  </a:cubicBezTo>
                  <a:cubicBezTo>
                    <a:pt x="669106" y="1497978"/>
                    <a:pt x="705841" y="849258"/>
                    <a:pt x="659165" y="246350"/>
                  </a:cubicBezTo>
                  <a:cubicBezTo>
                    <a:pt x="652251" y="169852"/>
                    <a:pt x="645768" y="85142"/>
                    <a:pt x="628912" y="433"/>
                  </a:cubicBezTo>
                  <a:close/>
                  <a:moveTo>
                    <a:pt x="4150413" y="0"/>
                  </a:moveTo>
                  <a:lnTo>
                    <a:pt x="4163811" y="0"/>
                  </a:lnTo>
                  <a:cubicBezTo>
                    <a:pt x="4160354" y="414905"/>
                    <a:pt x="4089906" y="830242"/>
                    <a:pt x="3952901" y="1239096"/>
                  </a:cubicBezTo>
                  <a:cubicBezTo>
                    <a:pt x="3912708" y="1359244"/>
                    <a:pt x="3866031" y="1480691"/>
                    <a:pt x="3822380" y="1596518"/>
                  </a:cubicBezTo>
                  <a:cubicBezTo>
                    <a:pt x="3728595" y="1842004"/>
                    <a:pt x="3631783" y="2093971"/>
                    <a:pt x="3588131" y="2348100"/>
                  </a:cubicBezTo>
                  <a:cubicBezTo>
                    <a:pt x="3534540" y="2651932"/>
                    <a:pt x="3551395" y="2980397"/>
                    <a:pt x="3638265" y="3413886"/>
                  </a:cubicBezTo>
                  <a:cubicBezTo>
                    <a:pt x="3771814" y="4095452"/>
                    <a:pt x="3992663" y="4589016"/>
                    <a:pt x="4350951" y="5010403"/>
                  </a:cubicBezTo>
                  <a:cubicBezTo>
                    <a:pt x="4441278" y="5117587"/>
                    <a:pt x="4545005" y="5225203"/>
                    <a:pt x="4658670" y="5326336"/>
                  </a:cubicBezTo>
                  <a:cubicBezTo>
                    <a:pt x="5016958" y="5644429"/>
                    <a:pt x="5495395" y="5943938"/>
                    <a:pt x="6081015" y="6214491"/>
                  </a:cubicBezTo>
                  <a:cubicBezTo>
                    <a:pt x="6224935" y="6280616"/>
                    <a:pt x="6372312" y="6344581"/>
                    <a:pt x="6522715" y="6404654"/>
                  </a:cubicBezTo>
                  <a:cubicBezTo>
                    <a:pt x="6931137" y="6568024"/>
                    <a:pt x="7369379" y="6708486"/>
                    <a:pt x="7824477" y="6826042"/>
                  </a:cubicBezTo>
                  <a:cubicBezTo>
                    <a:pt x="7865969" y="6836847"/>
                    <a:pt x="7908323" y="6847220"/>
                    <a:pt x="7951543" y="6857160"/>
                  </a:cubicBezTo>
                  <a:lnTo>
                    <a:pt x="7910051" y="6857160"/>
                  </a:lnTo>
                  <a:cubicBezTo>
                    <a:pt x="7878934" y="6849381"/>
                    <a:pt x="7848248" y="6841601"/>
                    <a:pt x="7817994" y="6833822"/>
                  </a:cubicBezTo>
                  <a:cubicBezTo>
                    <a:pt x="7362897" y="6715833"/>
                    <a:pt x="6924654" y="6573210"/>
                    <a:pt x="6516232" y="6410273"/>
                  </a:cubicBezTo>
                  <a:cubicBezTo>
                    <a:pt x="6365397" y="6350198"/>
                    <a:pt x="6218452" y="6288395"/>
                    <a:pt x="6071074" y="6220110"/>
                  </a:cubicBezTo>
                  <a:cubicBezTo>
                    <a:pt x="5485455" y="5949557"/>
                    <a:pt x="5007019" y="5650480"/>
                    <a:pt x="4648731" y="5330225"/>
                  </a:cubicBezTo>
                  <a:cubicBezTo>
                    <a:pt x="4535064" y="5229092"/>
                    <a:pt x="4427881" y="5121477"/>
                    <a:pt x="4337553" y="5014293"/>
                  </a:cubicBezTo>
                  <a:cubicBezTo>
                    <a:pt x="3979698" y="4591177"/>
                    <a:pt x="3758416" y="4097614"/>
                    <a:pt x="3621411" y="3413886"/>
                  </a:cubicBezTo>
                  <a:cubicBezTo>
                    <a:pt x="3534540" y="2979965"/>
                    <a:pt x="3521142" y="2651500"/>
                    <a:pt x="3574733" y="2348100"/>
                  </a:cubicBezTo>
                  <a:cubicBezTo>
                    <a:pt x="3618386" y="2092242"/>
                    <a:pt x="3715197" y="1840274"/>
                    <a:pt x="3808982" y="1594358"/>
                  </a:cubicBezTo>
                  <a:cubicBezTo>
                    <a:pt x="3852633" y="1478530"/>
                    <a:pt x="3899309" y="1356652"/>
                    <a:pt x="3939503" y="1239096"/>
                  </a:cubicBezTo>
                  <a:cubicBezTo>
                    <a:pt x="4076940" y="830242"/>
                    <a:pt x="4146956" y="414905"/>
                    <a:pt x="4150413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35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A74B52A-F6F1-2B7D-7E22-74B2FE44AB62}"/>
                </a:ext>
              </a:extLst>
            </p:cNvPr>
            <p:cNvSpPr/>
            <p:nvPr userDrawn="1"/>
          </p:nvSpPr>
          <p:spPr>
            <a:xfrm rot="16200000">
              <a:off x="2667000" y="-2667001"/>
              <a:ext cx="6858000" cy="12192000"/>
            </a:xfrm>
            <a:prstGeom prst="rect">
              <a:avLst/>
            </a:prstGeom>
            <a:gradFill flip="none" rotWithShape="1">
              <a:gsLst>
                <a:gs pos="6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>
                <a:latin typeface="Arial" panose="020B0604020202020204" pitchFamily="34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CDE69D4-6467-5571-E2B8-871ABBB06DB8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B259BD-9D69-C891-7462-B149B66B263C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757CCD7-A737-6DB6-7C11-BCFB6D3BA214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E47C2A7F-80A4-0147-58BB-359B04207C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35246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E47C2A7F-80A4-0147-58BB-359B04207C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6374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userDrawn="1">
  <p:cSld name="1_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5F2BF0-7472-DCD0-90A9-6936E1602BD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81000">
                <a:schemeClr val="accent3"/>
              </a:gs>
              <a:gs pos="41000">
                <a:schemeClr val="tx2">
                  <a:alpha val="90000"/>
                </a:schemeClr>
              </a:gs>
              <a:gs pos="100000">
                <a:schemeClr val="accent4">
                  <a:alpha val="97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EA9CA8-4796-209C-5BCA-E0DF9973CFE0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n-US" sz="135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C48E51-5614-F41E-5FFA-45EBB46E59B4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</a:rPr>
              <a:t>©2024 Acquis Consulting Group, L.L.C.</a:t>
            </a:r>
            <a:endParaRPr lang="en-US" sz="135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C618CC-DE1B-0404-40DF-E8BF747E1918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2D34477F-8CAC-8110-3DD0-7B1C800E8779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5" y="6110829"/>
            <a:ext cx="930697" cy="38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67857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Content 1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EC7457C-2383-C995-688D-3A3E617414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536575"/>
          </a:xfrm>
          <a:prstGeom prst="rect">
            <a:avLst/>
          </a:prstGeom>
        </p:spPr>
        <p:txBody>
          <a:bodyPr/>
          <a:lstStyle>
            <a:lvl1pPr algn="ctr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99" b="1" kern="1200" cap="none" spc="300" baseline="0" dirty="0">
                <a:solidFill>
                  <a:schemeClr val="accent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D3533D-9C6B-B68F-F1DE-42B972FC424B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E841C2-A3DC-BAAC-989A-E36B93BDDDEE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©2024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DE41EB-9D1E-8255-4A90-01058F8A7BD6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D8BE3DCA-D966-1FE1-29D0-93C8EB3281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20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45424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: 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46075"/>
            <a:ext cx="11484129" cy="36344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7421998E-93D9-4887-8B1D-9350FF5E69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401295" y="6344338"/>
            <a:ext cx="4114800" cy="18288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Date Placeholder 2">
            <a:extLst>
              <a:ext uri="{FF2B5EF4-FFF2-40B4-BE49-F238E27FC236}">
                <a16:creationId xmlns:a16="http://schemas.microsoft.com/office/drawing/2014/main" id="{80702C0D-5ACA-4C98-A732-32C223F7A6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3193" y="6344338"/>
            <a:ext cx="627380" cy="182880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DBDA5F81-9A10-4E6E-9D7B-420B290FDE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57351" y="6344338"/>
            <a:ext cx="355119" cy="182880"/>
          </a:xfrm>
        </p:spPr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610278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 preserve="1" userDrawn="1">
  <p:cSld name="1_Content 1">
    <p:bg>
      <p:bgPr>
        <a:solidFill>
          <a:schemeClr val="tx2"/>
        </a:solidFill>
        <a:effectLst/>
      </p:bgPr>
    </p:bg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403BEBD-DDD5-2F1C-025A-C734B4931E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751" y="1233610"/>
            <a:ext cx="7311194" cy="3096019"/>
          </a:xfrm>
          <a:prstGeom prst="rect">
            <a:avLst/>
          </a:prstGeom>
        </p:spPr>
        <p:txBody>
          <a:bodyPr/>
          <a:lstStyle>
            <a:lvl1pPr algn="l">
              <a:defRPr sz="5400" b="1" spc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algn="ctr">
              <a:defRPr>
                <a:latin typeface="Century Gothic" panose="020B0502020202020204" pitchFamily="34" charset="0"/>
              </a:defRPr>
            </a:lvl2pPr>
            <a:lvl3pPr algn="ctr">
              <a:defRPr>
                <a:latin typeface="Century Gothic" panose="020B0502020202020204" pitchFamily="34" charset="0"/>
              </a:defRPr>
            </a:lvl3pPr>
            <a:lvl4pPr algn="ctr">
              <a:defRPr>
                <a:latin typeface="Century Gothic" panose="020B0502020202020204" pitchFamily="34" charset="0"/>
              </a:defRPr>
            </a:lvl4pPr>
            <a:lvl5pPr algn="ctr"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4AAAA159-FF0B-232C-5FF8-3DB1F5463E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751" y="5624391"/>
            <a:ext cx="1173515" cy="495697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4C8ACF8-E72F-15E4-276C-F7F72FA232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395873" y="5349605"/>
            <a:ext cx="1823753" cy="770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Insert Client Logo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E5B520-CCA6-0B71-AD70-D3DD65379671}"/>
              </a:ext>
            </a:extLst>
          </p:cNvPr>
          <p:cNvCxnSpPr>
            <a:cxnSpLocks/>
          </p:cNvCxnSpPr>
          <p:nvPr userDrawn="1"/>
        </p:nvCxnSpPr>
        <p:spPr>
          <a:xfrm>
            <a:off x="2047121" y="5349668"/>
            <a:ext cx="0" cy="7704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809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52.xml"/><Relationship Id="rId42" Type="http://schemas.openxmlformats.org/officeDocument/2006/relationships/slideLayout" Target="../slideLayouts/slideLayout60.xml"/><Relationship Id="rId47" Type="http://schemas.openxmlformats.org/officeDocument/2006/relationships/slideLayout" Target="../slideLayouts/slideLayout65.xml"/><Relationship Id="rId50" Type="http://schemas.openxmlformats.org/officeDocument/2006/relationships/slideLayout" Target="../slideLayouts/slideLayout68.xml"/><Relationship Id="rId55" Type="http://schemas.openxmlformats.org/officeDocument/2006/relationships/slideLayout" Target="../slideLayouts/slideLayout73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37" Type="http://schemas.openxmlformats.org/officeDocument/2006/relationships/slideLayout" Target="../slideLayouts/slideLayout55.xml"/><Relationship Id="rId40" Type="http://schemas.openxmlformats.org/officeDocument/2006/relationships/slideLayout" Target="../slideLayouts/slideLayout58.xml"/><Relationship Id="rId45" Type="http://schemas.openxmlformats.org/officeDocument/2006/relationships/slideLayout" Target="../slideLayouts/slideLayout63.xml"/><Relationship Id="rId53" Type="http://schemas.openxmlformats.org/officeDocument/2006/relationships/slideLayout" Target="../slideLayouts/slideLayout71.xml"/><Relationship Id="rId58" Type="http://schemas.openxmlformats.org/officeDocument/2006/relationships/oleObject" Target="../embeddings/oleObject2.bin"/><Relationship Id="rId5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slideLayout" Target="../slideLayouts/slideLayout53.xml"/><Relationship Id="rId43" Type="http://schemas.openxmlformats.org/officeDocument/2006/relationships/slideLayout" Target="../slideLayouts/slideLayout61.xml"/><Relationship Id="rId48" Type="http://schemas.openxmlformats.org/officeDocument/2006/relationships/slideLayout" Target="../slideLayouts/slideLayout66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26.xml"/><Relationship Id="rId51" Type="http://schemas.openxmlformats.org/officeDocument/2006/relationships/slideLayout" Target="../slideLayouts/slideLayout69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slideLayout" Target="../slideLayouts/slideLayout51.xml"/><Relationship Id="rId38" Type="http://schemas.openxmlformats.org/officeDocument/2006/relationships/slideLayout" Target="../slideLayouts/slideLayout56.xml"/><Relationship Id="rId46" Type="http://schemas.openxmlformats.org/officeDocument/2006/relationships/slideLayout" Target="../slideLayouts/slideLayout64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38.xml"/><Relationship Id="rId41" Type="http://schemas.openxmlformats.org/officeDocument/2006/relationships/slideLayout" Target="../slideLayouts/slideLayout59.xml"/><Relationship Id="rId54" Type="http://schemas.openxmlformats.org/officeDocument/2006/relationships/slideLayout" Target="../slideLayouts/slideLayout7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slideLayout" Target="../slideLayouts/slideLayout54.xml"/><Relationship Id="rId49" Type="http://schemas.openxmlformats.org/officeDocument/2006/relationships/slideLayout" Target="../slideLayouts/slideLayout67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28.xml"/><Relationship Id="rId31" Type="http://schemas.openxmlformats.org/officeDocument/2006/relationships/slideLayout" Target="../slideLayouts/slideLayout49.xml"/><Relationship Id="rId44" Type="http://schemas.openxmlformats.org/officeDocument/2006/relationships/slideLayout" Target="../slideLayouts/slideLayout62.xml"/><Relationship Id="rId52" Type="http://schemas.openxmlformats.org/officeDocument/2006/relationships/slideLayout" Target="../slideLayouts/slideLayout7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9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6.xml"/><Relationship Id="rId9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01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tags" Target="../tags/tag5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07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A197E84-C581-B013-5ADD-E9DA290F9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89846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10" imgH="210" progId="TCLayout.ActiveDocument.1">
                  <p:embed/>
                </p:oleObj>
              </mc:Choice>
              <mc:Fallback>
                <p:oleObj name="think-cell Slide" r:id="rId21" imgW="210" imgH="21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197E84-C581-B013-5ADD-E9DA290F9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6CFDB963-3D2B-4D74-AD29-2E8A87766EB1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323088" y="0"/>
            <a:ext cx="11868912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60532E4D-2ACD-4684-A3C3-06599CEEE4AA}"/>
              </a:ext>
            </a:extLst>
          </p:cNvPr>
          <p:cNvSpPr/>
          <p:nvPr userDrawn="1"/>
        </p:nvSpPr>
        <p:spPr>
          <a:xfrm>
            <a:off x="0" y="-2381"/>
            <a:ext cx="12192000" cy="6858000"/>
          </a:xfrm>
          <a:prstGeom prst="rect">
            <a:avLst/>
          </a:prstGeom>
          <a:gradFill flip="none" rotWithShape="1">
            <a:gsLst>
              <a:gs pos="64000">
                <a:schemeClr val="bg1">
                  <a:alpha val="92000"/>
                </a:schemeClr>
              </a:gs>
              <a:gs pos="81000">
                <a:schemeClr val="bg1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6699"/>
            <a:ext cx="11582397" cy="79284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4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800" y="5768975"/>
            <a:ext cx="11582404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96B2E1-E003-40F0-BE95-34F6DAEF84D1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8E6AB8-4165-4C5C-9D67-76EDC3769C09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89DF75B-CA9D-4CC5-954C-4BFC178B6BAA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5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0367EE0E-65E2-480C-A86A-13CD4F1280EF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1DD87DD-60F3-4310-9AE2-D4F6EF2764EF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076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  <p:sldLayoutId id="2147484170" r:id="rId12"/>
    <p:sldLayoutId id="2147484171" r:id="rId13"/>
    <p:sldLayoutId id="2147484172" r:id="rId14"/>
    <p:sldLayoutId id="2147484173" r:id="rId15"/>
    <p:sldLayoutId id="2147484174" r:id="rId16"/>
    <p:sldLayoutId id="2147484175" r:id="rId17"/>
    <p:sldLayoutId id="2147484177" r:id="rId1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88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  <p15:guide id="7" pos="96">
          <p15:clr>
            <a:srgbClr val="F26B43"/>
          </p15:clr>
        </p15:guide>
        <p15:guide id="8" pos="19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C10C55-289F-8C53-BCD7-D5B0B4BB2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174061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210" imgH="210" progId="TCLayout.ActiveDocument.1">
                  <p:embed/>
                </p:oleObj>
              </mc:Choice>
              <mc:Fallback>
                <p:oleObj name="think-cell Slide" r:id="rId58" imgW="210" imgH="21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C10C55-289F-8C53-BCD7-D5B0B4BB2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66E045B-196B-B61B-B002-3B92076639E8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996B5273-46EB-4870-A6B0-6E7F43CBD6D0}" type="slidenum">
              <a:rPr lang="en-US" sz="10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pPr algn="ctr"/>
              <a:t>‹#›</a:t>
            </a:fld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50764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8" r:id="rId2"/>
    <p:sldLayoutId id="2147483804" r:id="rId3"/>
    <p:sldLayoutId id="2147483699" r:id="rId4"/>
    <p:sldLayoutId id="2147484072" r:id="rId5"/>
    <p:sldLayoutId id="2147483691" r:id="rId6"/>
    <p:sldLayoutId id="2147483704" r:id="rId7"/>
    <p:sldLayoutId id="2147483706" r:id="rId8"/>
    <p:sldLayoutId id="2147484006" r:id="rId9"/>
    <p:sldLayoutId id="2147484007" r:id="rId10"/>
    <p:sldLayoutId id="2147484008" r:id="rId11"/>
    <p:sldLayoutId id="2147484005" r:id="rId12"/>
    <p:sldLayoutId id="2147483709" r:id="rId13"/>
    <p:sldLayoutId id="2147483911" r:id="rId14"/>
    <p:sldLayoutId id="2147483912" r:id="rId15"/>
    <p:sldLayoutId id="2147484029" r:id="rId16"/>
    <p:sldLayoutId id="2147484031" r:id="rId17"/>
    <p:sldLayoutId id="2147484032" r:id="rId18"/>
    <p:sldLayoutId id="2147484033" r:id="rId19"/>
    <p:sldLayoutId id="2147484034" r:id="rId20"/>
    <p:sldLayoutId id="2147484069" r:id="rId21"/>
    <p:sldLayoutId id="2147484035" r:id="rId22"/>
    <p:sldLayoutId id="2147484036" r:id="rId23"/>
    <p:sldLayoutId id="2147484037" r:id="rId24"/>
    <p:sldLayoutId id="2147484038" r:id="rId25"/>
    <p:sldLayoutId id="2147484039" r:id="rId26"/>
    <p:sldLayoutId id="2147484040" r:id="rId27"/>
    <p:sldLayoutId id="2147484062" r:id="rId28"/>
    <p:sldLayoutId id="2147484093" r:id="rId29"/>
    <p:sldLayoutId id="2147484094" r:id="rId30"/>
    <p:sldLayoutId id="2147484095" r:id="rId31"/>
    <p:sldLayoutId id="2147484096" r:id="rId32"/>
    <p:sldLayoutId id="2147484097" r:id="rId33"/>
    <p:sldLayoutId id="2147484098" r:id="rId34"/>
    <p:sldLayoutId id="2147484099" r:id="rId35"/>
    <p:sldLayoutId id="2147484100" r:id="rId36"/>
    <p:sldLayoutId id="2147484101" r:id="rId37"/>
    <p:sldLayoutId id="2147484102" r:id="rId38"/>
    <p:sldLayoutId id="2147484103" r:id="rId39"/>
    <p:sldLayoutId id="2147484104" r:id="rId40"/>
    <p:sldLayoutId id="2147484106" r:id="rId41"/>
    <p:sldLayoutId id="2147484107" r:id="rId42"/>
    <p:sldLayoutId id="2147484109" r:id="rId43"/>
    <p:sldLayoutId id="2147484110" r:id="rId44"/>
    <p:sldLayoutId id="2147484111" r:id="rId45"/>
    <p:sldLayoutId id="2147484112" r:id="rId46"/>
    <p:sldLayoutId id="2147484113" r:id="rId47"/>
    <p:sldLayoutId id="2147484114" r:id="rId48"/>
    <p:sldLayoutId id="2147484115" r:id="rId49"/>
    <p:sldLayoutId id="2147484116" r:id="rId50"/>
    <p:sldLayoutId id="2147484117" r:id="rId51"/>
    <p:sldLayoutId id="2147484118" r:id="rId52"/>
    <p:sldLayoutId id="2147484120" r:id="rId53"/>
    <p:sldLayoutId id="2147484121" r:id="rId54"/>
    <p:sldLayoutId id="2147484122" r:id="rId55"/>
  </p:sldLayoutIdLst>
  <p:hf hdr="0" ft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3199" b="1" kern="1200" cap="none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9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82825" indent="-182825" algn="l" defTabSz="914126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7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65650" indent="-182825" algn="l" defTabSz="914126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48475" indent="-182825" algn="l" defTabSz="914126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31301" indent="-182825" algn="l" defTabSz="914126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  <p15:guide id="8" pos="192">
          <p15:clr>
            <a:srgbClr val="F26B43"/>
          </p15:clr>
        </p15:guide>
        <p15:guide id="9" orient="horz" pos="3543">
          <p15:clr>
            <a:srgbClr val="F26B43"/>
          </p15:clr>
        </p15:guide>
        <p15:guide id="10" pos="3839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1BE53FF-9C36-DBD7-206D-1AF68566D9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12931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10" imgH="210" progId="TCLayout.ActiveDocument.1">
                  <p:embed/>
                </p:oleObj>
              </mc:Choice>
              <mc:Fallback>
                <p:oleObj name="think-cell Slide" r:id="rId22" imgW="210" imgH="21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BE53FF-9C36-DBD7-206D-1AF68566D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6CFDB963-3D2B-4D74-AD29-2E8A87766EB1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323088" y="0"/>
            <a:ext cx="11868912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60532E4D-2ACD-4684-A3C3-06599CEEE4AA}"/>
              </a:ext>
            </a:extLst>
          </p:cNvPr>
          <p:cNvSpPr/>
          <p:nvPr userDrawn="1"/>
        </p:nvSpPr>
        <p:spPr>
          <a:xfrm>
            <a:off x="0" y="-2381"/>
            <a:ext cx="12192000" cy="6858000"/>
          </a:xfrm>
          <a:prstGeom prst="rect">
            <a:avLst/>
          </a:prstGeom>
          <a:gradFill flip="none" rotWithShape="1">
            <a:gsLst>
              <a:gs pos="64000">
                <a:schemeClr val="bg1">
                  <a:alpha val="92000"/>
                </a:schemeClr>
              </a:gs>
              <a:gs pos="81000">
                <a:schemeClr val="bg1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6699"/>
            <a:ext cx="11582397" cy="79284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A8DB1-B4DD-4F3D-9CAB-994462C51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219200"/>
            <a:ext cx="11582394" cy="4412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641B0E-CDE6-4F1D-B3A5-7CEDD4AA3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800" y="5768975"/>
            <a:ext cx="11582404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96B2E1-E003-40F0-BE95-34F6DAEF84D1}"/>
              </a:ext>
            </a:extLst>
          </p:cNvPr>
          <p:cNvSpPr/>
          <p:nvPr userDrawn="1"/>
        </p:nvSpPr>
        <p:spPr>
          <a:xfrm>
            <a:off x="0" y="0"/>
            <a:ext cx="12192000" cy="5630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8E6AB8-4165-4C5C-9D67-76EDC3769C09}"/>
              </a:ext>
            </a:extLst>
          </p:cNvPr>
          <p:cNvSpPr txBox="1"/>
          <p:nvPr userDrawn="1"/>
        </p:nvSpPr>
        <p:spPr>
          <a:xfrm>
            <a:off x="11673840" y="6210300"/>
            <a:ext cx="21335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996B5273-46EB-4870-A6B0-6E7F43CBD6D0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‹#›</a:t>
            </a:fld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89DF75B-CA9D-4CC5-954C-4BFC178B6BAA}"/>
              </a:ext>
            </a:extLst>
          </p:cNvPr>
          <p:cNvSpPr txBox="1"/>
          <p:nvPr userDrawn="1"/>
        </p:nvSpPr>
        <p:spPr>
          <a:xfrm>
            <a:off x="8864495" y="6210300"/>
            <a:ext cx="2540688" cy="5715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©2025 Acquis Consulting Group, L.L.C.</a:t>
            </a:r>
            <a:endParaRPr lang="en-US" sz="135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0367EE0E-65E2-480C-A86A-13CD4F1280EF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1DD87DD-60F3-4310-9AE2-D4F6EF2764EF}"/>
              </a:ext>
            </a:extLst>
          </p:cNvPr>
          <p:cNvCxnSpPr>
            <a:cxnSpLocks/>
          </p:cNvCxnSpPr>
          <p:nvPr userDrawn="1"/>
        </p:nvCxnSpPr>
        <p:spPr>
          <a:xfrm>
            <a:off x="11539512" y="6326386"/>
            <a:ext cx="0" cy="3393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6217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123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88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  <p15:guide id="7" pos="96">
          <p15:clr>
            <a:srgbClr val="F26B43"/>
          </p15:clr>
        </p15:guide>
        <p15:guide id="8" pos="19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9F675A4-680F-C504-B8DF-321E9B93FD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82476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0" imgH="210" progId="TCLayout.ActiveDocument.1">
                  <p:embed/>
                </p:oleObj>
              </mc:Choice>
              <mc:Fallback>
                <p:oleObj name="think-cell Slide" r:id="rId9" imgW="210" imgH="21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F675A4-680F-C504-B8DF-321E9B93FD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06815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  <p:sldLayoutId id="2147484147" r:id="rId4"/>
    <p:sldLayoutId id="2147484148" r:id="rId5"/>
    <p:sldLayoutId id="2147484149" r:id="rId6"/>
  </p:sldLayoutIdLst>
  <p:hf sldNum="0"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3199" b="1" kern="1200" cap="none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9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82825" indent="-182825" algn="l" defTabSz="914126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7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65650" indent="-182825" algn="l" defTabSz="914126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48475" indent="-182825" algn="l" defTabSz="914126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31301" indent="-182825" algn="l" defTabSz="914126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  <p15:guide id="8" pos="192">
          <p15:clr>
            <a:srgbClr val="F26B43"/>
          </p15:clr>
        </p15:guide>
        <p15:guide id="9" orient="horz" pos="3543">
          <p15:clr>
            <a:srgbClr val="F26B43"/>
          </p15:clr>
        </p15:guide>
        <p15:guide id="10" pos="3839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C435F71-0499-631E-FE6C-F82E5C7F22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69355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10" imgH="210" progId="TCLayout.ActiveDocument.1">
                  <p:embed/>
                </p:oleObj>
              </mc:Choice>
              <mc:Fallback>
                <p:oleObj name="think-cell Slide" r:id="rId7" imgW="210" imgH="21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435F71-0499-631E-FE6C-F82E5C7F2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2113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  <p:sldLayoutId id="2147484152" r:id="rId2"/>
    <p:sldLayoutId id="2147484153" r:id="rId3"/>
    <p:sldLayoutId id="2147484154" r:id="rId4"/>
  </p:sldLayoutIdLst>
  <p:hf hdr="0" ftr="0"/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3198" b="1" kern="1200" cap="none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3852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99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82770" indent="-182770" algn="l" defTabSz="913852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79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65540" indent="-182770" algn="l" defTabSz="913852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48310" indent="-182770" algn="l" defTabSz="913852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31082" indent="-182770" algn="l" defTabSz="913852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3092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7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3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  <p15:guide id="8" pos="192">
          <p15:clr>
            <a:srgbClr val="F26B43"/>
          </p15:clr>
        </p15:guide>
        <p15:guide id="9" orient="horz" pos="3543">
          <p15:clr>
            <a:srgbClr val="F26B43"/>
          </p15:clr>
        </p15:guide>
        <p15:guide id="10" pos="3839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4D91F4-8431-94A0-6928-37DDF3855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03356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10" imgH="210" progId="TCLayout.ActiveDocument.1">
                  <p:embed/>
                </p:oleObj>
              </mc:Choice>
              <mc:Fallback>
                <p:oleObj name="think-cell Slide" r:id="rId12" imgW="210" imgH="21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4D91F4-8431-94A0-6928-37DDF3855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3681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0" r:id="rId1"/>
    <p:sldLayoutId id="2147484181" r:id="rId2"/>
    <p:sldLayoutId id="2147484182" r:id="rId3"/>
    <p:sldLayoutId id="2147484183" r:id="rId4"/>
    <p:sldLayoutId id="2147484184" r:id="rId5"/>
    <p:sldLayoutId id="2147484185" r:id="rId6"/>
    <p:sldLayoutId id="2147484186" r:id="rId7"/>
    <p:sldLayoutId id="2147484187" r:id="rId8"/>
    <p:sldLayoutId id="2147484188" r:id="rId9"/>
  </p:sldLayoutIdLst>
  <p:hf sldNum="0" hdr="0" ftr="0" dt="0"/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3198" b="1" kern="1200" cap="none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3852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99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82770" indent="-182770" algn="l" defTabSz="913852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79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65540" indent="-182770" algn="l" defTabSz="913852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48310" indent="-182770" algn="l" defTabSz="913852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31082" indent="-182770" algn="l" defTabSz="913852" rtl="0" eaLnBrk="1" latinLnBrk="0" hangingPunct="1">
        <a:lnSpc>
          <a:spcPct val="100000"/>
        </a:lnSpc>
        <a:spcBef>
          <a:spcPts val="6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3092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7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3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488">
          <p15:clr>
            <a:srgbClr val="F26B43"/>
          </p15:clr>
        </p15:guide>
        <p15:guide id="5" orient="horz" pos="768">
          <p15:clr>
            <a:srgbClr val="F26B43"/>
          </p15:clr>
        </p15:guide>
        <p15:guide id="6" orient="horz" pos="3864">
          <p15:clr>
            <a:srgbClr val="F26B43"/>
          </p15:clr>
        </p15:guide>
        <p15:guide id="8" pos="192">
          <p15:clr>
            <a:srgbClr val="F26B43"/>
          </p15:clr>
        </p15:guide>
        <p15:guide id="9" orient="horz" pos="3543">
          <p15:clr>
            <a:srgbClr val="F26B43"/>
          </p15:clr>
        </p15:guide>
        <p15:guide id="10" pos="3839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0.png"/><Relationship Id="rId7" Type="http://schemas.openxmlformats.org/officeDocument/2006/relationships/image" Target="../media/image34.sv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1.xml"/><Relationship Id="rId4" Type="http://schemas.openxmlformats.org/officeDocument/2006/relationships/comments" Target="../comments/commen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1.xml"/><Relationship Id="rId6" Type="http://schemas.openxmlformats.org/officeDocument/2006/relationships/comments" Target="../comments/comment2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1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1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91.xml"/><Relationship Id="rId1" Type="http://schemas.openxmlformats.org/officeDocument/2006/relationships/tags" Target="../tags/tag7.xml"/><Relationship Id="rId6" Type="http://schemas.openxmlformats.org/officeDocument/2006/relationships/image" Target="../media/image43.svg"/><Relationship Id="rId11" Type="http://schemas.openxmlformats.org/officeDocument/2006/relationships/comments" Target="../comments/comment3.xml"/><Relationship Id="rId5" Type="http://schemas.openxmlformats.org/officeDocument/2006/relationships/image" Target="../media/image42.png"/><Relationship Id="rId10" Type="http://schemas.openxmlformats.org/officeDocument/2006/relationships/image" Target="../media/image47.svg"/><Relationship Id="rId4" Type="http://schemas.openxmlformats.org/officeDocument/2006/relationships/chart" Target="../charts/chart1.xml"/><Relationship Id="rId9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8.png"/><Relationship Id="rId7" Type="http://schemas.openxmlformats.org/officeDocument/2006/relationships/image" Target="../media/image5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50.png"/><Relationship Id="rId5" Type="http://schemas.microsoft.com/office/2007/relationships/hdphoto" Target="../media/hdphoto1.wdp"/><Relationship Id="rId10" Type="http://schemas.openxmlformats.org/officeDocument/2006/relationships/comments" Target="../comments/comment4.xml"/><Relationship Id="rId4" Type="http://schemas.openxmlformats.org/officeDocument/2006/relationships/image" Target="../media/image49.png"/><Relationship Id="rId9" Type="http://schemas.openxmlformats.org/officeDocument/2006/relationships/image" Target="../media/image5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26">
            <a:extLst>
              <a:ext uri="{FF2B5EF4-FFF2-40B4-BE49-F238E27FC236}">
                <a16:creationId xmlns:a16="http://schemas.microsoft.com/office/drawing/2014/main" id="{DFC65DD3-5838-4806-9D9C-321AB63AE445}"/>
              </a:ext>
            </a:extLst>
          </p:cNvPr>
          <p:cNvSpPr/>
          <p:nvPr/>
        </p:nvSpPr>
        <p:spPr>
          <a:xfrm>
            <a:off x="8955053" y="443107"/>
            <a:ext cx="2847946" cy="3428474"/>
          </a:xfrm>
          <a:custGeom>
            <a:avLst/>
            <a:gdLst/>
            <a:ahLst/>
            <a:cxnLst/>
            <a:rect l="l" t="t" r="r" b="b"/>
            <a:pathLst>
              <a:path w="862934" h="995148">
                <a:moveTo>
                  <a:pt x="31969" y="0"/>
                </a:moveTo>
                <a:lnTo>
                  <a:pt x="830965" y="0"/>
                </a:lnTo>
                <a:cubicBezTo>
                  <a:pt x="839444" y="0"/>
                  <a:pt x="847575" y="3368"/>
                  <a:pt x="853571" y="9363"/>
                </a:cubicBezTo>
                <a:cubicBezTo>
                  <a:pt x="859566" y="15359"/>
                  <a:pt x="862934" y="23490"/>
                  <a:pt x="862934" y="31969"/>
                </a:cubicBezTo>
                <a:lnTo>
                  <a:pt x="862934" y="963179"/>
                </a:lnTo>
                <a:cubicBezTo>
                  <a:pt x="862934" y="971658"/>
                  <a:pt x="859566" y="979789"/>
                  <a:pt x="853571" y="985784"/>
                </a:cubicBezTo>
                <a:cubicBezTo>
                  <a:pt x="847575" y="991780"/>
                  <a:pt x="839444" y="995148"/>
                  <a:pt x="830965" y="995148"/>
                </a:cubicBezTo>
                <a:lnTo>
                  <a:pt x="31969" y="995148"/>
                </a:lnTo>
                <a:cubicBezTo>
                  <a:pt x="23490" y="995148"/>
                  <a:pt x="15359" y="991780"/>
                  <a:pt x="9363" y="985784"/>
                </a:cubicBezTo>
                <a:cubicBezTo>
                  <a:pt x="3368" y="979789"/>
                  <a:pt x="0" y="971658"/>
                  <a:pt x="0" y="963179"/>
                </a:cubicBezTo>
                <a:lnTo>
                  <a:pt x="0" y="31969"/>
                </a:lnTo>
                <a:cubicBezTo>
                  <a:pt x="0" y="23490"/>
                  <a:pt x="3368" y="15359"/>
                  <a:pt x="9363" y="9363"/>
                </a:cubicBezTo>
                <a:cubicBezTo>
                  <a:pt x="15359" y="3368"/>
                  <a:pt x="23490" y="0"/>
                  <a:pt x="31969" y="0"/>
                </a:cubicBezTo>
                <a:close/>
              </a:path>
            </a:pathLst>
          </a:cu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>
              <a:latin typeface="Century Gothic" panose="020B0502020202020204" pitchFamily="34" charset="0"/>
            </a:endParaRPr>
          </a:p>
        </p:txBody>
      </p:sp>
      <p:sp>
        <p:nvSpPr>
          <p:cNvPr id="9" name="Freeform 9"/>
          <p:cNvSpPr/>
          <p:nvPr/>
        </p:nvSpPr>
        <p:spPr>
          <a:xfrm>
            <a:off x="6102350" y="5588163"/>
            <a:ext cx="781175" cy="427515"/>
          </a:xfrm>
          <a:custGeom>
            <a:avLst/>
            <a:gdLst/>
            <a:ahLst/>
            <a:cxnLst/>
            <a:rect l="l" t="t" r="r" b="b"/>
            <a:pathLst>
              <a:path w="1171762" h="641273">
                <a:moveTo>
                  <a:pt x="0" y="0"/>
                </a:moveTo>
                <a:lnTo>
                  <a:pt x="1171762" y="0"/>
                </a:lnTo>
                <a:lnTo>
                  <a:pt x="1171762" y="641273"/>
                </a:lnTo>
                <a:lnTo>
                  <a:pt x="0" y="64127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>
              <a:latin typeface="Century Gothic" panose="020B0502020202020204" pitchFamily="34" charset="0"/>
            </a:endParaRPr>
          </a:p>
        </p:txBody>
      </p:sp>
      <p:sp>
        <p:nvSpPr>
          <p:cNvPr id="20" name="Freeform 20"/>
          <p:cNvSpPr/>
          <p:nvPr/>
        </p:nvSpPr>
        <p:spPr>
          <a:xfrm>
            <a:off x="543419" y="448091"/>
            <a:ext cx="1288775" cy="550134"/>
          </a:xfrm>
          <a:custGeom>
            <a:avLst/>
            <a:gdLst/>
            <a:ahLst/>
            <a:cxnLst/>
            <a:rect l="l" t="t" r="r" b="b"/>
            <a:pathLst>
              <a:path w="1933162" h="825201">
                <a:moveTo>
                  <a:pt x="0" y="0"/>
                </a:moveTo>
                <a:lnTo>
                  <a:pt x="1933163" y="0"/>
                </a:lnTo>
                <a:lnTo>
                  <a:pt x="1933163" y="825200"/>
                </a:lnTo>
                <a:lnTo>
                  <a:pt x="0" y="8252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endParaRPr lang="en-US" sz="1200">
              <a:latin typeface="Century Gothic" panose="020B0502020202020204" pitchFamily="34" charset="0"/>
            </a:endParaRPr>
          </a:p>
        </p:txBody>
      </p:sp>
      <p:sp>
        <p:nvSpPr>
          <p:cNvPr id="21" name="Freeform 21"/>
          <p:cNvSpPr/>
          <p:nvPr/>
        </p:nvSpPr>
        <p:spPr>
          <a:xfrm>
            <a:off x="685223" y="6353460"/>
            <a:ext cx="121185" cy="123659"/>
          </a:xfrm>
          <a:custGeom>
            <a:avLst/>
            <a:gdLst/>
            <a:ahLst/>
            <a:cxnLst/>
            <a:rect l="l" t="t" r="r" b="b"/>
            <a:pathLst>
              <a:path w="181778" h="185488">
                <a:moveTo>
                  <a:pt x="0" y="0"/>
                </a:moveTo>
                <a:lnTo>
                  <a:pt x="181778" y="0"/>
                </a:lnTo>
                <a:lnTo>
                  <a:pt x="181778" y="185488"/>
                </a:lnTo>
                <a:lnTo>
                  <a:pt x="0" y="185488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>
              <a:latin typeface="Century Gothic" panose="020B0502020202020204" pitchFamily="34" charset="0"/>
            </a:endParaRPr>
          </a:p>
        </p:txBody>
      </p:sp>
      <p:sp>
        <p:nvSpPr>
          <p:cNvPr id="23" name="TextBox 23"/>
          <p:cNvSpPr txBox="1"/>
          <p:nvPr/>
        </p:nvSpPr>
        <p:spPr>
          <a:xfrm>
            <a:off x="685800" y="1724962"/>
            <a:ext cx="7733270" cy="18851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666"/>
              </a:lnSpc>
            </a:pPr>
            <a:r>
              <a:rPr lang="en-US" sz="3600" b="1" dirty="0">
                <a:solidFill>
                  <a:srgbClr val="3469B1"/>
                </a:solidFill>
                <a:latin typeface="Century Gothic" panose="020B0502020202020204" pitchFamily="34" charset="0"/>
                <a:ea typeface="Arial"/>
                <a:cs typeface="Arial"/>
                <a:sym typeface="Arial"/>
              </a:rPr>
              <a:t>AI in Medical Affairs</a:t>
            </a:r>
          </a:p>
          <a:p>
            <a:pPr>
              <a:lnSpc>
                <a:spcPts val="2000"/>
              </a:lnSpc>
            </a:pPr>
            <a:br>
              <a:rPr lang="en-US" sz="2000" i="1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Arial"/>
                <a:sym typeface="Arial"/>
              </a:rPr>
            </a:br>
            <a:endParaRPr lang="en-US" sz="2000" i="1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Arial"/>
              <a:sym typeface="Arial"/>
            </a:endParaRPr>
          </a:p>
          <a:p>
            <a:pPr>
              <a:lnSpc>
                <a:spcPts val="2000"/>
              </a:lnSpc>
            </a:pPr>
            <a:r>
              <a:rPr lang="en-US" b="1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Arial"/>
                <a:sym typeface="Arial"/>
              </a:rPr>
              <a:t>Design &amp; Build Capability Demo for Agentic AI Workflows: </a:t>
            </a:r>
            <a:br>
              <a:rPr lang="en-US" sz="1600" b="1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Arial"/>
                <a:sym typeface="Arial"/>
              </a:rPr>
            </a:br>
            <a:r>
              <a:rPr lang="en-US" sz="1600" b="1" i="1" dirty="0">
                <a:solidFill>
                  <a:srgbClr val="3469B1"/>
                </a:solidFill>
                <a:latin typeface="Century Gothic" panose="020B0502020202020204" pitchFamily="34" charset="0"/>
                <a:ea typeface="Arial"/>
                <a:cs typeface="Arial"/>
                <a:sym typeface="Arial"/>
              </a:rPr>
              <a:t>Automated</a:t>
            </a:r>
            <a:r>
              <a:rPr lang="en-US" sz="1600" i="1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Arial"/>
                <a:sym typeface="Arial"/>
              </a:rPr>
              <a:t> Identification, Synthesis, &amp; Reporting of </a:t>
            </a:r>
            <a:r>
              <a:rPr lang="en-US" sz="1600" b="1" i="1" dirty="0">
                <a:solidFill>
                  <a:srgbClr val="3469B1"/>
                </a:solidFill>
                <a:latin typeface="Century Gothic" panose="020B0502020202020204" pitchFamily="34" charset="0"/>
                <a:ea typeface="Arial"/>
                <a:cs typeface="Arial"/>
                <a:sym typeface="Arial"/>
              </a:rPr>
              <a:t>Medical Insights</a:t>
            </a:r>
            <a:endParaRPr lang="en-US" b="1" i="1" dirty="0">
              <a:solidFill>
                <a:srgbClr val="3469B1"/>
              </a:solidFill>
              <a:latin typeface="Century Gothic" panose="020B0502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4" name="TextBox 24"/>
          <p:cNvSpPr txBox="1"/>
          <p:nvPr/>
        </p:nvSpPr>
        <p:spPr>
          <a:xfrm>
            <a:off x="852412" y="6334151"/>
            <a:ext cx="3326161" cy="15151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307"/>
              </a:lnSpc>
              <a:spcBef>
                <a:spcPct val="0"/>
              </a:spcBef>
            </a:pPr>
            <a:r>
              <a:rPr lang="en-US" sz="933" dirty="0">
                <a:solidFill>
                  <a:srgbClr val="201E1E"/>
                </a:solidFill>
                <a:latin typeface="Century Gothic" panose="020B0502020202020204" pitchFamily="34" charset="0"/>
                <a:ea typeface="Arial"/>
                <a:cs typeface="Arial"/>
                <a:sym typeface="Arial"/>
              </a:rPr>
              <a:t>Acquis Consulting. Private &amp; Confidential</a:t>
            </a:r>
          </a:p>
        </p:txBody>
      </p:sp>
      <p:sp>
        <p:nvSpPr>
          <p:cNvPr id="31" name="Freeform 12">
            <a:extLst>
              <a:ext uri="{FF2B5EF4-FFF2-40B4-BE49-F238E27FC236}">
                <a16:creationId xmlns:a16="http://schemas.microsoft.com/office/drawing/2014/main" id="{89ECFC38-30DE-460F-B7E3-5867E5244D2B}"/>
              </a:ext>
            </a:extLst>
          </p:cNvPr>
          <p:cNvSpPr/>
          <p:nvPr/>
        </p:nvSpPr>
        <p:spPr>
          <a:xfrm>
            <a:off x="685223" y="5041880"/>
            <a:ext cx="6737069" cy="912875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</p:spPr>
        <p:txBody>
          <a:bodyPr/>
          <a:lstStyle/>
          <a:p>
            <a:r>
              <a:rPr lang="en-US" sz="1200" b="1" i="1" spc="219" dirty="0">
                <a:solidFill>
                  <a:srgbClr val="FFFFFF"/>
                </a:solidFill>
                <a:latin typeface="Century Gothic" panose="020B0502020202020204" pitchFamily="34" charset="0"/>
                <a:ea typeface="Source Sans Pro 1"/>
                <a:cs typeface="Source Sans Pro 1"/>
                <a:sym typeface="Source Sans Pro 1"/>
              </a:rPr>
              <a:t>Acquis Life Science. Your go-to partner for life sciences advisory</a:t>
            </a:r>
            <a:br>
              <a:rPr lang="en-US" sz="1200" i="1" spc="219" dirty="0">
                <a:solidFill>
                  <a:srgbClr val="FFFFFF"/>
                </a:solidFill>
                <a:latin typeface="Century Gothic" panose="020B0502020202020204" pitchFamily="34" charset="0"/>
                <a:ea typeface="Source Sans Pro 1"/>
                <a:cs typeface="Source Sans Pro 1"/>
                <a:sym typeface="Source Sans Pro 1"/>
              </a:rPr>
            </a:br>
            <a:br>
              <a:rPr lang="en-US" sz="1200" i="1" spc="219" dirty="0">
                <a:solidFill>
                  <a:srgbClr val="FFFFFF"/>
                </a:solidFill>
                <a:latin typeface="Century Gothic" panose="020B0502020202020204" pitchFamily="34" charset="0"/>
                <a:ea typeface="Source Sans Pro 1"/>
                <a:cs typeface="Source Sans Pro 1"/>
                <a:sym typeface="Source Sans Pro 1"/>
              </a:rPr>
            </a:br>
            <a:r>
              <a:rPr lang="en-US" sz="1200" i="1" spc="219" dirty="0">
                <a:solidFill>
                  <a:srgbClr val="FFFFFF"/>
                </a:solidFill>
                <a:latin typeface="Century Gothic" panose="020B0502020202020204" pitchFamily="34" charset="0"/>
                <a:ea typeface="Source Sans Pro 1"/>
                <a:cs typeface="Source Sans Pro 1"/>
                <a:sym typeface="Source Sans Pro 1"/>
              </a:rPr>
              <a:t>Accelerating impact across Development, Medical Affairs, </a:t>
            </a:r>
            <a:br>
              <a:rPr lang="en-US" sz="1200" i="1" spc="219" dirty="0">
                <a:solidFill>
                  <a:srgbClr val="FFFFFF"/>
                </a:solidFill>
                <a:latin typeface="Century Gothic" panose="020B0502020202020204" pitchFamily="34" charset="0"/>
                <a:ea typeface="Source Sans Pro 1"/>
                <a:cs typeface="Source Sans Pro 1"/>
                <a:sym typeface="Source Sans Pro 1"/>
              </a:rPr>
            </a:br>
            <a:r>
              <a:rPr lang="en-US" sz="1200" i="1" spc="219" dirty="0">
                <a:solidFill>
                  <a:srgbClr val="FFFFFF"/>
                </a:solidFill>
                <a:latin typeface="Century Gothic" panose="020B0502020202020204" pitchFamily="34" charset="0"/>
                <a:ea typeface="Source Sans Pro 1"/>
                <a:cs typeface="Source Sans Pro 1"/>
                <a:sym typeface="Source Sans Pro 1"/>
              </a:rPr>
              <a:t>and Commercialization— and growth driving technologies. </a:t>
            </a:r>
          </a:p>
        </p:txBody>
      </p:sp>
      <p:sp>
        <p:nvSpPr>
          <p:cNvPr id="32" name="Freeform 28">
            <a:extLst>
              <a:ext uri="{FF2B5EF4-FFF2-40B4-BE49-F238E27FC236}">
                <a16:creationId xmlns:a16="http://schemas.microsoft.com/office/drawing/2014/main" id="{E28865DD-F664-4D40-B09A-A7521716D32B}"/>
              </a:ext>
            </a:extLst>
          </p:cNvPr>
          <p:cNvSpPr/>
          <p:nvPr/>
        </p:nvSpPr>
        <p:spPr>
          <a:xfrm>
            <a:off x="8013429" y="3219153"/>
            <a:ext cx="2847946" cy="3282927"/>
          </a:xfrm>
          <a:custGeom>
            <a:avLst/>
            <a:gdLst/>
            <a:ahLst/>
            <a:cxnLst/>
            <a:rect l="l" t="t" r="r" b="b"/>
            <a:pathLst>
              <a:path w="827361" h="910469">
                <a:moveTo>
                  <a:pt x="33343" y="0"/>
                </a:moveTo>
                <a:lnTo>
                  <a:pt x="794018" y="0"/>
                </a:lnTo>
                <a:cubicBezTo>
                  <a:pt x="802861" y="0"/>
                  <a:pt x="811342" y="3513"/>
                  <a:pt x="817595" y="9766"/>
                </a:cubicBezTo>
                <a:cubicBezTo>
                  <a:pt x="823848" y="16019"/>
                  <a:pt x="827361" y="24500"/>
                  <a:pt x="827361" y="33343"/>
                </a:cubicBezTo>
                <a:lnTo>
                  <a:pt x="827361" y="877126"/>
                </a:lnTo>
                <a:cubicBezTo>
                  <a:pt x="827361" y="885969"/>
                  <a:pt x="823848" y="894450"/>
                  <a:pt x="817595" y="900703"/>
                </a:cubicBezTo>
                <a:cubicBezTo>
                  <a:pt x="811342" y="906956"/>
                  <a:pt x="802861" y="910469"/>
                  <a:pt x="794018" y="910469"/>
                </a:cubicBezTo>
                <a:lnTo>
                  <a:pt x="33343" y="910469"/>
                </a:lnTo>
                <a:cubicBezTo>
                  <a:pt x="24500" y="910469"/>
                  <a:pt x="16019" y="906956"/>
                  <a:pt x="9766" y="900703"/>
                </a:cubicBezTo>
                <a:cubicBezTo>
                  <a:pt x="3513" y="894450"/>
                  <a:pt x="0" y="885969"/>
                  <a:pt x="0" y="877126"/>
                </a:cubicBezTo>
                <a:lnTo>
                  <a:pt x="0" y="33343"/>
                </a:lnTo>
                <a:cubicBezTo>
                  <a:pt x="0" y="24500"/>
                  <a:pt x="3513" y="16019"/>
                  <a:pt x="9766" y="9766"/>
                </a:cubicBezTo>
                <a:cubicBezTo>
                  <a:pt x="16019" y="3513"/>
                  <a:pt x="24500" y="0"/>
                  <a:pt x="33343" y="0"/>
                </a:cubicBezTo>
                <a:close/>
              </a:path>
            </a:pathLst>
          </a:cu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>
              <a:latin typeface="Century Gothic" panose="020B0502020202020204" pitchFamily="34" charset="0"/>
            </a:endParaRPr>
          </a:p>
        </p:txBody>
      </p:sp>
      <p:sp>
        <p:nvSpPr>
          <p:cNvPr id="34" name="Freeform 12">
            <a:extLst>
              <a:ext uri="{FF2B5EF4-FFF2-40B4-BE49-F238E27FC236}">
                <a16:creationId xmlns:a16="http://schemas.microsoft.com/office/drawing/2014/main" id="{B330A89D-616F-4C45-A49B-138C86BBE912}"/>
              </a:ext>
            </a:extLst>
          </p:cNvPr>
          <p:cNvSpPr/>
          <p:nvPr/>
        </p:nvSpPr>
        <p:spPr>
          <a:xfrm>
            <a:off x="1944342" y="746723"/>
            <a:ext cx="1288775" cy="309607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</p:spPr>
        <p:txBody>
          <a:bodyPr anchor="ctr"/>
          <a:lstStyle/>
          <a:p>
            <a:pPr algn="ctr"/>
            <a:r>
              <a:rPr lang="en-US" sz="1600" b="1" spc="219" dirty="0">
                <a:solidFill>
                  <a:srgbClr val="FFFFFF"/>
                </a:solidFill>
                <a:latin typeface="Century Gothic" panose="020B0502020202020204" pitchFamily="34" charset="0"/>
                <a:sym typeface="Source Sans Pro 1"/>
              </a:rPr>
              <a:t>AGENTIC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sp>
        <p:nvSpPr>
          <p:cNvPr id="37" name="Freeform 6">
            <a:extLst>
              <a:ext uri="{FF2B5EF4-FFF2-40B4-BE49-F238E27FC236}">
                <a16:creationId xmlns:a16="http://schemas.microsoft.com/office/drawing/2014/main" id="{B865597F-D1F4-4885-8397-B23E5DD2EC61}"/>
              </a:ext>
            </a:extLst>
          </p:cNvPr>
          <p:cNvSpPr/>
          <p:nvPr/>
        </p:nvSpPr>
        <p:spPr>
          <a:xfrm>
            <a:off x="751127" y="4386730"/>
            <a:ext cx="830094" cy="31750"/>
          </a:xfrm>
          <a:custGeom>
            <a:avLst/>
            <a:gdLst/>
            <a:ahLst/>
            <a:cxnLst/>
            <a:rect l="l" t="t" r="r" b="b"/>
            <a:pathLst>
              <a:path w="327938" h="12543">
                <a:moveTo>
                  <a:pt x="0" y="0"/>
                </a:moveTo>
                <a:lnTo>
                  <a:pt x="327938" y="0"/>
                </a:lnTo>
                <a:lnTo>
                  <a:pt x="327938" y="12543"/>
                </a:lnTo>
                <a:lnTo>
                  <a:pt x="0" y="12543"/>
                </a:lnTo>
                <a:close/>
              </a:path>
            </a:pathLst>
          </a:custGeom>
          <a:solidFill>
            <a:srgbClr val="3469B1"/>
          </a:solidFill>
        </p:spPr>
        <p:txBody>
          <a:bodyPr/>
          <a:lstStyle/>
          <a:p>
            <a:endParaRPr lang="en-US" sz="1200">
              <a:latin typeface="Century Gothic" panose="020B0502020202020204" pitchFamily="34" charset="0"/>
            </a:endParaRPr>
          </a:p>
        </p:txBody>
      </p:sp>
      <p:sp>
        <p:nvSpPr>
          <p:cNvPr id="39" name="TextBox 22">
            <a:extLst>
              <a:ext uri="{FF2B5EF4-FFF2-40B4-BE49-F238E27FC236}">
                <a16:creationId xmlns:a16="http://schemas.microsoft.com/office/drawing/2014/main" id="{5895638C-BBA2-4524-BA27-58A8505DC9A5}"/>
              </a:ext>
            </a:extLst>
          </p:cNvPr>
          <p:cNvSpPr txBox="1"/>
          <p:nvPr/>
        </p:nvSpPr>
        <p:spPr>
          <a:xfrm>
            <a:off x="724028" y="4600545"/>
            <a:ext cx="4416248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en-US" sz="1400" b="1" dirty="0">
                <a:solidFill>
                  <a:srgbClr val="3469B1"/>
                </a:solidFill>
                <a:latin typeface="Century Gothic"/>
              </a:rPr>
              <a:t>Q4 – 2025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3BA6BE-8A07-6750-6D1E-AB323E5C6C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B2F1F0CF-9A3B-4FEB-8D90-C177C1DB2C64}"/>
              </a:ext>
            </a:extLst>
          </p:cNvPr>
          <p:cNvSpPr txBox="1"/>
          <p:nvPr/>
        </p:nvSpPr>
        <p:spPr>
          <a:xfrm>
            <a:off x="0" y="274526"/>
            <a:ext cx="12188825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300" normalizeH="0" baseline="0" noProof="0" dirty="0">
                <a:ln>
                  <a:noFill/>
                </a:ln>
                <a:solidFill>
                  <a:srgbClr val="3469B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IP PLACEHOLDER SLIDE </a:t>
            </a:r>
            <a:r>
              <a:rPr kumimoji="0" lang="en-US" sz="3200" b="1" i="0" u="none" strike="noStrike" kern="1200" cap="none" spc="3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JOSH WILL UPDATE)</a:t>
            </a:r>
            <a:br>
              <a:rPr kumimoji="0" lang="en-US" sz="3200" b="1" i="0" u="none" strike="noStrike" kern="1200" cap="none" spc="3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br>
              <a:rPr kumimoji="0" lang="en-US" sz="500" b="1" i="0" u="none" strike="noStrike" kern="1200" cap="none" spc="30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en-US" sz="3200" b="1" i="1" u="none" strike="noStrike" kern="1200" cap="none" spc="30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TEXT FOR AGENTIC AI &amp; AI WORKFLOWS</a:t>
            </a:r>
            <a:endParaRPr kumimoji="0" lang="en-US" sz="2300" b="1" i="1" u="none" strike="noStrike" kern="1200" cap="none" spc="300" normalizeH="0" baseline="0" noProof="0" dirty="0">
              <a:ln>
                <a:noFill/>
              </a:ln>
              <a:solidFill>
                <a:srgbClr val="2383C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181B96EA-E60D-4943-A6F9-EC562DECDFA6}"/>
              </a:ext>
            </a:extLst>
          </p:cNvPr>
          <p:cNvSpPr/>
          <p:nvPr/>
        </p:nvSpPr>
        <p:spPr>
          <a:xfrm>
            <a:off x="1255941" y="6484518"/>
            <a:ext cx="910610" cy="258609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  <a:ln>
            <a:noFill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21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Source Sans Pro 1"/>
              </a:rPr>
              <a:t>AGENTIC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1D40385-7073-4F40-A267-A380149139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235847"/>
            <a:ext cx="12192000" cy="238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7782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3BA6BE-8A07-6750-6D1E-AB323E5C6C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B2F1F0CF-9A3B-4FEB-8D90-C177C1DB2C64}"/>
              </a:ext>
            </a:extLst>
          </p:cNvPr>
          <p:cNvSpPr txBox="1"/>
          <p:nvPr/>
        </p:nvSpPr>
        <p:spPr>
          <a:xfrm>
            <a:off x="0" y="274526"/>
            <a:ext cx="1218882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300" normalizeH="0" baseline="0" noProof="0" dirty="0">
                <a:ln>
                  <a:noFill/>
                </a:ln>
                <a:solidFill>
                  <a:srgbClr val="3469B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IP PLACEHOLDER SLIDE </a:t>
            </a:r>
            <a:r>
              <a:rPr kumimoji="0" lang="en-US" sz="2800" b="1" i="0" u="none" strike="noStrike" kern="1200" cap="none" spc="3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JOSH WILL UPDATE)</a:t>
            </a:r>
            <a:br>
              <a:rPr kumimoji="0" lang="en-US" sz="2800" b="1" i="0" u="none" strike="noStrike" kern="1200" cap="none" spc="3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br>
              <a:rPr kumimoji="0" lang="en-US" sz="400" b="1" i="0" u="none" strike="noStrike" kern="1200" cap="none" spc="30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lang="en-US" sz="2800" b="1" i="1" spc="300" dirty="0">
                <a:solidFill>
                  <a:srgbClr val="2383C1"/>
                </a:solidFill>
                <a:latin typeface="Century Gothic" panose="020B0502020202020204" pitchFamily="34" charset="0"/>
              </a:rPr>
              <a:t>EXPLAINER FOR THE EXTERNAL INSIGHTS WORKFLOW</a:t>
            </a:r>
            <a:endParaRPr kumimoji="0" lang="en-US" sz="2000" b="1" i="1" u="none" strike="noStrike" kern="1200" cap="none" spc="300" normalizeH="0" baseline="0" noProof="0" dirty="0">
              <a:ln>
                <a:noFill/>
              </a:ln>
              <a:solidFill>
                <a:srgbClr val="2383C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181B96EA-E60D-4943-A6F9-EC562DECDFA6}"/>
              </a:ext>
            </a:extLst>
          </p:cNvPr>
          <p:cNvSpPr/>
          <p:nvPr/>
        </p:nvSpPr>
        <p:spPr>
          <a:xfrm>
            <a:off x="1255941" y="6484518"/>
            <a:ext cx="910610" cy="258609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  <a:ln>
            <a:noFill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21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Source Sans Pro 1"/>
              </a:rPr>
              <a:t>AGENTIC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36E81A4-5BB3-4896-81AA-0B3EDFDD1089}"/>
              </a:ext>
            </a:extLst>
          </p:cNvPr>
          <p:cNvSpPr/>
          <p:nvPr/>
        </p:nvSpPr>
        <p:spPr>
          <a:xfrm>
            <a:off x="997959" y="1287894"/>
            <a:ext cx="4937305" cy="508738"/>
          </a:xfrm>
          <a:prstGeom prst="rect">
            <a:avLst/>
          </a:prstGeom>
          <a:solidFill>
            <a:srgbClr val="104EA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/>
            <a:r>
              <a:rPr lang="en-US" sz="1200" b="1" dirty="0">
                <a:latin typeface="Century Gothic" panose="020B0502020202020204" pitchFamily="34" charset="0"/>
              </a:rPr>
              <a:t>1. Field medical align on core external engagement priorities and Key Insight Questions for the next quart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7F1E02-24EC-45B4-9870-F0301BCFB000}"/>
              </a:ext>
            </a:extLst>
          </p:cNvPr>
          <p:cNvSpPr/>
          <p:nvPr/>
        </p:nvSpPr>
        <p:spPr>
          <a:xfrm>
            <a:off x="6013736" y="1287893"/>
            <a:ext cx="2143381" cy="508738"/>
          </a:xfrm>
          <a:prstGeom prst="rect">
            <a:avLst/>
          </a:prstGeom>
          <a:solidFill>
            <a:srgbClr val="104EA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/>
            <a:r>
              <a:rPr lang="en-US" sz="1200" b="1" dirty="0">
                <a:latin typeface="Century Gothic" panose="020B0502020202020204" pitchFamily="34" charset="0"/>
              </a:rPr>
              <a:t>2. External engagement across modaliti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92C282-3632-4D56-B953-F6DE4E80D072}"/>
              </a:ext>
            </a:extLst>
          </p:cNvPr>
          <p:cNvSpPr/>
          <p:nvPr/>
        </p:nvSpPr>
        <p:spPr>
          <a:xfrm>
            <a:off x="433611" y="1287893"/>
            <a:ext cx="481457" cy="254537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Biopharma Huma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42C37B-5220-4296-95B3-4F5E859958B4}"/>
              </a:ext>
            </a:extLst>
          </p:cNvPr>
          <p:cNvSpPr/>
          <p:nvPr/>
        </p:nvSpPr>
        <p:spPr>
          <a:xfrm>
            <a:off x="433610" y="4092707"/>
            <a:ext cx="481457" cy="23300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Agentic AI Workflow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3867F7-1214-4757-9A1F-B5EB15C3ED77}"/>
              </a:ext>
            </a:extLst>
          </p:cNvPr>
          <p:cNvSpPr/>
          <p:nvPr/>
        </p:nvSpPr>
        <p:spPr>
          <a:xfrm>
            <a:off x="997959" y="1865118"/>
            <a:ext cx="2661898" cy="1968152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Ex. Phase III data readout for drug X showcasing better than expected efficacy data in certain patient sub-population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9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Ex. Competitor releases new clinical results for a patient sub-population that Drug X was the only treatment option for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9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Ex. Clinical uptake is significantly greater for HCPs in academic hospital practice settings vs. community practice settings </a:t>
            </a:r>
            <a:br>
              <a:rPr lang="en-US" sz="900" dirty="0">
                <a:solidFill>
                  <a:srgbClr val="E97132"/>
                </a:solidFill>
                <a:latin typeface="Century Gothic" panose="020B0502020202020204" pitchFamily="34" charset="0"/>
              </a:rPr>
            </a:br>
            <a:r>
              <a:rPr lang="en-US" sz="900" dirty="0">
                <a:solidFill>
                  <a:srgbClr val="E97132"/>
                </a:solidFill>
                <a:latin typeface="Century Gothic" panose="020B0502020202020204" pitchFamily="34" charset="0"/>
              </a:rPr>
              <a:t>(this was a previously identified gap)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9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40EE9A-C505-4FF5-8101-286597517010}"/>
              </a:ext>
            </a:extLst>
          </p:cNvPr>
          <p:cNvSpPr/>
          <p:nvPr/>
        </p:nvSpPr>
        <p:spPr>
          <a:xfrm>
            <a:off x="3698173" y="1865117"/>
            <a:ext cx="2237091" cy="1968152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KIQ1. Based on results of latest study, what will response be in clinical practice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KIQ2. What data / factors are most likely contributing to the difference in uptake across settings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KIQ3. How is competitor drug perceived vs. Drug X, for the patient sub-population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KIQ4. What data / information would be most helpful to educate community HCPs on Drug X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FE7462-6B01-48EB-A367-11022CD93D8A}"/>
              </a:ext>
            </a:extLst>
          </p:cNvPr>
          <p:cNvSpPr/>
          <p:nvPr/>
        </p:nvSpPr>
        <p:spPr>
          <a:xfrm>
            <a:off x="6013736" y="1865117"/>
            <a:ext cx="2143381" cy="1968152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1:1 virtual meetings with KOLs </a:t>
            </a: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*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1:1 F2F meetings with KOLs </a:t>
            </a: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*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In-person ad-boards</a:t>
            </a: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 *</a:t>
            </a:r>
            <a:endParaRPr lang="en-US" sz="9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Virtual / async ad-boards </a:t>
            </a: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*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Congresses</a:t>
            </a:r>
            <a:r>
              <a:rPr lang="en-US" sz="9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*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Unsolicited requests via medical information websi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Commercial team referral</a:t>
            </a:r>
            <a:r>
              <a:rPr lang="en-US" sz="9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*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IST request portal</a:t>
            </a:r>
          </a:p>
          <a:p>
            <a:endParaRPr lang="en-US" sz="900" b="1" dirty="0">
              <a:solidFill>
                <a:srgbClr val="00B0F0"/>
              </a:solidFill>
              <a:latin typeface="Century Gothic" panose="020B0502020202020204" pitchFamily="34" charset="0"/>
            </a:endParaRPr>
          </a:p>
          <a:p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CRM LOGGING MODALITIES*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40000B3-B676-4594-8A5F-C08FDE3E69D7}"/>
              </a:ext>
            </a:extLst>
          </p:cNvPr>
          <p:cNvSpPr/>
          <p:nvPr/>
        </p:nvSpPr>
        <p:spPr>
          <a:xfrm>
            <a:off x="8222699" y="1287893"/>
            <a:ext cx="3567786" cy="508738"/>
          </a:xfrm>
          <a:prstGeom prst="rect">
            <a:avLst/>
          </a:prstGeom>
          <a:solidFill>
            <a:srgbClr val="104EA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/>
            <a:r>
              <a:rPr lang="en-US" sz="1200" b="1" dirty="0">
                <a:latin typeface="Century Gothic" panose="020B0502020202020204" pitchFamily="34" charset="0"/>
              </a:rPr>
              <a:t>3. Raw data input into MSL CR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0E65905-2F1A-4CE1-A6A3-A640F6D32BD2}"/>
              </a:ext>
            </a:extLst>
          </p:cNvPr>
          <p:cNvSpPr/>
          <p:nvPr/>
        </p:nvSpPr>
        <p:spPr>
          <a:xfrm>
            <a:off x="8222699" y="1865117"/>
            <a:ext cx="3567786" cy="557124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Transcribe not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Upload transcriptions from AI note-taker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Upload chat logs from ad-board platform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9EAC945-C0F5-429E-A33B-738F96663B00}"/>
              </a:ext>
            </a:extLst>
          </p:cNvPr>
          <p:cNvSpPr/>
          <p:nvPr/>
        </p:nvSpPr>
        <p:spPr>
          <a:xfrm>
            <a:off x="997958" y="4092707"/>
            <a:ext cx="4932887" cy="508738"/>
          </a:xfrm>
          <a:prstGeom prst="rect">
            <a:avLst/>
          </a:prstGeom>
          <a:solidFill>
            <a:srgbClr val="2383C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/>
            <a:r>
              <a:rPr lang="en-US" sz="1200" b="1" dirty="0">
                <a:latin typeface="Century Gothic" panose="020B0502020202020204" pitchFamily="34" charset="0"/>
              </a:rPr>
              <a:t>4. Sort raw MSL CRM data inputs for analysis (metadata tagging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874A6C7-E898-46CF-BFD4-23E13F3C42B3}"/>
              </a:ext>
            </a:extLst>
          </p:cNvPr>
          <p:cNvSpPr/>
          <p:nvPr/>
        </p:nvSpPr>
        <p:spPr>
          <a:xfrm>
            <a:off x="997959" y="4671060"/>
            <a:ext cx="2426645" cy="1751746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>
                <a:solidFill>
                  <a:srgbClr val="2383C1"/>
                </a:solidFill>
                <a:latin typeface="Century Gothic" panose="020B0502020202020204" pitchFamily="34" charset="0"/>
              </a:rPr>
              <a:t>Type 1 metadata-tags: insight catego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b="1" dirty="0">
              <a:solidFill>
                <a:srgbClr val="2383C1"/>
              </a:solidFill>
              <a:latin typeface="Century Gothic" panose="020B0502020202020204" pitchFamily="34" charset="0"/>
            </a:endParaRP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Product insights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Clin dev insights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Patient / care management insights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Market access / reimbursement insights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Competitive landscape insights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800" b="1" u="sng" dirty="0">
                <a:solidFill>
                  <a:srgbClr val="E97132"/>
                </a:solidFill>
                <a:latin typeface="Century Gothic" panose="020B0502020202020204" pitchFamily="34" charset="0"/>
              </a:rPr>
              <a:t>HCP education needs insights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Non-insights (small talk, logistics, actions)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Non-prompted insights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endParaRPr lang="en-US" sz="900" dirty="0">
              <a:solidFill>
                <a:srgbClr val="2383C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CD371F-93B8-4341-B98A-648FCAA73CD1}"/>
              </a:ext>
            </a:extLst>
          </p:cNvPr>
          <p:cNvSpPr/>
          <p:nvPr/>
        </p:nvSpPr>
        <p:spPr>
          <a:xfrm>
            <a:off x="3468565" y="4671060"/>
            <a:ext cx="2462281" cy="1751746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u="sng" dirty="0">
                <a:solidFill>
                  <a:srgbClr val="E97132"/>
                </a:solidFill>
                <a:latin typeface="Century Gothic" panose="020B0502020202020204" pitchFamily="34" charset="0"/>
              </a:rPr>
              <a:t>Type 2 metadata tags: Key Insight Question 4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endParaRPr lang="en-US" sz="700" b="1" dirty="0">
              <a:solidFill>
                <a:srgbClr val="E97132"/>
              </a:solidFill>
              <a:latin typeface="Century Gothic" panose="020B0502020202020204" pitchFamily="34" charset="0"/>
            </a:endParaRP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7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What data / information would be most useful to educate community HCPs on the optimal use of this drug?</a:t>
            </a:r>
            <a:br>
              <a:rPr lang="en-US" sz="700" b="1" dirty="0">
                <a:solidFill>
                  <a:srgbClr val="E97132"/>
                </a:solidFill>
                <a:latin typeface="Century Gothic" panose="020B0502020202020204" pitchFamily="34" charset="0"/>
              </a:rPr>
            </a:br>
            <a:endParaRPr lang="en-US" sz="700" b="1" dirty="0">
              <a:solidFill>
                <a:srgbClr val="E97132"/>
              </a:solidFill>
              <a:latin typeface="Century Gothic" panose="020B0502020202020204" pitchFamily="34" charset="0"/>
            </a:endParaRPr>
          </a:p>
          <a:p>
            <a:pPr marL="228600" lvl="1" indent="-114300">
              <a:buFont typeface="Arial" panose="020B0604020202020204" pitchFamily="34" charset="0"/>
              <a:buChar char="•"/>
            </a:pPr>
            <a:r>
              <a:rPr lang="en-US" sz="7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General response categories</a:t>
            </a:r>
          </a:p>
          <a:p>
            <a:pPr marL="400050" lvl="2" indent="-11430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E97132"/>
                </a:solidFill>
                <a:latin typeface="Century Gothic" panose="020B0502020202020204" pitchFamily="34" charset="0"/>
              </a:rPr>
              <a:t>Efficacy data from prospective, randomized studies</a:t>
            </a:r>
          </a:p>
          <a:p>
            <a:pPr marL="400050" lvl="2" indent="-11430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E97132"/>
                </a:solidFill>
                <a:latin typeface="Century Gothic" panose="020B0502020202020204" pitchFamily="34" charset="0"/>
              </a:rPr>
              <a:t>Comorbidities</a:t>
            </a:r>
          </a:p>
          <a:p>
            <a:pPr marL="400050" lvl="2" indent="-11430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E97132"/>
                </a:solidFill>
                <a:latin typeface="Century Gothic" panose="020B0502020202020204" pitchFamily="34" charset="0"/>
              </a:rPr>
              <a:t>Treatment sequencing</a:t>
            </a:r>
          </a:p>
          <a:p>
            <a:pPr marL="400050" lvl="2" indent="-11430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E97132"/>
                </a:solidFill>
                <a:latin typeface="Century Gothic" panose="020B0502020202020204" pitchFamily="34" charset="0"/>
              </a:rPr>
              <a:t>AE profile of treatment regimens</a:t>
            </a:r>
          </a:p>
          <a:p>
            <a:pPr marL="400050" lvl="2" indent="-11430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E97132"/>
                </a:solidFill>
                <a:latin typeface="Century Gothic" panose="020B0502020202020204" pitchFamily="34" charset="0"/>
              </a:rPr>
              <a:t>Data from retrospective analyses</a:t>
            </a:r>
          </a:p>
          <a:p>
            <a:pPr marL="400050" lvl="2" indent="-11430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E97132"/>
                </a:solidFill>
                <a:latin typeface="Century Gothic" panose="020B0502020202020204" pitchFamily="34" charset="0"/>
              </a:rPr>
              <a:t>Guideline recommendations</a:t>
            </a:r>
          </a:p>
          <a:p>
            <a:pPr marL="400050" lvl="2" indent="-11430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E97132"/>
                </a:solidFill>
                <a:latin typeface="Century Gothic" panose="020B0502020202020204" pitchFamily="34" charset="0"/>
              </a:rPr>
              <a:t>Data from real world experiences in the field from HCPs / KOLs</a:t>
            </a:r>
          </a:p>
          <a:p>
            <a:pPr marL="400050" lvl="2" indent="-114300">
              <a:buFont typeface="Arial" panose="020B0604020202020204" pitchFamily="34" charset="0"/>
              <a:buChar char="•"/>
            </a:pPr>
            <a:r>
              <a:rPr lang="en-US" sz="700" dirty="0">
                <a:solidFill>
                  <a:srgbClr val="E97132"/>
                </a:solidFill>
                <a:latin typeface="Century Gothic" panose="020B0502020202020204" pitchFamily="34" charset="0"/>
              </a:rPr>
              <a:t>Other – specify </a:t>
            </a:r>
            <a:endParaRPr lang="en-US" sz="800" dirty="0">
              <a:solidFill>
                <a:srgbClr val="E97132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8FA566-038A-4D9F-AE15-6D673EF8DB84}"/>
              </a:ext>
            </a:extLst>
          </p:cNvPr>
          <p:cNvSpPr/>
          <p:nvPr/>
        </p:nvSpPr>
        <p:spPr>
          <a:xfrm>
            <a:off x="6013736" y="4092707"/>
            <a:ext cx="5776749" cy="508738"/>
          </a:xfrm>
          <a:prstGeom prst="rect">
            <a:avLst/>
          </a:prstGeom>
          <a:solidFill>
            <a:srgbClr val="2383C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/>
            <a:r>
              <a:rPr lang="en-US" sz="1200" b="1" dirty="0">
                <a:latin typeface="Century Gothic" panose="020B0502020202020204" pitchFamily="34" charset="0"/>
              </a:rPr>
              <a:t>5. Generate Insight Repor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83A6F1-8F0B-4CFA-9742-20A682C9B774}"/>
              </a:ext>
            </a:extLst>
          </p:cNvPr>
          <p:cNvSpPr/>
          <p:nvPr/>
        </p:nvSpPr>
        <p:spPr>
          <a:xfrm>
            <a:off x="6013735" y="4671060"/>
            <a:ext cx="2822533" cy="1751746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>
                <a:solidFill>
                  <a:srgbClr val="2383C1"/>
                </a:solidFill>
                <a:latin typeface="Century Gothic" panose="020B0502020202020204" pitchFamily="34" charset="0"/>
              </a:rPr>
              <a:t>A. Generate executive summary dashboard for Type 1 metatags + counts by CRM labe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b="1" dirty="0">
              <a:solidFill>
                <a:srgbClr val="2383C1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Total number of KOL interactions (n-size)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2383C1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KOL insights by engagement mod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2383C1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KOL n-size by practice setting, geograph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2383C1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Total number of insights (across 8 categories)</a:t>
            </a:r>
          </a:p>
          <a:p>
            <a:pPr marL="342900" lvl="1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2383C1"/>
                </a:solidFill>
                <a:latin typeface="Century Gothic" panose="020B0502020202020204" pitchFamily="34" charset="0"/>
              </a:rPr>
              <a:t>Category 1, 2, 3…</a:t>
            </a:r>
          </a:p>
          <a:p>
            <a:pPr marL="342900" lvl="1" indent="-11430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2383C1"/>
              </a:solidFill>
              <a:latin typeface="Century Gothic" panose="020B0502020202020204" pitchFamily="34" charset="0"/>
            </a:endParaRPr>
          </a:p>
          <a:p>
            <a:pPr marL="115888" indent="-115888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2383C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B8A22A-E794-4D5F-837A-B192B7C6EAEE}"/>
              </a:ext>
            </a:extLst>
          </p:cNvPr>
          <p:cNvSpPr/>
          <p:nvPr/>
        </p:nvSpPr>
        <p:spPr>
          <a:xfrm>
            <a:off x="8915400" y="4671060"/>
            <a:ext cx="2875085" cy="1751746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B. Generate deep-dive insight slides for Key Insight Questions (i.e. KIQ4)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b="1" dirty="0">
              <a:solidFill>
                <a:srgbClr val="2383C1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E97132"/>
                </a:solidFill>
                <a:latin typeface="Century Gothic" panose="020B0502020202020204" pitchFamily="34" charset="0"/>
              </a:rPr>
              <a:t>Breakdown chart of Type 2 response catego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E97132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E97132"/>
                </a:solidFill>
                <a:latin typeface="Century Gothic" panose="020B0502020202020204" pitchFamily="34" charset="0"/>
              </a:rPr>
              <a:t>Summary of key themes from KIQ4 responses </a:t>
            </a:r>
            <a:endParaRPr lang="en-US" sz="900" dirty="0">
              <a:solidFill>
                <a:srgbClr val="E97132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C171F9-DFD7-45FC-BEE3-7C1F388CAC93}"/>
              </a:ext>
            </a:extLst>
          </p:cNvPr>
          <p:cNvSpPr/>
          <p:nvPr/>
        </p:nvSpPr>
        <p:spPr>
          <a:xfrm>
            <a:off x="8222699" y="2490727"/>
            <a:ext cx="3567786" cy="1342542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Example CRM Field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Product discussed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KOL First Name, Last Nam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KOL Tier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KOL Institution Nam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KOL Geograph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KOL Practice Set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9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9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9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Engagement Mod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Congress Name (if </a:t>
            </a:r>
            <a:r>
              <a:rPr lang="en-US" sz="900" b="1" dirty="0" err="1">
                <a:solidFill>
                  <a:srgbClr val="104EA3"/>
                </a:solidFill>
                <a:latin typeface="Century Gothic" panose="020B0502020202020204" pitchFamily="34" charset="0"/>
              </a:rPr>
              <a:t>applic</a:t>
            </a: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.)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MSL First Name, Last Nam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Engagement D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104EA3"/>
                </a:solidFill>
                <a:latin typeface="Century Gothic" panose="020B0502020202020204" pitchFamily="34" charset="0"/>
              </a:rPr>
              <a:t>Report D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E97132"/>
                </a:solidFill>
                <a:latin typeface="Century Gothic" panose="020B0502020202020204" pitchFamily="34" charset="0"/>
              </a:rPr>
              <a:t>Raw CRM Input (from MSL)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900" b="1" dirty="0">
              <a:solidFill>
                <a:srgbClr val="104EA3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AAF0488-14B9-4718-8211-046A594C8866}"/>
              </a:ext>
            </a:extLst>
          </p:cNvPr>
          <p:cNvGrpSpPr/>
          <p:nvPr/>
        </p:nvGrpSpPr>
        <p:grpSpPr>
          <a:xfrm>
            <a:off x="8596653" y="6001208"/>
            <a:ext cx="535865" cy="599858"/>
            <a:chOff x="7121628" y="1196752"/>
            <a:chExt cx="1170544" cy="1319299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0742ABA-3BE8-4369-859A-D35E8477B8C8}"/>
                </a:ext>
              </a:extLst>
            </p:cNvPr>
            <p:cNvGrpSpPr/>
            <p:nvPr/>
          </p:nvGrpSpPr>
          <p:grpSpPr>
            <a:xfrm>
              <a:off x="7121628" y="1196752"/>
              <a:ext cx="1170544" cy="1319299"/>
              <a:chOff x="9088606" y="1303653"/>
              <a:chExt cx="2980170" cy="3358896"/>
            </a:xfrm>
          </p:grpSpPr>
          <p:grpSp>
            <p:nvGrpSpPr>
              <p:cNvPr id="24" name="Graphic 49">
                <a:extLst>
                  <a:ext uri="{FF2B5EF4-FFF2-40B4-BE49-F238E27FC236}">
                    <a16:creationId xmlns:a16="http://schemas.microsoft.com/office/drawing/2014/main" id="{18BE9603-18C4-4131-AF99-415B1B426EF2}"/>
                  </a:ext>
                </a:extLst>
              </p:cNvPr>
              <p:cNvGrpSpPr/>
              <p:nvPr/>
            </p:nvGrpSpPr>
            <p:grpSpPr>
              <a:xfrm>
                <a:off x="9550796" y="3645024"/>
                <a:ext cx="1136206" cy="825994"/>
                <a:chOff x="9449363" y="3568391"/>
                <a:chExt cx="1136206" cy="825994"/>
              </a:xfrm>
            </p:grpSpPr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619C7EA7-CCAF-4464-95B6-346306DB78F7}"/>
                    </a:ext>
                  </a:extLst>
                </p:cNvPr>
                <p:cNvSpPr/>
                <p:nvPr/>
              </p:nvSpPr>
              <p:spPr>
                <a:xfrm>
                  <a:off x="9449750" y="3667286"/>
                  <a:ext cx="1135683" cy="727099"/>
                </a:xfrm>
                <a:custGeom>
                  <a:avLst/>
                  <a:gdLst>
                    <a:gd name="connsiteX0" fmla="*/ 1135683 w 1135683"/>
                    <a:gd name="connsiteY0" fmla="*/ 244184 h 727099"/>
                    <a:gd name="connsiteX1" fmla="*/ 1044201 w 1135683"/>
                    <a:gd name="connsiteY1" fmla="*/ 209539 h 727099"/>
                    <a:gd name="connsiteX2" fmla="*/ 1038788 w 1135683"/>
                    <a:gd name="connsiteY2" fmla="*/ 234169 h 727099"/>
                    <a:gd name="connsiteX3" fmla="*/ 660678 w 1135683"/>
                    <a:gd name="connsiteY3" fmla="*/ 18725 h 727099"/>
                    <a:gd name="connsiteX4" fmla="*/ 515334 w 1135683"/>
                    <a:gd name="connsiteY4" fmla="*/ 20890 h 727099"/>
                    <a:gd name="connsiteX5" fmla="*/ 166996 w 1135683"/>
                    <a:gd name="connsiteY5" fmla="*/ 234169 h 727099"/>
                    <a:gd name="connsiteX6" fmla="*/ 0 w 1135683"/>
                    <a:gd name="connsiteY6" fmla="*/ 289113 h 727099"/>
                    <a:gd name="connsiteX7" fmla="*/ 0 w 1135683"/>
                    <a:gd name="connsiteY7" fmla="*/ 380054 h 727099"/>
                    <a:gd name="connsiteX8" fmla="*/ 0 w 1135683"/>
                    <a:gd name="connsiteY8" fmla="*/ 385738 h 727099"/>
                    <a:gd name="connsiteX9" fmla="*/ 0 w 1135683"/>
                    <a:gd name="connsiteY9" fmla="*/ 388986 h 727099"/>
                    <a:gd name="connsiteX10" fmla="*/ 271 w 1135683"/>
                    <a:gd name="connsiteY10" fmla="*/ 389257 h 727099"/>
                    <a:gd name="connsiteX11" fmla="*/ 40328 w 1135683"/>
                    <a:gd name="connsiteY11" fmla="*/ 452320 h 727099"/>
                    <a:gd name="connsiteX12" fmla="*/ 491516 w 1135683"/>
                    <a:gd name="connsiteY12" fmla="*/ 708904 h 727099"/>
                    <a:gd name="connsiteX13" fmla="*/ 636860 w 1135683"/>
                    <a:gd name="connsiteY13" fmla="*/ 704574 h 727099"/>
                    <a:gd name="connsiteX14" fmla="*/ 1098603 w 1135683"/>
                    <a:gd name="connsiteY14" fmla="*/ 404413 h 727099"/>
                    <a:gd name="connsiteX15" fmla="*/ 1134601 w 1135683"/>
                    <a:gd name="connsiteY15" fmla="*/ 341350 h 727099"/>
                    <a:gd name="connsiteX16" fmla="*/ 1135413 w 1135683"/>
                    <a:gd name="connsiteY16" fmla="*/ 341079 h 727099"/>
                    <a:gd name="connsiteX17" fmla="*/ 1135413 w 1135683"/>
                    <a:gd name="connsiteY17" fmla="*/ 244184 h 727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135683" h="727099">
                      <a:moveTo>
                        <a:pt x="1135683" y="244184"/>
                      </a:moveTo>
                      <a:lnTo>
                        <a:pt x="1044201" y="209539"/>
                      </a:lnTo>
                      <a:lnTo>
                        <a:pt x="1038788" y="234169"/>
                      </a:lnTo>
                      <a:lnTo>
                        <a:pt x="660678" y="18725"/>
                      </a:lnTo>
                      <a:cubicBezTo>
                        <a:pt x="615478" y="-6988"/>
                        <a:pt x="559722" y="-6176"/>
                        <a:pt x="515334" y="20890"/>
                      </a:cubicBezTo>
                      <a:lnTo>
                        <a:pt x="166996" y="234169"/>
                      </a:lnTo>
                      <a:lnTo>
                        <a:pt x="0" y="289113"/>
                      </a:lnTo>
                      <a:lnTo>
                        <a:pt x="0" y="380054"/>
                      </a:lnTo>
                      <a:cubicBezTo>
                        <a:pt x="0" y="381949"/>
                        <a:pt x="0" y="383844"/>
                        <a:pt x="0" y="385738"/>
                      </a:cubicBezTo>
                      <a:lnTo>
                        <a:pt x="0" y="388986"/>
                      </a:lnTo>
                      <a:lnTo>
                        <a:pt x="271" y="389257"/>
                      </a:lnTo>
                      <a:cubicBezTo>
                        <a:pt x="2436" y="414157"/>
                        <a:pt x="15428" y="438246"/>
                        <a:pt x="40328" y="452320"/>
                      </a:cubicBezTo>
                      <a:lnTo>
                        <a:pt x="491516" y="708904"/>
                      </a:lnTo>
                      <a:cubicBezTo>
                        <a:pt x="536987" y="734617"/>
                        <a:pt x="593013" y="732993"/>
                        <a:pt x="636860" y="704574"/>
                      </a:cubicBezTo>
                      <a:lnTo>
                        <a:pt x="1098603" y="404413"/>
                      </a:lnTo>
                      <a:cubicBezTo>
                        <a:pt x="1121609" y="389257"/>
                        <a:pt x="1133247" y="365709"/>
                        <a:pt x="1134601" y="341350"/>
                      </a:cubicBezTo>
                      <a:lnTo>
                        <a:pt x="1135413" y="341079"/>
                      </a:lnTo>
                      <a:lnTo>
                        <a:pt x="1135413" y="244184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ysClr val="window" lastClr="FFFFFF">
                        <a:lumMod val="75000"/>
                      </a:sysClr>
                    </a:gs>
                    <a:gs pos="0">
                      <a:sysClr val="window" lastClr="FFFFFF">
                        <a:lumMod val="50000"/>
                      </a:sysClr>
                    </a:gs>
                  </a:gsLst>
                  <a:lin ang="2700000" scaled="1"/>
                </a:gradFill>
                <a:ln w="270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1218987">
                    <a:defRPr/>
                  </a:pPr>
                  <a:endParaRPr lang="en-IN" sz="2400" kern="0">
                    <a:solidFill>
                      <a:prstClr val="black"/>
                    </a:solidFill>
                    <a:latin typeface="Segoe UI"/>
                  </a:endParaRPr>
                </a:p>
              </p:txBody>
            </p:sp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7009787E-9F1A-4F4A-B3BC-C3F3D73195D2}"/>
                    </a:ext>
                  </a:extLst>
                </p:cNvPr>
                <p:cNvSpPr/>
                <p:nvPr/>
              </p:nvSpPr>
              <p:spPr>
                <a:xfrm>
                  <a:off x="9449363" y="3568391"/>
                  <a:ext cx="1136206" cy="727204"/>
                </a:xfrm>
                <a:custGeom>
                  <a:avLst/>
                  <a:gdLst>
                    <a:gd name="connsiteX0" fmla="*/ 38550 w 1136206"/>
                    <a:gd name="connsiteY0" fmla="*/ 313035 h 727204"/>
                    <a:gd name="connsiteX1" fmla="*/ 515721 w 1136206"/>
                    <a:gd name="connsiteY1" fmla="*/ 20995 h 727204"/>
                    <a:gd name="connsiteX2" fmla="*/ 661064 w 1136206"/>
                    <a:gd name="connsiteY2" fmla="*/ 18830 h 727204"/>
                    <a:gd name="connsiteX3" fmla="*/ 1095471 w 1136206"/>
                    <a:gd name="connsiteY3" fmla="*/ 266482 h 727204"/>
                    <a:gd name="connsiteX4" fmla="*/ 1099531 w 1136206"/>
                    <a:gd name="connsiteY4" fmla="*/ 404518 h 727204"/>
                    <a:gd name="connsiteX5" fmla="*/ 637788 w 1136206"/>
                    <a:gd name="connsiteY5" fmla="*/ 704678 h 727204"/>
                    <a:gd name="connsiteX6" fmla="*/ 492444 w 1136206"/>
                    <a:gd name="connsiteY6" fmla="*/ 709009 h 727204"/>
                    <a:gd name="connsiteX7" fmla="*/ 41256 w 1136206"/>
                    <a:gd name="connsiteY7" fmla="*/ 452424 h 727204"/>
                    <a:gd name="connsiteX8" fmla="*/ 38550 w 1136206"/>
                    <a:gd name="connsiteY8" fmla="*/ 313035 h 727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36206" h="727204">
                      <a:moveTo>
                        <a:pt x="38550" y="313035"/>
                      </a:moveTo>
                      <a:lnTo>
                        <a:pt x="515721" y="20995"/>
                      </a:lnTo>
                      <a:cubicBezTo>
                        <a:pt x="560109" y="-6071"/>
                        <a:pt x="615864" y="-7154"/>
                        <a:pt x="661064" y="18830"/>
                      </a:cubicBezTo>
                      <a:lnTo>
                        <a:pt x="1095471" y="266482"/>
                      </a:lnTo>
                      <a:cubicBezTo>
                        <a:pt x="1147979" y="296525"/>
                        <a:pt x="1150144" y="371498"/>
                        <a:pt x="1099531" y="404518"/>
                      </a:cubicBezTo>
                      <a:lnTo>
                        <a:pt x="637788" y="704678"/>
                      </a:lnTo>
                      <a:cubicBezTo>
                        <a:pt x="593941" y="733098"/>
                        <a:pt x="537915" y="734721"/>
                        <a:pt x="492444" y="709009"/>
                      </a:cubicBezTo>
                      <a:lnTo>
                        <a:pt x="41256" y="452424"/>
                      </a:lnTo>
                      <a:cubicBezTo>
                        <a:pt x="-12605" y="421840"/>
                        <a:pt x="-13958" y="345244"/>
                        <a:pt x="38550" y="313035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ysClr val="window" lastClr="FFFFFF"/>
                    </a:gs>
                    <a:gs pos="0">
                      <a:sysClr val="window" lastClr="FFFFFF">
                        <a:lumMod val="85000"/>
                      </a:sysClr>
                    </a:gs>
                  </a:gsLst>
                  <a:lin ang="2700000" scaled="1"/>
                </a:gradFill>
                <a:ln w="270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1218987">
                    <a:defRPr/>
                  </a:pPr>
                  <a:endParaRPr lang="en-IN" sz="2400" kern="0">
                    <a:solidFill>
                      <a:prstClr val="black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BEB7138-85F1-44CB-A030-E3C4EE7F3203}"/>
                  </a:ext>
                </a:extLst>
              </p:cNvPr>
              <p:cNvSpPr/>
              <p:nvPr/>
            </p:nvSpPr>
            <p:spPr>
              <a:xfrm>
                <a:off x="9197448" y="3138307"/>
                <a:ext cx="2570679" cy="1524242"/>
              </a:xfrm>
              <a:custGeom>
                <a:avLst/>
                <a:gdLst>
                  <a:gd name="connsiteX0" fmla="*/ 29279 w 2570679"/>
                  <a:gd name="connsiteY0" fmla="*/ 264866 h 1524242"/>
                  <a:gd name="connsiteX1" fmla="*/ 400623 w 2570679"/>
                  <a:gd name="connsiteY1" fmla="*/ 27498 h 1524242"/>
                  <a:gd name="connsiteX2" fmla="*/ 578987 w 2570679"/>
                  <a:gd name="connsiteY2" fmla="*/ 21815 h 1524242"/>
                  <a:gd name="connsiteX3" fmla="*/ 2523398 w 2570679"/>
                  <a:gd name="connsiteY3" fmla="*/ 1093081 h 1524242"/>
                  <a:gd name="connsiteX4" fmla="*/ 2528541 w 2570679"/>
                  <a:gd name="connsiteY4" fmla="*/ 1250063 h 1524242"/>
                  <a:gd name="connsiteX5" fmla="*/ 2143123 w 2570679"/>
                  <a:gd name="connsiteY5" fmla="*/ 1496633 h 1524242"/>
                  <a:gd name="connsiteX6" fmla="*/ 1960699 w 2570679"/>
                  <a:gd name="connsiteY6" fmla="*/ 1500422 h 1524242"/>
                  <a:gd name="connsiteX7" fmla="*/ 31445 w 2570679"/>
                  <a:gd name="connsiteY7" fmla="*/ 372859 h 1524242"/>
                  <a:gd name="connsiteX8" fmla="*/ 29279 w 2570679"/>
                  <a:gd name="connsiteY8" fmla="*/ 264866 h 1524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70679" h="1524242">
                    <a:moveTo>
                      <a:pt x="29279" y="264866"/>
                    </a:moveTo>
                    <a:lnTo>
                      <a:pt x="400623" y="27498"/>
                    </a:lnTo>
                    <a:cubicBezTo>
                      <a:pt x="454484" y="-6875"/>
                      <a:pt x="522961" y="-9311"/>
                      <a:pt x="578987" y="21815"/>
                    </a:cubicBezTo>
                    <a:lnTo>
                      <a:pt x="2523398" y="1093081"/>
                    </a:lnTo>
                    <a:cubicBezTo>
                      <a:pt x="2584026" y="1126372"/>
                      <a:pt x="2587003" y="1212712"/>
                      <a:pt x="2528541" y="1250063"/>
                    </a:cubicBezTo>
                    <a:lnTo>
                      <a:pt x="2143123" y="1496633"/>
                    </a:lnTo>
                    <a:cubicBezTo>
                      <a:pt x="2087909" y="1532089"/>
                      <a:pt x="2017537" y="1533443"/>
                      <a:pt x="1960699" y="1500422"/>
                    </a:cubicBezTo>
                    <a:lnTo>
                      <a:pt x="31445" y="372859"/>
                    </a:lnTo>
                    <a:cubicBezTo>
                      <a:pt x="-9425" y="348770"/>
                      <a:pt x="-10778" y="290308"/>
                      <a:pt x="29279" y="264866"/>
                    </a:cubicBezTo>
                    <a:close/>
                  </a:path>
                </a:pathLst>
              </a:custGeom>
              <a:solidFill>
                <a:sysClr val="windowText" lastClr="000000">
                  <a:alpha val="9000"/>
                </a:sysClr>
              </a:solidFill>
              <a:ln w="270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8987">
                  <a:defRPr/>
                </a:pPr>
                <a:endParaRPr lang="en-IN" sz="2400" kern="0">
                  <a:solidFill>
                    <a:prstClr val="black"/>
                  </a:solidFill>
                  <a:latin typeface="Segoe UI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B0E7671D-39A5-4CF9-99CD-C69B91C544EB}"/>
                  </a:ext>
                </a:extLst>
              </p:cNvPr>
              <p:cNvSpPr/>
              <p:nvPr/>
            </p:nvSpPr>
            <p:spPr>
              <a:xfrm>
                <a:off x="9129468" y="1303653"/>
                <a:ext cx="2939308" cy="3185547"/>
              </a:xfrm>
              <a:custGeom>
                <a:avLst/>
                <a:gdLst>
                  <a:gd name="connsiteX0" fmla="*/ 2174200 w 2993320"/>
                  <a:gd name="connsiteY0" fmla="*/ 3208162 h 3223448"/>
                  <a:gd name="connsiteX1" fmla="*/ 0 w 2993320"/>
                  <a:gd name="connsiteY1" fmla="*/ 2016723 h 3223448"/>
                  <a:gd name="connsiteX2" fmla="*/ 25983 w 2993320"/>
                  <a:gd name="connsiteY2" fmla="*/ 1844313 h 3223448"/>
                  <a:gd name="connsiteX3" fmla="*/ 467157 w 2993320"/>
                  <a:gd name="connsiteY3" fmla="*/ 92611 h 3223448"/>
                  <a:gd name="connsiteX4" fmla="*/ 767046 w 2993320"/>
                  <a:gd name="connsiteY4" fmla="*/ 31442 h 3223448"/>
                  <a:gd name="connsiteX5" fmla="*/ 2918241 w 2993320"/>
                  <a:gd name="connsiteY5" fmla="*/ 1199063 h 3223448"/>
                  <a:gd name="connsiteX6" fmla="*/ 2987530 w 2993320"/>
                  <a:gd name="connsiteY6" fmla="*/ 1365789 h 3223448"/>
                  <a:gd name="connsiteX7" fmla="*/ 2475444 w 2993320"/>
                  <a:gd name="connsiteY7" fmla="*/ 3118303 h 3223448"/>
                  <a:gd name="connsiteX8" fmla="*/ 2174200 w 2993320"/>
                  <a:gd name="connsiteY8" fmla="*/ 3208162 h 3223448"/>
                  <a:gd name="connsiteX0" fmla="*/ 2174200 w 2993320"/>
                  <a:gd name="connsiteY0" fmla="*/ 3203902 h 3219188"/>
                  <a:gd name="connsiteX1" fmla="*/ 0 w 2993320"/>
                  <a:gd name="connsiteY1" fmla="*/ 2012463 h 3219188"/>
                  <a:gd name="connsiteX2" fmla="*/ 25983 w 2993320"/>
                  <a:gd name="connsiteY2" fmla="*/ 1840053 h 3219188"/>
                  <a:gd name="connsiteX3" fmla="*/ 537271 w 2993320"/>
                  <a:gd name="connsiteY3" fmla="*/ 105880 h 3219188"/>
                  <a:gd name="connsiteX4" fmla="*/ 767046 w 2993320"/>
                  <a:gd name="connsiteY4" fmla="*/ 27182 h 3219188"/>
                  <a:gd name="connsiteX5" fmla="*/ 2918241 w 2993320"/>
                  <a:gd name="connsiteY5" fmla="*/ 1194803 h 3219188"/>
                  <a:gd name="connsiteX6" fmla="*/ 2987530 w 2993320"/>
                  <a:gd name="connsiteY6" fmla="*/ 1361529 h 3219188"/>
                  <a:gd name="connsiteX7" fmla="*/ 2475444 w 2993320"/>
                  <a:gd name="connsiteY7" fmla="*/ 3114043 h 3219188"/>
                  <a:gd name="connsiteX8" fmla="*/ 2174200 w 2993320"/>
                  <a:gd name="connsiteY8" fmla="*/ 3203902 h 3219188"/>
                  <a:gd name="connsiteX0" fmla="*/ 2174200 w 2993320"/>
                  <a:gd name="connsiteY0" fmla="*/ 3211643 h 3226929"/>
                  <a:gd name="connsiteX1" fmla="*/ 0 w 2993320"/>
                  <a:gd name="connsiteY1" fmla="*/ 2020204 h 3226929"/>
                  <a:gd name="connsiteX2" fmla="*/ 25983 w 2993320"/>
                  <a:gd name="connsiteY2" fmla="*/ 1847794 h 3226929"/>
                  <a:gd name="connsiteX3" fmla="*/ 537271 w 2993320"/>
                  <a:gd name="connsiteY3" fmla="*/ 113621 h 3226929"/>
                  <a:gd name="connsiteX4" fmla="*/ 767046 w 2993320"/>
                  <a:gd name="connsiteY4" fmla="*/ 34923 h 3226929"/>
                  <a:gd name="connsiteX5" fmla="*/ 2918241 w 2993320"/>
                  <a:gd name="connsiteY5" fmla="*/ 1202544 h 3226929"/>
                  <a:gd name="connsiteX6" fmla="*/ 2987530 w 2993320"/>
                  <a:gd name="connsiteY6" fmla="*/ 1369270 h 3226929"/>
                  <a:gd name="connsiteX7" fmla="*/ 2475444 w 2993320"/>
                  <a:gd name="connsiteY7" fmla="*/ 3121784 h 3226929"/>
                  <a:gd name="connsiteX8" fmla="*/ 2174200 w 2993320"/>
                  <a:gd name="connsiteY8" fmla="*/ 3211643 h 3226929"/>
                  <a:gd name="connsiteX0" fmla="*/ 2151168 w 2970288"/>
                  <a:gd name="connsiteY0" fmla="*/ 3211643 h 3226929"/>
                  <a:gd name="connsiteX1" fmla="*/ 38318 w 2970288"/>
                  <a:gd name="connsiteY1" fmla="*/ 1999754 h 3226929"/>
                  <a:gd name="connsiteX2" fmla="*/ 2951 w 2970288"/>
                  <a:gd name="connsiteY2" fmla="*/ 1847794 h 3226929"/>
                  <a:gd name="connsiteX3" fmla="*/ 514239 w 2970288"/>
                  <a:gd name="connsiteY3" fmla="*/ 113621 h 3226929"/>
                  <a:gd name="connsiteX4" fmla="*/ 744014 w 2970288"/>
                  <a:gd name="connsiteY4" fmla="*/ 34923 h 3226929"/>
                  <a:gd name="connsiteX5" fmla="*/ 2895209 w 2970288"/>
                  <a:gd name="connsiteY5" fmla="*/ 1202544 h 3226929"/>
                  <a:gd name="connsiteX6" fmla="*/ 2964498 w 2970288"/>
                  <a:gd name="connsiteY6" fmla="*/ 1369270 h 3226929"/>
                  <a:gd name="connsiteX7" fmla="*/ 2452412 w 2970288"/>
                  <a:gd name="connsiteY7" fmla="*/ 3121784 h 3226929"/>
                  <a:gd name="connsiteX8" fmla="*/ 2151168 w 2970288"/>
                  <a:gd name="connsiteY8" fmla="*/ 3211643 h 3226929"/>
                  <a:gd name="connsiteX0" fmla="*/ 2155767 w 2974887"/>
                  <a:gd name="connsiteY0" fmla="*/ 3211643 h 3226929"/>
                  <a:gd name="connsiteX1" fmla="*/ 42917 w 2974887"/>
                  <a:gd name="connsiteY1" fmla="*/ 1999754 h 3226929"/>
                  <a:gd name="connsiteX2" fmla="*/ 7550 w 2974887"/>
                  <a:gd name="connsiteY2" fmla="*/ 1847794 h 3226929"/>
                  <a:gd name="connsiteX3" fmla="*/ 518838 w 2974887"/>
                  <a:gd name="connsiteY3" fmla="*/ 113621 h 3226929"/>
                  <a:gd name="connsiteX4" fmla="*/ 748613 w 2974887"/>
                  <a:gd name="connsiteY4" fmla="*/ 34923 h 3226929"/>
                  <a:gd name="connsiteX5" fmla="*/ 2899808 w 2974887"/>
                  <a:gd name="connsiteY5" fmla="*/ 1202544 h 3226929"/>
                  <a:gd name="connsiteX6" fmla="*/ 2969097 w 2974887"/>
                  <a:gd name="connsiteY6" fmla="*/ 1369270 h 3226929"/>
                  <a:gd name="connsiteX7" fmla="*/ 2457011 w 2974887"/>
                  <a:gd name="connsiteY7" fmla="*/ 3121784 h 3226929"/>
                  <a:gd name="connsiteX8" fmla="*/ 2155767 w 2974887"/>
                  <a:gd name="connsiteY8" fmla="*/ 3211643 h 3226929"/>
                  <a:gd name="connsiteX0" fmla="*/ 2165599 w 2974887"/>
                  <a:gd name="connsiteY0" fmla="*/ 3211643 h 3226929"/>
                  <a:gd name="connsiteX1" fmla="*/ 42917 w 2974887"/>
                  <a:gd name="connsiteY1" fmla="*/ 1999754 h 3226929"/>
                  <a:gd name="connsiteX2" fmla="*/ 7550 w 2974887"/>
                  <a:gd name="connsiteY2" fmla="*/ 1847794 h 3226929"/>
                  <a:gd name="connsiteX3" fmla="*/ 518838 w 2974887"/>
                  <a:gd name="connsiteY3" fmla="*/ 113621 h 3226929"/>
                  <a:gd name="connsiteX4" fmla="*/ 748613 w 2974887"/>
                  <a:gd name="connsiteY4" fmla="*/ 34923 h 3226929"/>
                  <a:gd name="connsiteX5" fmla="*/ 2899808 w 2974887"/>
                  <a:gd name="connsiteY5" fmla="*/ 1202544 h 3226929"/>
                  <a:gd name="connsiteX6" fmla="*/ 2969097 w 2974887"/>
                  <a:gd name="connsiteY6" fmla="*/ 1369270 h 3226929"/>
                  <a:gd name="connsiteX7" fmla="*/ 2457011 w 2974887"/>
                  <a:gd name="connsiteY7" fmla="*/ 3121784 h 3226929"/>
                  <a:gd name="connsiteX8" fmla="*/ 2165599 w 2974887"/>
                  <a:gd name="connsiteY8" fmla="*/ 3211643 h 3226929"/>
                  <a:gd name="connsiteX0" fmla="*/ 2165599 w 2974887"/>
                  <a:gd name="connsiteY0" fmla="*/ 3211643 h 3231149"/>
                  <a:gd name="connsiteX1" fmla="*/ 42917 w 2974887"/>
                  <a:gd name="connsiteY1" fmla="*/ 1999754 h 3231149"/>
                  <a:gd name="connsiteX2" fmla="*/ 7550 w 2974887"/>
                  <a:gd name="connsiteY2" fmla="*/ 1847794 h 3231149"/>
                  <a:gd name="connsiteX3" fmla="*/ 518838 w 2974887"/>
                  <a:gd name="connsiteY3" fmla="*/ 113621 h 3231149"/>
                  <a:gd name="connsiteX4" fmla="*/ 748613 w 2974887"/>
                  <a:gd name="connsiteY4" fmla="*/ 34923 h 3231149"/>
                  <a:gd name="connsiteX5" fmla="*/ 2899808 w 2974887"/>
                  <a:gd name="connsiteY5" fmla="*/ 1202544 h 3231149"/>
                  <a:gd name="connsiteX6" fmla="*/ 2969097 w 2974887"/>
                  <a:gd name="connsiteY6" fmla="*/ 1369270 h 3231149"/>
                  <a:gd name="connsiteX7" fmla="*/ 2457011 w 2974887"/>
                  <a:gd name="connsiteY7" fmla="*/ 3121784 h 3231149"/>
                  <a:gd name="connsiteX8" fmla="*/ 2165599 w 2974887"/>
                  <a:gd name="connsiteY8" fmla="*/ 3211643 h 3231149"/>
                  <a:gd name="connsiteX0" fmla="*/ 2165599 w 2974887"/>
                  <a:gd name="connsiteY0" fmla="*/ 3211643 h 3235257"/>
                  <a:gd name="connsiteX1" fmla="*/ 42917 w 2974887"/>
                  <a:gd name="connsiteY1" fmla="*/ 1999754 h 3235257"/>
                  <a:gd name="connsiteX2" fmla="*/ 7550 w 2974887"/>
                  <a:gd name="connsiteY2" fmla="*/ 1847794 h 3235257"/>
                  <a:gd name="connsiteX3" fmla="*/ 518838 w 2974887"/>
                  <a:gd name="connsiteY3" fmla="*/ 113621 h 3235257"/>
                  <a:gd name="connsiteX4" fmla="*/ 748613 w 2974887"/>
                  <a:gd name="connsiteY4" fmla="*/ 34923 h 3235257"/>
                  <a:gd name="connsiteX5" fmla="*/ 2899808 w 2974887"/>
                  <a:gd name="connsiteY5" fmla="*/ 1202544 h 3235257"/>
                  <a:gd name="connsiteX6" fmla="*/ 2969097 w 2974887"/>
                  <a:gd name="connsiteY6" fmla="*/ 1369270 h 3235257"/>
                  <a:gd name="connsiteX7" fmla="*/ 2437346 w 2974887"/>
                  <a:gd name="connsiteY7" fmla="*/ 3141448 h 3235257"/>
                  <a:gd name="connsiteX8" fmla="*/ 2165599 w 2974887"/>
                  <a:gd name="connsiteY8" fmla="*/ 3211643 h 3235257"/>
                  <a:gd name="connsiteX0" fmla="*/ 2165599 w 2974887"/>
                  <a:gd name="connsiteY0" fmla="*/ 3211643 h 3233300"/>
                  <a:gd name="connsiteX1" fmla="*/ 42917 w 2974887"/>
                  <a:gd name="connsiteY1" fmla="*/ 1999754 h 3233300"/>
                  <a:gd name="connsiteX2" fmla="*/ 7550 w 2974887"/>
                  <a:gd name="connsiteY2" fmla="*/ 1847794 h 3233300"/>
                  <a:gd name="connsiteX3" fmla="*/ 518838 w 2974887"/>
                  <a:gd name="connsiteY3" fmla="*/ 113621 h 3233300"/>
                  <a:gd name="connsiteX4" fmla="*/ 748613 w 2974887"/>
                  <a:gd name="connsiteY4" fmla="*/ 34923 h 3233300"/>
                  <a:gd name="connsiteX5" fmla="*/ 2899808 w 2974887"/>
                  <a:gd name="connsiteY5" fmla="*/ 1202544 h 3233300"/>
                  <a:gd name="connsiteX6" fmla="*/ 2969097 w 2974887"/>
                  <a:gd name="connsiteY6" fmla="*/ 1369270 h 3233300"/>
                  <a:gd name="connsiteX7" fmla="*/ 2437346 w 2974887"/>
                  <a:gd name="connsiteY7" fmla="*/ 3141448 h 3233300"/>
                  <a:gd name="connsiteX8" fmla="*/ 2165599 w 2974887"/>
                  <a:gd name="connsiteY8" fmla="*/ 3211643 h 3233300"/>
                  <a:gd name="connsiteX0" fmla="*/ 2158049 w 2967337"/>
                  <a:gd name="connsiteY0" fmla="*/ 3211643 h 3233300"/>
                  <a:gd name="connsiteX1" fmla="*/ 35367 w 2967337"/>
                  <a:gd name="connsiteY1" fmla="*/ 1999754 h 3233300"/>
                  <a:gd name="connsiteX2" fmla="*/ 0 w 2967337"/>
                  <a:gd name="connsiteY2" fmla="*/ 1847794 h 3233300"/>
                  <a:gd name="connsiteX3" fmla="*/ 511288 w 2967337"/>
                  <a:gd name="connsiteY3" fmla="*/ 113621 h 3233300"/>
                  <a:gd name="connsiteX4" fmla="*/ 741063 w 2967337"/>
                  <a:gd name="connsiteY4" fmla="*/ 34923 h 3233300"/>
                  <a:gd name="connsiteX5" fmla="*/ 2892258 w 2967337"/>
                  <a:gd name="connsiteY5" fmla="*/ 1202544 h 3233300"/>
                  <a:gd name="connsiteX6" fmla="*/ 2961547 w 2967337"/>
                  <a:gd name="connsiteY6" fmla="*/ 1369270 h 3233300"/>
                  <a:gd name="connsiteX7" fmla="*/ 2429796 w 2967337"/>
                  <a:gd name="connsiteY7" fmla="*/ 3141448 h 3233300"/>
                  <a:gd name="connsiteX8" fmla="*/ 2158049 w 2967337"/>
                  <a:gd name="connsiteY8" fmla="*/ 3211643 h 3233300"/>
                  <a:gd name="connsiteX0" fmla="*/ 2130020 w 2939308"/>
                  <a:gd name="connsiteY0" fmla="*/ 3211643 h 3233300"/>
                  <a:gd name="connsiteX1" fmla="*/ 7338 w 2939308"/>
                  <a:gd name="connsiteY1" fmla="*/ 1999754 h 3233300"/>
                  <a:gd name="connsiteX2" fmla="*/ 21132 w 2939308"/>
                  <a:gd name="connsiteY2" fmla="*/ 1882207 h 3233300"/>
                  <a:gd name="connsiteX3" fmla="*/ 483259 w 2939308"/>
                  <a:gd name="connsiteY3" fmla="*/ 113621 h 3233300"/>
                  <a:gd name="connsiteX4" fmla="*/ 713034 w 2939308"/>
                  <a:gd name="connsiteY4" fmla="*/ 34923 h 3233300"/>
                  <a:gd name="connsiteX5" fmla="*/ 2864229 w 2939308"/>
                  <a:gd name="connsiteY5" fmla="*/ 1202544 h 3233300"/>
                  <a:gd name="connsiteX6" fmla="*/ 2933518 w 2939308"/>
                  <a:gd name="connsiteY6" fmla="*/ 1369270 h 3233300"/>
                  <a:gd name="connsiteX7" fmla="*/ 2401767 w 2939308"/>
                  <a:gd name="connsiteY7" fmla="*/ 3141448 h 3233300"/>
                  <a:gd name="connsiteX8" fmla="*/ 2130020 w 2939308"/>
                  <a:gd name="connsiteY8" fmla="*/ 3211643 h 3233300"/>
                  <a:gd name="connsiteX0" fmla="*/ 2130020 w 2939308"/>
                  <a:gd name="connsiteY0" fmla="*/ 3182065 h 3203722"/>
                  <a:gd name="connsiteX1" fmla="*/ 7338 w 2939308"/>
                  <a:gd name="connsiteY1" fmla="*/ 1970176 h 3203722"/>
                  <a:gd name="connsiteX2" fmla="*/ 21132 w 2939308"/>
                  <a:gd name="connsiteY2" fmla="*/ 1852629 h 3203722"/>
                  <a:gd name="connsiteX3" fmla="*/ 483259 w 2939308"/>
                  <a:gd name="connsiteY3" fmla="*/ 84043 h 3203722"/>
                  <a:gd name="connsiteX4" fmla="*/ 786776 w 2939308"/>
                  <a:gd name="connsiteY4" fmla="*/ 54506 h 3203722"/>
                  <a:gd name="connsiteX5" fmla="*/ 2864229 w 2939308"/>
                  <a:gd name="connsiteY5" fmla="*/ 1172966 h 3203722"/>
                  <a:gd name="connsiteX6" fmla="*/ 2933518 w 2939308"/>
                  <a:gd name="connsiteY6" fmla="*/ 1339692 h 3203722"/>
                  <a:gd name="connsiteX7" fmla="*/ 2401767 w 2939308"/>
                  <a:gd name="connsiteY7" fmla="*/ 3111870 h 3203722"/>
                  <a:gd name="connsiteX8" fmla="*/ 2130020 w 2939308"/>
                  <a:gd name="connsiteY8" fmla="*/ 3182065 h 3203722"/>
                  <a:gd name="connsiteX0" fmla="*/ 2130020 w 2939308"/>
                  <a:gd name="connsiteY0" fmla="*/ 3169922 h 3191579"/>
                  <a:gd name="connsiteX1" fmla="*/ 7338 w 2939308"/>
                  <a:gd name="connsiteY1" fmla="*/ 1958033 h 3191579"/>
                  <a:gd name="connsiteX2" fmla="*/ 21132 w 2939308"/>
                  <a:gd name="connsiteY2" fmla="*/ 1840486 h 3191579"/>
                  <a:gd name="connsiteX3" fmla="*/ 483259 w 2939308"/>
                  <a:gd name="connsiteY3" fmla="*/ 71900 h 3191579"/>
                  <a:gd name="connsiteX4" fmla="*/ 786776 w 2939308"/>
                  <a:gd name="connsiteY4" fmla="*/ 42363 h 3191579"/>
                  <a:gd name="connsiteX5" fmla="*/ 2864229 w 2939308"/>
                  <a:gd name="connsiteY5" fmla="*/ 1160823 h 3191579"/>
                  <a:gd name="connsiteX6" fmla="*/ 2933518 w 2939308"/>
                  <a:gd name="connsiteY6" fmla="*/ 1327549 h 3191579"/>
                  <a:gd name="connsiteX7" fmla="*/ 2401767 w 2939308"/>
                  <a:gd name="connsiteY7" fmla="*/ 3099727 h 3191579"/>
                  <a:gd name="connsiteX8" fmla="*/ 2130020 w 2939308"/>
                  <a:gd name="connsiteY8" fmla="*/ 3169922 h 3191579"/>
                  <a:gd name="connsiteX0" fmla="*/ 2130020 w 2939308"/>
                  <a:gd name="connsiteY0" fmla="*/ 3164352 h 3186009"/>
                  <a:gd name="connsiteX1" fmla="*/ 7338 w 2939308"/>
                  <a:gd name="connsiteY1" fmla="*/ 1952463 h 3186009"/>
                  <a:gd name="connsiteX2" fmla="*/ 21132 w 2939308"/>
                  <a:gd name="connsiteY2" fmla="*/ 1834916 h 3186009"/>
                  <a:gd name="connsiteX3" fmla="*/ 502924 w 2939308"/>
                  <a:gd name="connsiteY3" fmla="*/ 81078 h 3186009"/>
                  <a:gd name="connsiteX4" fmla="*/ 786776 w 2939308"/>
                  <a:gd name="connsiteY4" fmla="*/ 36793 h 3186009"/>
                  <a:gd name="connsiteX5" fmla="*/ 2864229 w 2939308"/>
                  <a:gd name="connsiteY5" fmla="*/ 1155253 h 3186009"/>
                  <a:gd name="connsiteX6" fmla="*/ 2933518 w 2939308"/>
                  <a:gd name="connsiteY6" fmla="*/ 1321979 h 3186009"/>
                  <a:gd name="connsiteX7" fmla="*/ 2401767 w 2939308"/>
                  <a:gd name="connsiteY7" fmla="*/ 3094157 h 3186009"/>
                  <a:gd name="connsiteX8" fmla="*/ 2130020 w 2939308"/>
                  <a:gd name="connsiteY8" fmla="*/ 3164352 h 3186009"/>
                  <a:gd name="connsiteX0" fmla="*/ 2130020 w 2939308"/>
                  <a:gd name="connsiteY0" fmla="*/ 3165763 h 3187420"/>
                  <a:gd name="connsiteX1" fmla="*/ 7338 w 2939308"/>
                  <a:gd name="connsiteY1" fmla="*/ 1953874 h 3187420"/>
                  <a:gd name="connsiteX2" fmla="*/ 21132 w 2939308"/>
                  <a:gd name="connsiteY2" fmla="*/ 1836327 h 3187420"/>
                  <a:gd name="connsiteX3" fmla="*/ 502924 w 2939308"/>
                  <a:gd name="connsiteY3" fmla="*/ 82489 h 3187420"/>
                  <a:gd name="connsiteX4" fmla="*/ 786776 w 2939308"/>
                  <a:gd name="connsiteY4" fmla="*/ 38204 h 3187420"/>
                  <a:gd name="connsiteX5" fmla="*/ 2864229 w 2939308"/>
                  <a:gd name="connsiteY5" fmla="*/ 1156664 h 3187420"/>
                  <a:gd name="connsiteX6" fmla="*/ 2933518 w 2939308"/>
                  <a:gd name="connsiteY6" fmla="*/ 1323390 h 3187420"/>
                  <a:gd name="connsiteX7" fmla="*/ 2401767 w 2939308"/>
                  <a:gd name="connsiteY7" fmla="*/ 3095568 h 3187420"/>
                  <a:gd name="connsiteX8" fmla="*/ 2130020 w 2939308"/>
                  <a:gd name="connsiteY8" fmla="*/ 3165763 h 3187420"/>
                  <a:gd name="connsiteX0" fmla="*/ 2130020 w 2939308"/>
                  <a:gd name="connsiteY0" fmla="*/ 3165763 h 3187420"/>
                  <a:gd name="connsiteX1" fmla="*/ 7338 w 2939308"/>
                  <a:gd name="connsiteY1" fmla="*/ 1953874 h 3187420"/>
                  <a:gd name="connsiteX2" fmla="*/ 21132 w 2939308"/>
                  <a:gd name="connsiteY2" fmla="*/ 1836327 h 3187420"/>
                  <a:gd name="connsiteX3" fmla="*/ 502924 w 2939308"/>
                  <a:gd name="connsiteY3" fmla="*/ 82489 h 3187420"/>
                  <a:gd name="connsiteX4" fmla="*/ 786776 w 2939308"/>
                  <a:gd name="connsiteY4" fmla="*/ 38204 h 3187420"/>
                  <a:gd name="connsiteX5" fmla="*/ 2864229 w 2939308"/>
                  <a:gd name="connsiteY5" fmla="*/ 1156664 h 3187420"/>
                  <a:gd name="connsiteX6" fmla="*/ 2933518 w 2939308"/>
                  <a:gd name="connsiteY6" fmla="*/ 1323390 h 3187420"/>
                  <a:gd name="connsiteX7" fmla="*/ 2401767 w 2939308"/>
                  <a:gd name="connsiteY7" fmla="*/ 3095568 h 3187420"/>
                  <a:gd name="connsiteX8" fmla="*/ 2130020 w 2939308"/>
                  <a:gd name="connsiteY8" fmla="*/ 3165763 h 3187420"/>
                  <a:gd name="connsiteX0" fmla="*/ 2130020 w 2939308"/>
                  <a:gd name="connsiteY0" fmla="*/ 3151014 h 3172671"/>
                  <a:gd name="connsiteX1" fmla="*/ 7338 w 2939308"/>
                  <a:gd name="connsiteY1" fmla="*/ 1939125 h 3172671"/>
                  <a:gd name="connsiteX2" fmla="*/ 21132 w 2939308"/>
                  <a:gd name="connsiteY2" fmla="*/ 1821578 h 3172671"/>
                  <a:gd name="connsiteX3" fmla="*/ 522588 w 2939308"/>
                  <a:gd name="connsiteY3" fmla="*/ 126734 h 3172671"/>
                  <a:gd name="connsiteX4" fmla="*/ 786776 w 2939308"/>
                  <a:gd name="connsiteY4" fmla="*/ 23455 h 3172671"/>
                  <a:gd name="connsiteX5" fmla="*/ 2864229 w 2939308"/>
                  <a:gd name="connsiteY5" fmla="*/ 1141915 h 3172671"/>
                  <a:gd name="connsiteX6" fmla="*/ 2933518 w 2939308"/>
                  <a:gd name="connsiteY6" fmla="*/ 1308641 h 3172671"/>
                  <a:gd name="connsiteX7" fmla="*/ 2401767 w 2939308"/>
                  <a:gd name="connsiteY7" fmla="*/ 3080819 h 3172671"/>
                  <a:gd name="connsiteX8" fmla="*/ 2130020 w 2939308"/>
                  <a:gd name="connsiteY8" fmla="*/ 3151014 h 3172671"/>
                  <a:gd name="connsiteX0" fmla="*/ 2130020 w 2939308"/>
                  <a:gd name="connsiteY0" fmla="*/ 3159127 h 3180784"/>
                  <a:gd name="connsiteX1" fmla="*/ 7338 w 2939308"/>
                  <a:gd name="connsiteY1" fmla="*/ 1947238 h 3180784"/>
                  <a:gd name="connsiteX2" fmla="*/ 21132 w 2939308"/>
                  <a:gd name="connsiteY2" fmla="*/ 1829691 h 3180784"/>
                  <a:gd name="connsiteX3" fmla="*/ 522588 w 2939308"/>
                  <a:gd name="connsiteY3" fmla="*/ 134847 h 3180784"/>
                  <a:gd name="connsiteX4" fmla="*/ 786776 w 2939308"/>
                  <a:gd name="connsiteY4" fmla="*/ 31568 h 3180784"/>
                  <a:gd name="connsiteX5" fmla="*/ 2864229 w 2939308"/>
                  <a:gd name="connsiteY5" fmla="*/ 1150028 h 3180784"/>
                  <a:gd name="connsiteX6" fmla="*/ 2933518 w 2939308"/>
                  <a:gd name="connsiteY6" fmla="*/ 1316754 h 3180784"/>
                  <a:gd name="connsiteX7" fmla="*/ 2401767 w 2939308"/>
                  <a:gd name="connsiteY7" fmla="*/ 3088932 h 3180784"/>
                  <a:gd name="connsiteX8" fmla="*/ 2130020 w 2939308"/>
                  <a:gd name="connsiteY8" fmla="*/ 3159127 h 3180784"/>
                  <a:gd name="connsiteX0" fmla="*/ 2130020 w 2939308"/>
                  <a:gd name="connsiteY0" fmla="*/ 3178243 h 3199900"/>
                  <a:gd name="connsiteX1" fmla="*/ 7338 w 2939308"/>
                  <a:gd name="connsiteY1" fmla="*/ 1966354 h 3199900"/>
                  <a:gd name="connsiteX2" fmla="*/ 21132 w 2939308"/>
                  <a:gd name="connsiteY2" fmla="*/ 1848807 h 3199900"/>
                  <a:gd name="connsiteX3" fmla="*/ 522588 w 2939308"/>
                  <a:gd name="connsiteY3" fmla="*/ 153963 h 3199900"/>
                  <a:gd name="connsiteX4" fmla="*/ 703201 w 2939308"/>
                  <a:gd name="connsiteY4" fmla="*/ 26103 h 3199900"/>
                  <a:gd name="connsiteX5" fmla="*/ 2864229 w 2939308"/>
                  <a:gd name="connsiteY5" fmla="*/ 1169144 h 3199900"/>
                  <a:gd name="connsiteX6" fmla="*/ 2933518 w 2939308"/>
                  <a:gd name="connsiteY6" fmla="*/ 1335870 h 3199900"/>
                  <a:gd name="connsiteX7" fmla="*/ 2401767 w 2939308"/>
                  <a:gd name="connsiteY7" fmla="*/ 3108048 h 3199900"/>
                  <a:gd name="connsiteX8" fmla="*/ 2130020 w 2939308"/>
                  <a:gd name="connsiteY8" fmla="*/ 3178243 h 3199900"/>
                  <a:gd name="connsiteX0" fmla="*/ 2130020 w 2939308"/>
                  <a:gd name="connsiteY0" fmla="*/ 3162450 h 3184107"/>
                  <a:gd name="connsiteX1" fmla="*/ 7338 w 2939308"/>
                  <a:gd name="connsiteY1" fmla="*/ 1950561 h 3184107"/>
                  <a:gd name="connsiteX2" fmla="*/ 21132 w 2939308"/>
                  <a:gd name="connsiteY2" fmla="*/ 1833014 h 3184107"/>
                  <a:gd name="connsiteX3" fmla="*/ 439013 w 2939308"/>
                  <a:gd name="connsiteY3" fmla="*/ 324983 h 3184107"/>
                  <a:gd name="connsiteX4" fmla="*/ 703201 w 2939308"/>
                  <a:gd name="connsiteY4" fmla="*/ 10310 h 3184107"/>
                  <a:gd name="connsiteX5" fmla="*/ 2864229 w 2939308"/>
                  <a:gd name="connsiteY5" fmla="*/ 1153351 h 3184107"/>
                  <a:gd name="connsiteX6" fmla="*/ 2933518 w 2939308"/>
                  <a:gd name="connsiteY6" fmla="*/ 1320077 h 3184107"/>
                  <a:gd name="connsiteX7" fmla="*/ 2401767 w 2939308"/>
                  <a:gd name="connsiteY7" fmla="*/ 3092255 h 3184107"/>
                  <a:gd name="connsiteX8" fmla="*/ 2130020 w 2939308"/>
                  <a:gd name="connsiteY8" fmla="*/ 3162450 h 3184107"/>
                  <a:gd name="connsiteX0" fmla="*/ 2130020 w 2939308"/>
                  <a:gd name="connsiteY0" fmla="*/ 3169183 h 3190840"/>
                  <a:gd name="connsiteX1" fmla="*/ 7338 w 2939308"/>
                  <a:gd name="connsiteY1" fmla="*/ 1957294 h 3190840"/>
                  <a:gd name="connsiteX2" fmla="*/ 21132 w 2939308"/>
                  <a:gd name="connsiteY2" fmla="*/ 1839747 h 3190840"/>
                  <a:gd name="connsiteX3" fmla="*/ 439013 w 2939308"/>
                  <a:gd name="connsiteY3" fmla="*/ 331716 h 3190840"/>
                  <a:gd name="connsiteX4" fmla="*/ 703201 w 2939308"/>
                  <a:gd name="connsiteY4" fmla="*/ 17043 h 3190840"/>
                  <a:gd name="connsiteX5" fmla="*/ 2864229 w 2939308"/>
                  <a:gd name="connsiteY5" fmla="*/ 1160084 h 3190840"/>
                  <a:gd name="connsiteX6" fmla="*/ 2933518 w 2939308"/>
                  <a:gd name="connsiteY6" fmla="*/ 1326810 h 3190840"/>
                  <a:gd name="connsiteX7" fmla="*/ 2401767 w 2939308"/>
                  <a:gd name="connsiteY7" fmla="*/ 3098988 h 3190840"/>
                  <a:gd name="connsiteX8" fmla="*/ 2130020 w 2939308"/>
                  <a:gd name="connsiteY8" fmla="*/ 3169183 h 3190840"/>
                  <a:gd name="connsiteX0" fmla="*/ 2130020 w 2939308"/>
                  <a:gd name="connsiteY0" fmla="*/ 3160239 h 3181896"/>
                  <a:gd name="connsiteX1" fmla="*/ 7338 w 2939308"/>
                  <a:gd name="connsiteY1" fmla="*/ 1948350 h 3181896"/>
                  <a:gd name="connsiteX2" fmla="*/ 21132 w 2939308"/>
                  <a:gd name="connsiteY2" fmla="*/ 1830803 h 3181896"/>
                  <a:gd name="connsiteX3" fmla="*/ 439013 w 2939308"/>
                  <a:gd name="connsiteY3" fmla="*/ 322772 h 3181896"/>
                  <a:gd name="connsiteX4" fmla="*/ 708117 w 2939308"/>
                  <a:gd name="connsiteY4" fmla="*/ 17932 h 3181896"/>
                  <a:gd name="connsiteX5" fmla="*/ 2864229 w 2939308"/>
                  <a:gd name="connsiteY5" fmla="*/ 1151140 h 3181896"/>
                  <a:gd name="connsiteX6" fmla="*/ 2933518 w 2939308"/>
                  <a:gd name="connsiteY6" fmla="*/ 1317866 h 3181896"/>
                  <a:gd name="connsiteX7" fmla="*/ 2401767 w 2939308"/>
                  <a:gd name="connsiteY7" fmla="*/ 3090044 h 3181896"/>
                  <a:gd name="connsiteX8" fmla="*/ 2130020 w 2939308"/>
                  <a:gd name="connsiteY8" fmla="*/ 3160239 h 3181896"/>
                  <a:gd name="connsiteX0" fmla="*/ 2130020 w 2939308"/>
                  <a:gd name="connsiteY0" fmla="*/ 3207998 h 3229655"/>
                  <a:gd name="connsiteX1" fmla="*/ 7338 w 2939308"/>
                  <a:gd name="connsiteY1" fmla="*/ 1996109 h 3229655"/>
                  <a:gd name="connsiteX2" fmla="*/ 21132 w 2939308"/>
                  <a:gd name="connsiteY2" fmla="*/ 1878562 h 3229655"/>
                  <a:gd name="connsiteX3" fmla="*/ 503269 w 2939308"/>
                  <a:gd name="connsiteY3" fmla="*/ 180237 h 3229655"/>
                  <a:gd name="connsiteX4" fmla="*/ 708117 w 2939308"/>
                  <a:gd name="connsiteY4" fmla="*/ 65691 h 3229655"/>
                  <a:gd name="connsiteX5" fmla="*/ 2864229 w 2939308"/>
                  <a:gd name="connsiteY5" fmla="*/ 1198899 h 3229655"/>
                  <a:gd name="connsiteX6" fmla="*/ 2933518 w 2939308"/>
                  <a:gd name="connsiteY6" fmla="*/ 1365625 h 3229655"/>
                  <a:gd name="connsiteX7" fmla="*/ 2401767 w 2939308"/>
                  <a:gd name="connsiteY7" fmla="*/ 3137803 h 3229655"/>
                  <a:gd name="connsiteX8" fmla="*/ 2130020 w 2939308"/>
                  <a:gd name="connsiteY8" fmla="*/ 3207998 h 3229655"/>
                  <a:gd name="connsiteX0" fmla="*/ 2130020 w 2939308"/>
                  <a:gd name="connsiteY0" fmla="*/ 3163890 h 3185547"/>
                  <a:gd name="connsiteX1" fmla="*/ 7338 w 2939308"/>
                  <a:gd name="connsiteY1" fmla="*/ 1952001 h 3185547"/>
                  <a:gd name="connsiteX2" fmla="*/ 21132 w 2939308"/>
                  <a:gd name="connsiteY2" fmla="*/ 1834454 h 3185547"/>
                  <a:gd name="connsiteX3" fmla="*/ 503269 w 2939308"/>
                  <a:gd name="connsiteY3" fmla="*/ 136129 h 3185547"/>
                  <a:gd name="connsiteX4" fmla="*/ 708117 w 2939308"/>
                  <a:gd name="connsiteY4" fmla="*/ 21583 h 3185547"/>
                  <a:gd name="connsiteX5" fmla="*/ 2864229 w 2939308"/>
                  <a:gd name="connsiteY5" fmla="*/ 1154791 h 3185547"/>
                  <a:gd name="connsiteX6" fmla="*/ 2933518 w 2939308"/>
                  <a:gd name="connsiteY6" fmla="*/ 1321517 h 3185547"/>
                  <a:gd name="connsiteX7" fmla="*/ 2401767 w 2939308"/>
                  <a:gd name="connsiteY7" fmla="*/ 3093695 h 3185547"/>
                  <a:gd name="connsiteX8" fmla="*/ 2130020 w 2939308"/>
                  <a:gd name="connsiteY8" fmla="*/ 3163890 h 3185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39308" h="3185547">
                    <a:moveTo>
                      <a:pt x="2130020" y="3163890"/>
                    </a:moveTo>
                    <a:lnTo>
                      <a:pt x="7338" y="1952001"/>
                    </a:lnTo>
                    <a:cubicBezTo>
                      <a:pt x="-25480" y="1926876"/>
                      <a:pt x="65012" y="1880018"/>
                      <a:pt x="21132" y="1834454"/>
                    </a:cubicBezTo>
                    <a:cubicBezTo>
                      <a:pt x="168190" y="1250553"/>
                      <a:pt x="356211" y="720030"/>
                      <a:pt x="503269" y="136129"/>
                    </a:cubicBezTo>
                    <a:cubicBezTo>
                      <a:pt x="490735" y="44888"/>
                      <a:pt x="588624" y="-41480"/>
                      <a:pt x="708117" y="21583"/>
                    </a:cubicBezTo>
                    <a:lnTo>
                      <a:pt x="2864229" y="1154791"/>
                    </a:lnTo>
                    <a:cubicBezTo>
                      <a:pt x="2923774" y="1186999"/>
                      <a:pt x="2952464" y="1256559"/>
                      <a:pt x="2933518" y="1321517"/>
                    </a:cubicBezTo>
                    <a:lnTo>
                      <a:pt x="2401767" y="3093695"/>
                    </a:lnTo>
                    <a:cubicBezTo>
                      <a:pt x="2376054" y="3172098"/>
                      <a:pt x="2285202" y="3213779"/>
                      <a:pt x="2130020" y="3163890"/>
                    </a:cubicBezTo>
                    <a:close/>
                  </a:path>
                </a:pathLst>
              </a:custGeom>
              <a:solidFill>
                <a:srgbClr val="372E99"/>
              </a:solidFill>
              <a:ln w="270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8987">
                  <a:defRPr/>
                </a:pPr>
                <a:endParaRPr lang="en-IN" sz="2400" kern="0">
                  <a:solidFill>
                    <a:prstClr val="black"/>
                  </a:solidFill>
                  <a:latin typeface="Segoe UI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740698F3-CA97-45C7-A64B-68ABE6EC7FE9}"/>
                  </a:ext>
                </a:extLst>
              </p:cNvPr>
              <p:cNvSpPr/>
              <p:nvPr/>
            </p:nvSpPr>
            <p:spPr>
              <a:xfrm>
                <a:off x="9088606" y="1352939"/>
                <a:ext cx="2866722" cy="3122768"/>
              </a:xfrm>
              <a:custGeom>
                <a:avLst/>
                <a:gdLst>
                  <a:gd name="connsiteX0" fmla="*/ 2201345 w 2922186"/>
                  <a:gd name="connsiteY0" fmla="*/ 3165679 h 3183186"/>
                  <a:gd name="connsiteX1" fmla="*/ 72615 w 2922186"/>
                  <a:gd name="connsiteY1" fmla="*/ 1996434 h 3183186"/>
                  <a:gd name="connsiteX2" fmla="*/ 5762 w 2922186"/>
                  <a:gd name="connsiteY2" fmla="*/ 1833768 h 3183186"/>
                  <a:gd name="connsiteX3" fmla="*/ 518931 w 2922186"/>
                  <a:gd name="connsiteY3" fmla="*/ 100471 h 3183186"/>
                  <a:gd name="connsiteX4" fmla="*/ 720842 w 2922186"/>
                  <a:gd name="connsiteY4" fmla="*/ 17379 h 3183186"/>
                  <a:gd name="connsiteX5" fmla="*/ 2849572 w 2922186"/>
                  <a:gd name="connsiteY5" fmla="*/ 1186894 h 3183186"/>
                  <a:gd name="connsiteX6" fmla="*/ 2916425 w 2922186"/>
                  <a:gd name="connsiteY6" fmla="*/ 1349560 h 3183186"/>
                  <a:gd name="connsiteX7" fmla="*/ 2403256 w 2922186"/>
                  <a:gd name="connsiteY7" fmla="*/ 3083128 h 3183186"/>
                  <a:gd name="connsiteX8" fmla="*/ 2201345 w 2922186"/>
                  <a:gd name="connsiteY8" fmla="*/ 3165679 h 318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22186" h="3183186">
                    <a:moveTo>
                      <a:pt x="2201345" y="3165679"/>
                    </a:moveTo>
                    <a:lnTo>
                      <a:pt x="72615" y="1996434"/>
                    </a:lnTo>
                    <a:cubicBezTo>
                      <a:pt x="14965" y="1964767"/>
                      <a:pt x="-12913" y="1897103"/>
                      <a:pt x="5762" y="1833768"/>
                    </a:cubicBezTo>
                    <a:lnTo>
                      <a:pt x="518931" y="100471"/>
                    </a:lnTo>
                    <a:cubicBezTo>
                      <a:pt x="544373" y="14672"/>
                      <a:pt x="642351" y="-25656"/>
                      <a:pt x="720842" y="17379"/>
                    </a:cubicBezTo>
                    <a:lnTo>
                      <a:pt x="2849572" y="1186894"/>
                    </a:lnTo>
                    <a:cubicBezTo>
                      <a:pt x="2907222" y="1218562"/>
                      <a:pt x="2935100" y="1286226"/>
                      <a:pt x="2916425" y="1349560"/>
                    </a:cubicBezTo>
                    <a:lnTo>
                      <a:pt x="2403256" y="3083128"/>
                    </a:lnTo>
                    <a:cubicBezTo>
                      <a:pt x="2377814" y="3168386"/>
                      <a:pt x="2279836" y="3208985"/>
                      <a:pt x="2201345" y="3165679"/>
                    </a:cubicBezTo>
                    <a:close/>
                  </a:path>
                </a:pathLst>
              </a:custGeom>
              <a:gradFill>
                <a:gsLst>
                  <a:gs pos="100000">
                    <a:sysClr val="window" lastClr="FFFFFF"/>
                  </a:gs>
                  <a:gs pos="0">
                    <a:sysClr val="window" lastClr="FFFFFF">
                      <a:lumMod val="95000"/>
                    </a:sysClr>
                  </a:gs>
                </a:gsLst>
                <a:lin ang="2700000" scaled="1"/>
              </a:gradFill>
              <a:ln w="270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8987">
                  <a:defRPr/>
                </a:pPr>
                <a:endParaRPr lang="en-IN" sz="2400" kern="0" dirty="0">
                  <a:solidFill>
                    <a:prstClr val="black"/>
                  </a:solidFill>
                  <a:latin typeface="Segoe UI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1A522AA-CD53-419F-B5CB-7BF4F8A33408}"/>
                  </a:ext>
                </a:extLst>
              </p:cNvPr>
              <p:cNvSpPr/>
              <p:nvPr/>
            </p:nvSpPr>
            <p:spPr>
              <a:xfrm>
                <a:off x="9148916" y="1320124"/>
                <a:ext cx="2829930" cy="2951607"/>
              </a:xfrm>
              <a:custGeom>
                <a:avLst/>
                <a:gdLst>
                  <a:gd name="connsiteX0" fmla="*/ 469382 w 2868292"/>
                  <a:gd name="connsiteY0" fmla="*/ 81754 h 2991619"/>
                  <a:gd name="connsiteX1" fmla="*/ 4662 w 2868292"/>
                  <a:gd name="connsiteY1" fmla="*/ 1651303 h 2991619"/>
                  <a:gd name="connsiteX2" fmla="*/ 59335 w 2868292"/>
                  <a:gd name="connsiteY2" fmla="*/ 1783926 h 2991619"/>
                  <a:gd name="connsiteX3" fmla="*/ 2235159 w 2868292"/>
                  <a:gd name="connsiteY3" fmla="*/ 2977530 h 2991619"/>
                  <a:gd name="connsiteX4" fmla="*/ 2399449 w 2868292"/>
                  <a:gd name="connsiteY4" fmla="*/ 2909866 h 2991619"/>
                  <a:gd name="connsiteX5" fmla="*/ 2863628 w 2868292"/>
                  <a:gd name="connsiteY5" fmla="*/ 1341940 h 2991619"/>
                  <a:gd name="connsiteX6" fmla="*/ 2809226 w 2868292"/>
                  <a:gd name="connsiteY6" fmla="*/ 1209318 h 2991619"/>
                  <a:gd name="connsiteX7" fmla="*/ 633672 w 2868292"/>
                  <a:gd name="connsiteY7" fmla="*/ 14089 h 2991619"/>
                  <a:gd name="connsiteX8" fmla="*/ 469382 w 2868292"/>
                  <a:gd name="connsiteY8" fmla="*/ 81754 h 2991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68292" h="2991619">
                    <a:moveTo>
                      <a:pt x="469382" y="81754"/>
                    </a:moveTo>
                    <a:lnTo>
                      <a:pt x="4662" y="1651303"/>
                    </a:lnTo>
                    <a:cubicBezTo>
                      <a:pt x="-10495" y="1702728"/>
                      <a:pt x="12240" y="1757943"/>
                      <a:pt x="59335" y="1783926"/>
                    </a:cubicBezTo>
                    <a:lnTo>
                      <a:pt x="2235159" y="2977530"/>
                    </a:lnTo>
                    <a:cubicBezTo>
                      <a:pt x="2299035" y="3012445"/>
                      <a:pt x="2378879" y="2979696"/>
                      <a:pt x="2399449" y="2909866"/>
                    </a:cubicBezTo>
                    <a:lnTo>
                      <a:pt x="2863628" y="1341940"/>
                    </a:lnTo>
                    <a:cubicBezTo>
                      <a:pt x="2878785" y="1290515"/>
                      <a:pt x="2856050" y="1235301"/>
                      <a:pt x="2809226" y="1209318"/>
                    </a:cubicBezTo>
                    <a:lnTo>
                      <a:pt x="633672" y="14089"/>
                    </a:lnTo>
                    <a:cubicBezTo>
                      <a:pt x="569797" y="-20825"/>
                      <a:pt x="489952" y="11924"/>
                      <a:pt x="469382" y="81754"/>
                    </a:cubicBezTo>
                    <a:close/>
                  </a:path>
                </a:pathLst>
              </a:custGeom>
              <a:gradFill>
                <a:gsLst>
                  <a:gs pos="0">
                    <a:srgbClr val="372E99"/>
                  </a:gs>
                  <a:gs pos="100000">
                    <a:srgbClr val="6C6EE4"/>
                  </a:gs>
                </a:gsLst>
                <a:lin ang="2700000" scaled="1"/>
              </a:gradFill>
              <a:ln w="270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8987">
                  <a:defRPr/>
                </a:pPr>
                <a:endParaRPr lang="en-IN" sz="2400" kern="0">
                  <a:solidFill>
                    <a:prstClr val="black"/>
                  </a:solidFill>
                  <a:latin typeface="Segoe UI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1241D63-68E5-4DED-8D6A-078A1970F2C1}"/>
                  </a:ext>
                </a:extLst>
              </p:cNvPr>
              <p:cNvSpPr/>
              <p:nvPr/>
            </p:nvSpPr>
            <p:spPr>
              <a:xfrm>
                <a:off x="9249923" y="1449777"/>
                <a:ext cx="2620048" cy="2682641"/>
              </a:xfrm>
              <a:custGeom>
                <a:avLst/>
                <a:gdLst>
                  <a:gd name="connsiteX0" fmla="*/ 2580850 w 2620048"/>
                  <a:gd name="connsiteY0" fmla="*/ 1138575 h 2682641"/>
                  <a:gd name="connsiteX1" fmla="*/ 525469 w 2620048"/>
                  <a:gd name="connsiteY1" fmla="*/ 9388 h 2682641"/>
                  <a:gd name="connsiteX2" fmla="*/ 416934 w 2620048"/>
                  <a:gd name="connsiteY2" fmla="*/ 54046 h 2682641"/>
                  <a:gd name="connsiteX3" fmla="*/ 3097 w 2620048"/>
                  <a:gd name="connsiteY3" fmla="*/ 1451186 h 2682641"/>
                  <a:gd name="connsiteX4" fmla="*/ 38824 w 2620048"/>
                  <a:gd name="connsiteY4" fmla="*/ 1538609 h 2682641"/>
                  <a:gd name="connsiteX5" fmla="*/ 2092852 w 2620048"/>
                  <a:gd name="connsiteY5" fmla="*/ 2673209 h 2682641"/>
                  <a:gd name="connsiteX6" fmla="*/ 2201657 w 2620048"/>
                  <a:gd name="connsiteY6" fmla="*/ 2628551 h 2682641"/>
                  <a:gd name="connsiteX7" fmla="*/ 2616848 w 2620048"/>
                  <a:gd name="connsiteY7" fmla="*/ 1226269 h 2682641"/>
                  <a:gd name="connsiteX8" fmla="*/ 2580850 w 2620048"/>
                  <a:gd name="connsiteY8" fmla="*/ 1138575 h 2682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0048" h="2682641">
                    <a:moveTo>
                      <a:pt x="2580850" y="1138575"/>
                    </a:moveTo>
                    <a:lnTo>
                      <a:pt x="525469" y="9388"/>
                    </a:lnTo>
                    <a:cubicBezTo>
                      <a:pt x="483246" y="-13889"/>
                      <a:pt x="430467" y="8034"/>
                      <a:pt x="416934" y="54046"/>
                    </a:cubicBezTo>
                    <a:lnTo>
                      <a:pt x="3097" y="1451186"/>
                    </a:lnTo>
                    <a:cubicBezTo>
                      <a:pt x="-6917" y="1485018"/>
                      <a:pt x="7969" y="1521557"/>
                      <a:pt x="38824" y="1538609"/>
                    </a:cubicBezTo>
                    <a:lnTo>
                      <a:pt x="2092852" y="2673209"/>
                    </a:lnTo>
                    <a:cubicBezTo>
                      <a:pt x="2135075" y="2696486"/>
                      <a:pt x="2187854" y="2674833"/>
                      <a:pt x="2201657" y="2628551"/>
                    </a:cubicBezTo>
                    <a:lnTo>
                      <a:pt x="2616848" y="1226269"/>
                    </a:lnTo>
                    <a:cubicBezTo>
                      <a:pt x="2627133" y="1192165"/>
                      <a:pt x="2611976" y="1155627"/>
                      <a:pt x="2580850" y="1138575"/>
                    </a:cubicBezTo>
                    <a:close/>
                  </a:path>
                </a:pathLst>
              </a:custGeom>
              <a:solidFill>
                <a:srgbClr val="8293FE"/>
              </a:solidFill>
              <a:ln w="270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8987">
                  <a:defRPr/>
                </a:pPr>
                <a:endParaRPr lang="en-IN" sz="2400" kern="0">
                  <a:solidFill>
                    <a:prstClr val="black"/>
                  </a:solidFill>
                  <a:latin typeface="Segoe UI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BC21AE-696D-4226-9BA2-57CECDB58812}"/>
                </a:ext>
              </a:extLst>
            </p:cNvPr>
            <p:cNvSpPr/>
            <p:nvPr/>
          </p:nvSpPr>
          <p:spPr>
            <a:xfrm rot="971895">
              <a:off x="7346857" y="1590422"/>
              <a:ext cx="707657" cy="393147"/>
            </a:xfrm>
            <a:custGeom>
              <a:avLst/>
              <a:gdLst>
                <a:gd name="connsiteX0" fmla="*/ 0 w 707657"/>
                <a:gd name="connsiteY0" fmla="*/ 0 h 393147"/>
                <a:gd name="connsiteX1" fmla="*/ 707657 w 707657"/>
                <a:gd name="connsiteY1" fmla="*/ 152568 h 393147"/>
                <a:gd name="connsiteX2" fmla="*/ 707657 w 707657"/>
                <a:gd name="connsiteY2" fmla="*/ 393147 h 393147"/>
                <a:gd name="connsiteX3" fmla="*/ 1 w 707657"/>
                <a:gd name="connsiteY3" fmla="*/ 240578 h 393147"/>
                <a:gd name="connsiteX4" fmla="*/ 0 w 707657"/>
                <a:gd name="connsiteY4" fmla="*/ 0 h 393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657" h="393147">
                  <a:moveTo>
                    <a:pt x="0" y="0"/>
                  </a:moveTo>
                  <a:lnTo>
                    <a:pt x="707657" y="152568"/>
                  </a:lnTo>
                  <a:lnTo>
                    <a:pt x="707657" y="393147"/>
                  </a:lnTo>
                  <a:lnTo>
                    <a:pt x="1" y="2405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1218987">
                <a:defRPr/>
              </a:pPr>
              <a:endParaRPr lang="en-IN" sz="2400" kern="0">
                <a:solidFill>
                  <a:prstClr val="white"/>
                </a:solidFill>
                <a:latin typeface="Segoe UI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4966B82-F861-4869-92A4-8318CBE2EDDC}"/>
              </a:ext>
            </a:extLst>
          </p:cNvPr>
          <p:cNvGrpSpPr/>
          <p:nvPr/>
        </p:nvGrpSpPr>
        <p:grpSpPr>
          <a:xfrm>
            <a:off x="8596653" y="5382739"/>
            <a:ext cx="485080" cy="557297"/>
            <a:chOff x="909836" y="1700808"/>
            <a:chExt cx="2220724" cy="2811755"/>
          </a:xfrm>
          <a:solidFill>
            <a:srgbClr val="5549C9">
              <a:lumMod val="75000"/>
            </a:srgbClr>
          </a:solidFill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43B3407-8BB8-443C-95B5-10A47CA53177}"/>
                </a:ext>
              </a:extLst>
            </p:cNvPr>
            <p:cNvSpPr/>
            <p:nvPr/>
          </p:nvSpPr>
          <p:spPr>
            <a:xfrm>
              <a:off x="909836" y="2493859"/>
              <a:ext cx="827022" cy="2018704"/>
            </a:xfrm>
            <a:custGeom>
              <a:avLst/>
              <a:gdLst>
                <a:gd name="connsiteX0" fmla="*/ 827022 w 827022"/>
                <a:gd name="connsiteY0" fmla="*/ 2018704 h 2018704"/>
                <a:gd name="connsiteX1" fmla="*/ 0 w 827022"/>
                <a:gd name="connsiteY1" fmla="*/ 1535297 h 2018704"/>
                <a:gd name="connsiteX2" fmla="*/ 0 w 827022"/>
                <a:gd name="connsiteY2" fmla="*/ 0 h 2018704"/>
                <a:gd name="connsiteX3" fmla="*/ 827022 w 827022"/>
                <a:gd name="connsiteY3" fmla="*/ 486112 h 2018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022" h="2018704">
                  <a:moveTo>
                    <a:pt x="827022" y="2018704"/>
                  </a:moveTo>
                  <a:lnTo>
                    <a:pt x="0" y="1535297"/>
                  </a:lnTo>
                  <a:lnTo>
                    <a:pt x="0" y="0"/>
                  </a:lnTo>
                  <a:lnTo>
                    <a:pt x="827022" y="486112"/>
                  </a:lnTo>
                  <a:close/>
                </a:path>
              </a:pathLst>
            </a:custGeom>
            <a:solidFill>
              <a:srgbClr val="5549C9"/>
            </a:solidFill>
            <a:ln w="299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0BDD528-75C8-4E27-99B2-D89F9B814C43}"/>
                </a:ext>
              </a:extLst>
            </p:cNvPr>
            <p:cNvSpPr/>
            <p:nvPr/>
          </p:nvSpPr>
          <p:spPr>
            <a:xfrm>
              <a:off x="1514996" y="3001316"/>
              <a:ext cx="116943" cy="1171840"/>
            </a:xfrm>
            <a:custGeom>
              <a:avLst/>
              <a:gdLst>
                <a:gd name="connsiteX0" fmla="*/ 116944 w 116943"/>
                <a:gd name="connsiteY0" fmla="*/ 1171840 h 1171840"/>
                <a:gd name="connsiteX1" fmla="*/ 0 w 116943"/>
                <a:gd name="connsiteY1" fmla="*/ 1093678 h 1171840"/>
                <a:gd name="connsiteX2" fmla="*/ 0 w 116943"/>
                <a:gd name="connsiteY2" fmla="*/ 0 h 1171840"/>
                <a:gd name="connsiteX3" fmla="*/ 116944 w 116943"/>
                <a:gd name="connsiteY3" fmla="*/ 79666 h 117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943" h="1171840">
                  <a:moveTo>
                    <a:pt x="116944" y="1171840"/>
                  </a:moveTo>
                  <a:lnTo>
                    <a:pt x="0" y="1093678"/>
                  </a:lnTo>
                  <a:lnTo>
                    <a:pt x="0" y="0"/>
                  </a:lnTo>
                  <a:lnTo>
                    <a:pt x="116944" y="79666"/>
                  </a:lnTo>
                  <a:close/>
                </a:path>
              </a:pathLst>
            </a:custGeom>
            <a:grpFill/>
            <a:ln w="299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7AAB06B-022E-430D-AAB0-D06CD7D8AC5C}"/>
                </a:ext>
              </a:extLst>
            </p:cNvPr>
            <p:cNvSpPr/>
            <p:nvPr/>
          </p:nvSpPr>
          <p:spPr>
            <a:xfrm>
              <a:off x="1736858" y="2184515"/>
              <a:ext cx="1393702" cy="2328048"/>
            </a:xfrm>
            <a:custGeom>
              <a:avLst/>
              <a:gdLst>
                <a:gd name="connsiteX0" fmla="*/ 1393703 w 1393702"/>
                <a:gd name="connsiteY0" fmla="*/ 1532291 h 2328048"/>
                <a:gd name="connsiteX1" fmla="*/ 0 w 1393702"/>
                <a:gd name="connsiteY1" fmla="*/ 2328048 h 2328048"/>
                <a:gd name="connsiteX2" fmla="*/ 0 w 1393702"/>
                <a:gd name="connsiteY2" fmla="*/ 790346 h 2328048"/>
                <a:gd name="connsiteX3" fmla="*/ 1391298 w 1393702"/>
                <a:gd name="connsiteY3" fmla="*/ 0 h 2328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3702" h="2328048">
                  <a:moveTo>
                    <a:pt x="1393703" y="1532291"/>
                  </a:moveTo>
                  <a:lnTo>
                    <a:pt x="0" y="2328048"/>
                  </a:lnTo>
                  <a:lnTo>
                    <a:pt x="0" y="790346"/>
                  </a:lnTo>
                  <a:lnTo>
                    <a:pt x="1391298" y="0"/>
                  </a:lnTo>
                  <a:close/>
                </a:path>
              </a:pathLst>
            </a:custGeom>
            <a:solidFill>
              <a:srgbClr val="372E99">
                <a:lumMod val="40000"/>
                <a:lumOff val="60000"/>
              </a:srgbClr>
            </a:solidFill>
            <a:ln w="299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0A02318-D029-4DF2-A2B0-976BE13FAA99}"/>
                </a:ext>
              </a:extLst>
            </p:cNvPr>
            <p:cNvSpPr/>
            <p:nvPr/>
          </p:nvSpPr>
          <p:spPr>
            <a:xfrm>
              <a:off x="909836" y="1700808"/>
              <a:ext cx="2218319" cy="1279163"/>
            </a:xfrm>
            <a:custGeom>
              <a:avLst/>
              <a:gdLst>
                <a:gd name="connsiteX0" fmla="*/ 2218320 w 2218319"/>
                <a:gd name="connsiteY0" fmla="*/ 483707 h 1279163"/>
                <a:gd name="connsiteX1" fmla="*/ 827022 w 2218319"/>
                <a:gd name="connsiteY1" fmla="*/ 1279164 h 1279163"/>
                <a:gd name="connsiteX2" fmla="*/ 0 w 2218319"/>
                <a:gd name="connsiteY2" fmla="*/ 793052 h 1279163"/>
                <a:gd name="connsiteX3" fmla="*/ 1391899 w 2218319"/>
                <a:gd name="connsiteY3" fmla="*/ 0 h 127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8319" h="1279163">
                  <a:moveTo>
                    <a:pt x="2218320" y="483707"/>
                  </a:moveTo>
                  <a:lnTo>
                    <a:pt x="827022" y="1279164"/>
                  </a:lnTo>
                  <a:lnTo>
                    <a:pt x="0" y="793052"/>
                  </a:lnTo>
                  <a:lnTo>
                    <a:pt x="1391899" y="0"/>
                  </a:lnTo>
                  <a:close/>
                </a:path>
              </a:pathLst>
            </a:custGeom>
            <a:solidFill>
              <a:srgbClr val="5549C9">
                <a:lumMod val="20000"/>
                <a:lumOff val="80000"/>
              </a:srgbClr>
            </a:solidFill>
            <a:ln w="299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8A8E7CC-7C7F-41BB-B01D-B8A9E8EE65EB}"/>
                </a:ext>
              </a:extLst>
            </p:cNvPr>
            <p:cNvSpPr/>
            <p:nvPr/>
          </p:nvSpPr>
          <p:spPr>
            <a:xfrm>
              <a:off x="997318" y="2698585"/>
              <a:ext cx="412759" cy="323774"/>
            </a:xfrm>
            <a:custGeom>
              <a:avLst/>
              <a:gdLst>
                <a:gd name="connsiteX0" fmla="*/ 412760 w 412759"/>
                <a:gd name="connsiteY0" fmla="*/ 323774 h 323774"/>
                <a:gd name="connsiteX1" fmla="*/ 0 w 412759"/>
                <a:gd name="connsiteY1" fmla="*/ 70948 h 323774"/>
                <a:gd name="connsiteX2" fmla="*/ 0 w 412759"/>
                <a:gd name="connsiteY2" fmla="*/ 0 h 323774"/>
                <a:gd name="connsiteX3" fmla="*/ 412760 w 412759"/>
                <a:gd name="connsiteY3" fmla="*/ 252827 h 32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759" h="323774">
                  <a:moveTo>
                    <a:pt x="412760" y="323774"/>
                  </a:moveTo>
                  <a:lnTo>
                    <a:pt x="0" y="70948"/>
                  </a:lnTo>
                  <a:lnTo>
                    <a:pt x="0" y="0"/>
                  </a:lnTo>
                  <a:lnTo>
                    <a:pt x="412760" y="252827"/>
                  </a:lnTo>
                  <a:close/>
                </a:path>
              </a:pathLst>
            </a:custGeom>
            <a:grpFill/>
            <a:ln w="299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4620E3F-4A27-40D5-A811-898D34C7D95E}"/>
                </a:ext>
              </a:extLst>
            </p:cNvPr>
            <p:cNvSpPr/>
            <p:nvPr/>
          </p:nvSpPr>
          <p:spPr>
            <a:xfrm>
              <a:off x="997318" y="2842585"/>
              <a:ext cx="412759" cy="323473"/>
            </a:xfrm>
            <a:custGeom>
              <a:avLst/>
              <a:gdLst>
                <a:gd name="connsiteX0" fmla="*/ 412760 w 412759"/>
                <a:gd name="connsiteY0" fmla="*/ 323474 h 323473"/>
                <a:gd name="connsiteX1" fmla="*/ 0 w 412759"/>
                <a:gd name="connsiteY1" fmla="*/ 70948 h 323473"/>
                <a:gd name="connsiteX2" fmla="*/ 0 w 412759"/>
                <a:gd name="connsiteY2" fmla="*/ 0 h 323473"/>
                <a:gd name="connsiteX3" fmla="*/ 412760 w 412759"/>
                <a:gd name="connsiteY3" fmla="*/ 252526 h 323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759" h="323473">
                  <a:moveTo>
                    <a:pt x="412760" y="323474"/>
                  </a:moveTo>
                  <a:lnTo>
                    <a:pt x="0" y="70948"/>
                  </a:lnTo>
                  <a:lnTo>
                    <a:pt x="0" y="0"/>
                  </a:lnTo>
                  <a:lnTo>
                    <a:pt x="412760" y="252526"/>
                  </a:lnTo>
                  <a:close/>
                </a:path>
              </a:pathLst>
            </a:custGeom>
            <a:grpFill/>
            <a:ln w="299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74B9D84-FB12-45E3-AB75-DE4A23282B72}"/>
                </a:ext>
              </a:extLst>
            </p:cNvPr>
            <p:cNvSpPr/>
            <p:nvPr/>
          </p:nvSpPr>
          <p:spPr>
            <a:xfrm>
              <a:off x="997318" y="2986585"/>
              <a:ext cx="412759" cy="323473"/>
            </a:xfrm>
            <a:custGeom>
              <a:avLst/>
              <a:gdLst>
                <a:gd name="connsiteX0" fmla="*/ 412760 w 412759"/>
                <a:gd name="connsiteY0" fmla="*/ 323474 h 323473"/>
                <a:gd name="connsiteX1" fmla="*/ 0 w 412759"/>
                <a:gd name="connsiteY1" fmla="*/ 70948 h 323473"/>
                <a:gd name="connsiteX2" fmla="*/ 0 w 412759"/>
                <a:gd name="connsiteY2" fmla="*/ 0 h 323473"/>
                <a:gd name="connsiteX3" fmla="*/ 412760 w 412759"/>
                <a:gd name="connsiteY3" fmla="*/ 252526 h 323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759" h="323473">
                  <a:moveTo>
                    <a:pt x="412760" y="323474"/>
                  </a:moveTo>
                  <a:lnTo>
                    <a:pt x="0" y="70948"/>
                  </a:lnTo>
                  <a:lnTo>
                    <a:pt x="0" y="0"/>
                  </a:lnTo>
                  <a:lnTo>
                    <a:pt x="412760" y="252526"/>
                  </a:lnTo>
                  <a:close/>
                </a:path>
              </a:pathLst>
            </a:custGeom>
            <a:grpFill/>
            <a:ln w="299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1F67060-B7A2-43A2-AC27-D217347AA18D}"/>
                </a:ext>
              </a:extLst>
            </p:cNvPr>
            <p:cNvSpPr/>
            <p:nvPr/>
          </p:nvSpPr>
          <p:spPr>
            <a:xfrm>
              <a:off x="997318" y="3130284"/>
              <a:ext cx="412759" cy="323774"/>
            </a:xfrm>
            <a:custGeom>
              <a:avLst/>
              <a:gdLst>
                <a:gd name="connsiteX0" fmla="*/ 412760 w 412759"/>
                <a:gd name="connsiteY0" fmla="*/ 323774 h 323774"/>
                <a:gd name="connsiteX1" fmla="*/ 0 w 412759"/>
                <a:gd name="connsiteY1" fmla="*/ 70948 h 323774"/>
                <a:gd name="connsiteX2" fmla="*/ 0 w 412759"/>
                <a:gd name="connsiteY2" fmla="*/ 0 h 323774"/>
                <a:gd name="connsiteX3" fmla="*/ 412760 w 412759"/>
                <a:gd name="connsiteY3" fmla="*/ 252827 h 32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759" h="323774">
                  <a:moveTo>
                    <a:pt x="412760" y="323774"/>
                  </a:moveTo>
                  <a:lnTo>
                    <a:pt x="0" y="70948"/>
                  </a:lnTo>
                  <a:lnTo>
                    <a:pt x="0" y="0"/>
                  </a:lnTo>
                  <a:lnTo>
                    <a:pt x="412760" y="252827"/>
                  </a:lnTo>
                  <a:close/>
                </a:path>
              </a:pathLst>
            </a:custGeom>
            <a:grpFill/>
            <a:ln w="299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9597315-1587-43A1-8778-3C4D47032670}"/>
                </a:ext>
              </a:extLst>
            </p:cNvPr>
            <p:cNvSpPr/>
            <p:nvPr/>
          </p:nvSpPr>
          <p:spPr>
            <a:xfrm>
              <a:off x="997318" y="3274284"/>
              <a:ext cx="412759" cy="323774"/>
            </a:xfrm>
            <a:custGeom>
              <a:avLst/>
              <a:gdLst>
                <a:gd name="connsiteX0" fmla="*/ 412760 w 412759"/>
                <a:gd name="connsiteY0" fmla="*/ 323774 h 323774"/>
                <a:gd name="connsiteX1" fmla="*/ 0 w 412759"/>
                <a:gd name="connsiteY1" fmla="*/ 70948 h 323774"/>
                <a:gd name="connsiteX2" fmla="*/ 0 w 412759"/>
                <a:gd name="connsiteY2" fmla="*/ 0 h 323774"/>
                <a:gd name="connsiteX3" fmla="*/ 412760 w 412759"/>
                <a:gd name="connsiteY3" fmla="*/ 252526 h 32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759" h="323774">
                  <a:moveTo>
                    <a:pt x="412760" y="323774"/>
                  </a:moveTo>
                  <a:lnTo>
                    <a:pt x="0" y="70948"/>
                  </a:lnTo>
                  <a:lnTo>
                    <a:pt x="0" y="0"/>
                  </a:lnTo>
                  <a:lnTo>
                    <a:pt x="412760" y="252526"/>
                  </a:lnTo>
                  <a:close/>
                </a:path>
              </a:pathLst>
            </a:custGeom>
            <a:grpFill/>
            <a:ln w="299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638A7E7-50F5-4739-8655-0A797107665D}"/>
                </a:ext>
              </a:extLst>
            </p:cNvPr>
            <p:cNvSpPr/>
            <p:nvPr/>
          </p:nvSpPr>
          <p:spPr>
            <a:xfrm rot="19799956">
              <a:off x="1008404" y="3767013"/>
              <a:ext cx="54712" cy="76958"/>
            </a:xfrm>
            <a:custGeom>
              <a:avLst/>
              <a:gdLst>
                <a:gd name="connsiteX0" fmla="*/ 54713 w 54712"/>
                <a:gd name="connsiteY0" fmla="*/ 38479 h 76958"/>
                <a:gd name="connsiteX1" fmla="*/ 27356 w 54712"/>
                <a:gd name="connsiteY1" fmla="*/ 76959 h 76958"/>
                <a:gd name="connsiteX2" fmla="*/ 0 w 54712"/>
                <a:gd name="connsiteY2" fmla="*/ 38479 h 76958"/>
                <a:gd name="connsiteX3" fmla="*/ 27356 w 54712"/>
                <a:gd name="connsiteY3" fmla="*/ 0 h 76958"/>
                <a:gd name="connsiteX4" fmla="*/ 54713 w 54712"/>
                <a:gd name="connsiteY4" fmla="*/ 38479 h 76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12" h="76958">
                  <a:moveTo>
                    <a:pt x="54713" y="38479"/>
                  </a:moveTo>
                  <a:cubicBezTo>
                    <a:pt x="54713" y="59731"/>
                    <a:pt x="42465" y="76959"/>
                    <a:pt x="27356" y="76959"/>
                  </a:cubicBezTo>
                  <a:cubicBezTo>
                    <a:pt x="12248" y="76959"/>
                    <a:pt x="0" y="59731"/>
                    <a:pt x="0" y="38479"/>
                  </a:cubicBezTo>
                  <a:cubicBezTo>
                    <a:pt x="0" y="17228"/>
                    <a:pt x="12248" y="0"/>
                    <a:pt x="27356" y="0"/>
                  </a:cubicBezTo>
                  <a:cubicBezTo>
                    <a:pt x="42465" y="0"/>
                    <a:pt x="54713" y="17228"/>
                    <a:pt x="54713" y="38479"/>
                  </a:cubicBezTo>
                  <a:close/>
                </a:path>
              </a:pathLst>
            </a:custGeom>
            <a:solidFill>
              <a:sysClr val="window" lastClr="FFFFFF"/>
            </a:solidFill>
            <a:ln w="299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7DC85C1-C6E7-417A-8314-8247D40F3818}"/>
                </a:ext>
              </a:extLst>
            </p:cNvPr>
            <p:cNvSpPr/>
            <p:nvPr/>
          </p:nvSpPr>
          <p:spPr>
            <a:xfrm rot="19799956">
              <a:off x="1115988" y="3828261"/>
              <a:ext cx="54712" cy="76958"/>
            </a:xfrm>
            <a:custGeom>
              <a:avLst/>
              <a:gdLst>
                <a:gd name="connsiteX0" fmla="*/ 54713 w 54712"/>
                <a:gd name="connsiteY0" fmla="*/ 38479 h 76958"/>
                <a:gd name="connsiteX1" fmla="*/ 27356 w 54712"/>
                <a:gd name="connsiteY1" fmla="*/ 76959 h 76958"/>
                <a:gd name="connsiteX2" fmla="*/ 0 w 54712"/>
                <a:gd name="connsiteY2" fmla="*/ 38479 h 76958"/>
                <a:gd name="connsiteX3" fmla="*/ 27356 w 54712"/>
                <a:gd name="connsiteY3" fmla="*/ 0 h 76958"/>
                <a:gd name="connsiteX4" fmla="*/ 54713 w 54712"/>
                <a:gd name="connsiteY4" fmla="*/ 38479 h 76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12" h="76958">
                  <a:moveTo>
                    <a:pt x="54713" y="38479"/>
                  </a:moveTo>
                  <a:cubicBezTo>
                    <a:pt x="54713" y="59731"/>
                    <a:pt x="42465" y="76959"/>
                    <a:pt x="27356" y="76959"/>
                  </a:cubicBezTo>
                  <a:cubicBezTo>
                    <a:pt x="12248" y="76959"/>
                    <a:pt x="0" y="59731"/>
                    <a:pt x="0" y="38479"/>
                  </a:cubicBezTo>
                  <a:cubicBezTo>
                    <a:pt x="0" y="17228"/>
                    <a:pt x="12248" y="0"/>
                    <a:pt x="27356" y="0"/>
                  </a:cubicBezTo>
                  <a:cubicBezTo>
                    <a:pt x="42465" y="0"/>
                    <a:pt x="54713" y="17228"/>
                    <a:pt x="54713" y="38479"/>
                  </a:cubicBezTo>
                  <a:close/>
                </a:path>
              </a:pathLst>
            </a:custGeom>
            <a:solidFill>
              <a:srgbClr val="00B050"/>
            </a:solidFill>
            <a:ln w="299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F88BB73-AB73-4B22-921E-928360B4D274}"/>
                </a:ext>
              </a:extLst>
            </p:cNvPr>
            <p:cNvSpPr/>
            <p:nvPr/>
          </p:nvSpPr>
          <p:spPr>
            <a:xfrm rot="19799956">
              <a:off x="1223396" y="3889635"/>
              <a:ext cx="54712" cy="76958"/>
            </a:xfrm>
            <a:custGeom>
              <a:avLst/>
              <a:gdLst>
                <a:gd name="connsiteX0" fmla="*/ 54713 w 54712"/>
                <a:gd name="connsiteY0" fmla="*/ 38479 h 76958"/>
                <a:gd name="connsiteX1" fmla="*/ 27356 w 54712"/>
                <a:gd name="connsiteY1" fmla="*/ 76958 h 76958"/>
                <a:gd name="connsiteX2" fmla="*/ 0 w 54712"/>
                <a:gd name="connsiteY2" fmla="*/ 38479 h 76958"/>
                <a:gd name="connsiteX3" fmla="*/ 27356 w 54712"/>
                <a:gd name="connsiteY3" fmla="*/ 0 h 76958"/>
                <a:gd name="connsiteX4" fmla="*/ 54713 w 54712"/>
                <a:gd name="connsiteY4" fmla="*/ 38479 h 76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12" h="76958">
                  <a:moveTo>
                    <a:pt x="54713" y="38479"/>
                  </a:moveTo>
                  <a:cubicBezTo>
                    <a:pt x="54713" y="59731"/>
                    <a:pt x="42465" y="76958"/>
                    <a:pt x="27356" y="76958"/>
                  </a:cubicBezTo>
                  <a:cubicBezTo>
                    <a:pt x="12248" y="76958"/>
                    <a:pt x="0" y="59731"/>
                    <a:pt x="0" y="38479"/>
                  </a:cubicBezTo>
                  <a:cubicBezTo>
                    <a:pt x="0" y="17228"/>
                    <a:pt x="12248" y="0"/>
                    <a:pt x="27356" y="0"/>
                  </a:cubicBezTo>
                  <a:cubicBezTo>
                    <a:pt x="42465" y="0"/>
                    <a:pt x="54713" y="17228"/>
                    <a:pt x="54713" y="38479"/>
                  </a:cubicBezTo>
                  <a:close/>
                </a:path>
              </a:pathLst>
            </a:custGeom>
            <a:grpFill/>
            <a:ln w="299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987">
                <a:defRPr/>
              </a:pPr>
              <a:endParaRPr lang="en-IN" sz="2400" kern="0">
                <a:solidFill>
                  <a:prstClr val="black"/>
                </a:solidFill>
                <a:latin typeface="Segoe UI"/>
              </a:endParaRPr>
            </a:p>
          </p:txBody>
        </p:sp>
      </p:grp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E2C59877-F575-4DAB-A000-27485BDA0CC7}"/>
              </a:ext>
            </a:extLst>
          </p:cNvPr>
          <p:cNvSpPr/>
          <p:nvPr/>
        </p:nvSpPr>
        <p:spPr>
          <a:xfrm>
            <a:off x="8463415" y="5496618"/>
            <a:ext cx="757777" cy="353073"/>
          </a:xfrm>
          <a:prstGeom prst="roundRect">
            <a:avLst/>
          </a:prstGeom>
          <a:solidFill>
            <a:srgbClr val="1E1B53">
              <a:alpha val="60000"/>
            </a:srgbClr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PI Processing </a:t>
            </a:r>
          </a:p>
        </p:txBody>
      </p:sp>
      <p:pic>
        <p:nvPicPr>
          <p:cNvPr id="47" name="Picture 2" descr="Api Gateway Illustrations, Royalty-Free Vector Graphics &amp; Clip Art - iStock">
            <a:extLst>
              <a:ext uri="{FF2B5EF4-FFF2-40B4-BE49-F238E27FC236}">
                <a16:creationId xmlns:a16="http://schemas.microsoft.com/office/drawing/2014/main" id="{F5BEB803-5356-44DF-9AB5-1637EEE00A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1D51"/>
              </a:clrFrom>
              <a:clrTo>
                <a:srgbClr val="001D51">
                  <a:alpha val="0"/>
                </a:srgbClr>
              </a:clrTo>
            </a:clrChange>
            <a:duotone>
              <a:srgbClr val="1B55A7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340" y="6042336"/>
            <a:ext cx="621816" cy="743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2D49505-8689-45CB-80C9-4223195440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2608" y="3453775"/>
            <a:ext cx="507928" cy="583177"/>
          </a:xfrm>
          <a:prstGeom prst="rect">
            <a:avLst/>
          </a:prstGeom>
        </p:spPr>
      </p:pic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1BB940E4-CA82-4E45-A831-D637346478F0}"/>
              </a:ext>
            </a:extLst>
          </p:cNvPr>
          <p:cNvSpPr/>
          <p:nvPr/>
        </p:nvSpPr>
        <p:spPr>
          <a:xfrm>
            <a:off x="7731246" y="3600044"/>
            <a:ext cx="930653" cy="289994"/>
          </a:xfrm>
          <a:prstGeom prst="roundRect">
            <a:avLst/>
          </a:prstGeom>
          <a:solidFill>
            <a:srgbClr val="1E1B53">
              <a:alpha val="6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>
                <a:solidFill>
                  <a:srgbClr val="FFFFFF"/>
                </a:solidFill>
                <a:latin typeface="Century Gothic" panose="020B0502020202020204" pitchFamily="34" charset="0"/>
              </a:rPr>
              <a:t>Pharma Co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SL Database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AA3E741-557A-4052-92BC-F3EBD460EB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8727" y="6046274"/>
            <a:ext cx="530392" cy="606162"/>
          </a:xfrm>
          <a:prstGeom prst="rect">
            <a:avLst/>
          </a:prstGeom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B3FD4653-CE14-4570-84C0-B4E06B609E01}"/>
              </a:ext>
            </a:extLst>
          </p:cNvPr>
          <p:cNvSpPr/>
          <p:nvPr/>
        </p:nvSpPr>
        <p:spPr>
          <a:xfrm>
            <a:off x="2097677" y="6119725"/>
            <a:ext cx="1477572" cy="459261"/>
          </a:xfrm>
          <a:prstGeom prst="roundRect">
            <a:avLst/>
          </a:prstGeom>
          <a:solidFill>
            <a:srgbClr val="004D86">
              <a:alpha val="6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econdary Database for Tagging, Data Cleaning, and Back-end Analysis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287C2191-73A8-4E30-89A3-EACF27E64BB0}"/>
              </a:ext>
            </a:extLst>
          </p:cNvPr>
          <p:cNvSpPr/>
          <p:nvPr/>
        </p:nvSpPr>
        <p:spPr>
          <a:xfrm>
            <a:off x="5654242" y="6263050"/>
            <a:ext cx="621816" cy="292182"/>
          </a:xfrm>
          <a:prstGeom prst="roundRect">
            <a:avLst/>
          </a:prstGeom>
          <a:solidFill>
            <a:srgbClr val="004D86">
              <a:alpha val="6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STFUL API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3BACBEE7-F8BF-4FD3-8E7E-7D2D376D0E60}"/>
              </a:ext>
            </a:extLst>
          </p:cNvPr>
          <p:cNvSpPr/>
          <p:nvPr/>
        </p:nvSpPr>
        <p:spPr>
          <a:xfrm>
            <a:off x="8388885" y="6130113"/>
            <a:ext cx="916911" cy="353073"/>
          </a:xfrm>
          <a:prstGeom prst="roundRect">
            <a:avLst/>
          </a:prstGeom>
          <a:solidFill>
            <a:srgbClr val="1E1B53">
              <a:alpha val="60000"/>
            </a:srgbClr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grammed .PPTX Report</a:t>
            </a:r>
          </a:p>
        </p:txBody>
      </p:sp>
    </p:spTree>
    <p:extLst>
      <p:ext uri="{BB962C8B-B14F-4D97-AF65-F5344CB8AC3E}">
        <p14:creationId xmlns:p14="http://schemas.microsoft.com/office/powerpoint/2010/main" val="20258551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3BA6BE-8A07-6750-6D1E-AB323E5C6C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B2F1F0CF-9A3B-4FEB-8D90-C177C1DB2C64}"/>
              </a:ext>
            </a:extLst>
          </p:cNvPr>
          <p:cNvSpPr txBox="1"/>
          <p:nvPr/>
        </p:nvSpPr>
        <p:spPr>
          <a:xfrm>
            <a:off x="0" y="1"/>
            <a:ext cx="12188825" cy="881448"/>
          </a:xfrm>
          <a:prstGeom prst="rect">
            <a:avLst/>
          </a:prstGeom>
          <a:gradFill flip="none" rotWithShape="1">
            <a:gsLst>
              <a:gs pos="1000">
                <a:srgbClr val="0047BA"/>
              </a:gs>
              <a:gs pos="70000">
                <a:srgbClr val="3469B1"/>
              </a:gs>
            </a:gsLst>
            <a:lin ang="30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R="0" lvl="0" indent="0" algn="ctr" defTabSz="121898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r>
              <a:rPr lang="en-US" sz="2800" b="1" dirty="0"/>
              <a:t>EXECUTIVE DASHBOARD </a:t>
            </a:r>
            <a:r>
              <a:rPr lang="en-US" sz="2800" i="1" dirty="0"/>
              <a:t>– EXTERNAL MEDICAL INSIGHTS</a:t>
            </a:r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181B96EA-E60D-4943-A6F9-EC562DECDFA6}"/>
              </a:ext>
            </a:extLst>
          </p:cNvPr>
          <p:cNvSpPr/>
          <p:nvPr/>
        </p:nvSpPr>
        <p:spPr>
          <a:xfrm>
            <a:off x="1255941" y="6484518"/>
            <a:ext cx="910610" cy="258609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100" b="1" spc="219" dirty="0">
                <a:solidFill>
                  <a:srgbClr val="FFFFFF"/>
                </a:solidFill>
                <a:latin typeface="Century Gothic"/>
                <a:sym typeface="Source Sans Pro 1"/>
              </a:rPr>
              <a:t>AGENTIC</a:t>
            </a:r>
            <a:endParaRPr lang="en-US" sz="1100" b="1">
              <a:latin typeface="Century Gothic"/>
            </a:endParaRPr>
          </a:p>
        </p:txBody>
      </p:sp>
      <p:pic>
        <p:nvPicPr>
          <p:cNvPr id="172" name="Picture 171" descr="A close up of a sign&#10;&#10;Description automatically generated">
            <a:extLst>
              <a:ext uri="{FF2B5EF4-FFF2-40B4-BE49-F238E27FC236}">
                <a16:creationId xmlns:a16="http://schemas.microsoft.com/office/drawing/2014/main" id="{B3A4C93D-DD8E-426A-96E2-9AB1428416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  <p:sp>
        <p:nvSpPr>
          <p:cNvPr id="199" name="Rectangle: Rounded Corners 198">
            <a:extLst>
              <a:ext uri="{FF2B5EF4-FFF2-40B4-BE49-F238E27FC236}">
                <a16:creationId xmlns:a16="http://schemas.microsoft.com/office/drawing/2014/main" id="{D3F8F99B-84A3-4141-ADA8-9AE7485E1CDC}"/>
              </a:ext>
            </a:extLst>
          </p:cNvPr>
          <p:cNvSpPr/>
          <p:nvPr/>
        </p:nvSpPr>
        <p:spPr>
          <a:xfrm>
            <a:off x="304800" y="1136627"/>
            <a:ext cx="2736304" cy="4996665"/>
          </a:xfrm>
          <a:prstGeom prst="roundRect">
            <a:avLst>
              <a:gd name="adj" fmla="val 4439"/>
            </a:avLst>
          </a:prstGeom>
          <a:gradFill flip="none" rotWithShape="1">
            <a:gsLst>
              <a:gs pos="43000">
                <a:srgbClr val="28246F"/>
              </a:gs>
              <a:gs pos="100000">
                <a:srgbClr val="3469B1"/>
              </a:gs>
            </a:gsLst>
            <a:lin ang="17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b"/>
          <a:lstStyle/>
          <a:p>
            <a:pPr algn="ctr" defTabSz="1218987"/>
            <a:endParaRPr lang="en-IN" sz="1100" b="1" kern="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EB3018F4-A97A-42FD-9A04-89A43C3856DE}"/>
              </a:ext>
            </a:extLst>
          </p:cNvPr>
          <p:cNvSpPr txBox="1"/>
          <p:nvPr/>
        </p:nvSpPr>
        <p:spPr>
          <a:xfrm>
            <a:off x="583930" y="1312475"/>
            <a:ext cx="2178045" cy="5878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218987">
              <a:lnSpc>
                <a:spcPct val="90000"/>
              </a:lnSpc>
            </a:pPr>
            <a:r>
              <a:rPr lang="en-IN" sz="2000" b="1" dirty="0">
                <a:solidFill>
                  <a:prstClr val="white"/>
                </a:solidFill>
                <a:latin typeface="Century Gothic"/>
              </a:rPr>
              <a:t>MEDICINE:</a:t>
            </a:r>
          </a:p>
          <a:p>
            <a:pPr defTabSz="1218987">
              <a:lnSpc>
                <a:spcPct val="90000"/>
              </a:lnSpc>
            </a:pPr>
            <a:r>
              <a:rPr lang="en-IN" sz="2000" i="1" dirty="0">
                <a:solidFill>
                  <a:prstClr val="white"/>
                </a:solidFill>
                <a:latin typeface="Century Gothic"/>
              </a:rPr>
              <a:t>Epcoritamab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E4490A47-4010-4092-A808-6E5BD93FF1BF}"/>
              </a:ext>
            </a:extLst>
          </p:cNvPr>
          <p:cNvSpPr txBox="1"/>
          <p:nvPr/>
        </p:nvSpPr>
        <p:spPr>
          <a:xfrm>
            <a:off x="517816" y="2037226"/>
            <a:ext cx="2310272" cy="56371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1218987"/>
            <a:r>
              <a:rPr lang="en-US" sz="1000" kern="0" dirty="0">
                <a:solidFill>
                  <a:prstClr val="white"/>
                </a:solidFill>
                <a:latin typeface="Century Gothic"/>
                <a:ea typeface="Calibri Light"/>
                <a:cs typeface="Segoe UI"/>
              </a:rPr>
              <a:t>Epcoritamab is a bispecific antibody developed by AbbVie and Genmab for the treatment of certain B-cell malignancies such as diffuse large B-cell lymphoma (DLBCL).</a:t>
            </a:r>
            <a:endParaRPr lang="en-US" sz="1000">
              <a:solidFill>
                <a:prstClr val="white"/>
              </a:solidFill>
              <a:latin typeface="Century Gothic"/>
              <a:ea typeface="Calibri Light"/>
              <a:cs typeface="Segoe UI"/>
            </a:endParaRP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5BC5575A-7063-4BC0-A901-FA2F6FC8D1DD}"/>
              </a:ext>
            </a:extLst>
          </p:cNvPr>
          <p:cNvGrpSpPr/>
          <p:nvPr/>
        </p:nvGrpSpPr>
        <p:grpSpPr>
          <a:xfrm>
            <a:off x="555553" y="2970021"/>
            <a:ext cx="2234799" cy="312815"/>
            <a:chOff x="621804" y="3805150"/>
            <a:chExt cx="2012043" cy="577973"/>
          </a:xfrm>
        </p:grpSpPr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8D9465D0-4519-4FEA-B32E-06A833F11C2B}"/>
                </a:ext>
              </a:extLst>
            </p:cNvPr>
            <p:cNvSpPr/>
            <p:nvPr/>
          </p:nvSpPr>
          <p:spPr>
            <a:xfrm>
              <a:off x="621804" y="4116463"/>
              <a:ext cx="2012043" cy="266660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i="1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January – August 2025</a:t>
              </a: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061FB0D9-76E4-4726-9269-32FFD022C865}"/>
                </a:ext>
              </a:extLst>
            </p:cNvPr>
            <p:cNvSpPr/>
            <p:nvPr/>
          </p:nvSpPr>
          <p:spPr>
            <a:xfrm>
              <a:off x="621804" y="3805150"/>
              <a:ext cx="2012043" cy="266661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b="1" u="sng" dirty="0">
                  <a:solidFill>
                    <a:prstClr val="white"/>
                  </a:solidFill>
                  <a:latin typeface="Century Gothic"/>
                  <a:ea typeface="Open Sans Light"/>
                  <a:cs typeface="Open Sans Light"/>
                </a:rPr>
                <a:t>Reporting Dates</a:t>
              </a:r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0A7060DE-8BFB-48C1-88B2-61CD8CB01FC6}"/>
              </a:ext>
            </a:extLst>
          </p:cNvPr>
          <p:cNvGrpSpPr/>
          <p:nvPr/>
        </p:nvGrpSpPr>
        <p:grpSpPr>
          <a:xfrm>
            <a:off x="552778" y="5410483"/>
            <a:ext cx="2075614" cy="294861"/>
            <a:chOff x="621804" y="3805150"/>
            <a:chExt cx="2271777" cy="577973"/>
          </a:xfrm>
        </p:grpSpPr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CB51BC34-C0D4-406D-85C2-FE4BFB369D86}"/>
                </a:ext>
              </a:extLst>
            </p:cNvPr>
            <p:cNvSpPr/>
            <p:nvPr/>
          </p:nvSpPr>
          <p:spPr>
            <a:xfrm>
              <a:off x="621804" y="4116463"/>
              <a:ext cx="2012043" cy="266660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i="1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Name 1, </a:t>
              </a:r>
            </a:p>
            <a:p>
              <a:pPr defTabSz="1218987"/>
              <a:r>
                <a:rPr lang="en-IN" sz="800" i="1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Name 2, </a:t>
              </a:r>
            </a:p>
            <a:p>
              <a:pPr defTabSz="1218987"/>
              <a:r>
                <a:rPr lang="en-IN" sz="800" i="1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Name 3</a:t>
              </a:r>
            </a:p>
          </p:txBody>
        </p:sp>
        <p:sp>
          <p:nvSpPr>
            <p:cNvPr id="236" name="Rectangle 235">
              <a:extLst>
                <a:ext uri="{FF2B5EF4-FFF2-40B4-BE49-F238E27FC236}">
                  <a16:creationId xmlns:a16="http://schemas.microsoft.com/office/drawing/2014/main" id="{F9EC780F-B283-4291-A89C-FC7364D3BB24}"/>
                </a:ext>
              </a:extLst>
            </p:cNvPr>
            <p:cNvSpPr/>
            <p:nvPr/>
          </p:nvSpPr>
          <p:spPr>
            <a:xfrm>
              <a:off x="621804" y="3805150"/>
              <a:ext cx="2271777" cy="311313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b="1" u="sng" dirty="0">
                  <a:solidFill>
                    <a:prstClr val="white"/>
                  </a:solidFill>
                  <a:latin typeface="Century Gothic"/>
                  <a:ea typeface="Open Sans Light"/>
                  <a:cs typeface="Open Sans Light"/>
                </a:rPr>
                <a:t>Key Congresses in </a:t>
              </a:r>
              <a:r>
                <a:rPr lang="en-IN" sz="800" b="1" u="sng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Q3</a:t>
              </a:r>
            </a:p>
          </p:txBody>
        </p:sp>
      </p:grp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A63C3BE9-3797-4E98-A998-4C164BCC86B3}"/>
              </a:ext>
            </a:extLst>
          </p:cNvPr>
          <p:cNvGrpSpPr/>
          <p:nvPr/>
        </p:nvGrpSpPr>
        <p:grpSpPr>
          <a:xfrm>
            <a:off x="552778" y="3509142"/>
            <a:ext cx="2234799" cy="312815"/>
            <a:chOff x="621804" y="3805150"/>
            <a:chExt cx="2012043" cy="577973"/>
          </a:xfrm>
        </p:grpSpPr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0B11934B-07CA-41A6-B68F-FDDC48FB215C}"/>
                </a:ext>
              </a:extLst>
            </p:cNvPr>
            <p:cNvSpPr/>
            <p:nvPr/>
          </p:nvSpPr>
          <p:spPr>
            <a:xfrm>
              <a:off x="621804" y="4116463"/>
              <a:ext cx="2012043" cy="266660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i="1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#</a:t>
              </a:r>
            </a:p>
          </p:txBody>
        </p:sp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976776F4-A15B-4F8D-8606-0AE5FA2BFDE9}"/>
                </a:ext>
              </a:extLst>
            </p:cNvPr>
            <p:cNvSpPr/>
            <p:nvPr/>
          </p:nvSpPr>
          <p:spPr>
            <a:xfrm>
              <a:off x="621804" y="3805150"/>
              <a:ext cx="2012043" cy="266661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b="1" u="sng" dirty="0">
                  <a:solidFill>
                    <a:prstClr val="white"/>
                  </a:solidFill>
                  <a:latin typeface="Century Gothic"/>
                  <a:ea typeface="Open Sans Light"/>
                  <a:cs typeface="Open Sans Light"/>
                </a:rPr>
                <a:t>Total # Deployed MSLs</a:t>
              </a:r>
            </a:p>
          </p:txBody>
        </p:sp>
      </p:grpSp>
      <p:sp>
        <p:nvSpPr>
          <p:cNvPr id="266" name="Rectangle: Rounded Corners 265">
            <a:extLst>
              <a:ext uri="{FF2B5EF4-FFF2-40B4-BE49-F238E27FC236}">
                <a16:creationId xmlns:a16="http://schemas.microsoft.com/office/drawing/2014/main" id="{9399E7ED-8415-4FDE-8AA9-7701FF9CBBCD}"/>
              </a:ext>
            </a:extLst>
          </p:cNvPr>
          <p:cNvSpPr/>
          <p:nvPr/>
        </p:nvSpPr>
        <p:spPr>
          <a:xfrm>
            <a:off x="3254120" y="1136627"/>
            <a:ext cx="4189576" cy="673319"/>
          </a:xfrm>
          <a:prstGeom prst="roundRect">
            <a:avLst/>
          </a:prstGeom>
          <a:solidFill>
            <a:srgbClr val="325EA6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ctr" defTabSz="1218987"/>
            <a:r>
              <a:rPr lang="en-IN" sz="16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INSIGHT BREAKDOWN </a:t>
            </a:r>
            <a:br>
              <a:rPr lang="en-IN" sz="16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IN" sz="16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PER INSIGHT CATEGORY</a:t>
            </a: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B0330546-72C9-499A-BA4A-9195203C366D}"/>
              </a:ext>
            </a:extLst>
          </p:cNvPr>
          <p:cNvGrpSpPr/>
          <p:nvPr/>
        </p:nvGrpSpPr>
        <p:grpSpPr>
          <a:xfrm>
            <a:off x="558077" y="4145283"/>
            <a:ext cx="2386158" cy="305609"/>
            <a:chOff x="621804" y="3805150"/>
            <a:chExt cx="2012043" cy="577973"/>
          </a:xfrm>
        </p:grpSpPr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F18744DF-082C-4925-B708-AA7EAC9F137E}"/>
                </a:ext>
              </a:extLst>
            </p:cNvPr>
            <p:cNvSpPr/>
            <p:nvPr/>
          </p:nvSpPr>
          <p:spPr>
            <a:xfrm>
              <a:off x="621804" y="4116463"/>
              <a:ext cx="2012043" cy="266660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i="1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Total: # (100)</a:t>
              </a:r>
            </a:p>
            <a:p>
              <a:pPr defTabSz="1218987"/>
              <a:r>
                <a:rPr lang="en-IN" sz="800" i="1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Academic Setting HCPs: 85</a:t>
              </a:r>
            </a:p>
            <a:p>
              <a:pPr defTabSz="1218987"/>
              <a:r>
                <a:rPr lang="en-IN" sz="800" i="1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Community Setting HCPs: 15</a:t>
              </a:r>
            </a:p>
          </p:txBody>
        </p:sp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id="{D7712DF6-0C85-4F93-B5C6-71FE48A42FE0}"/>
                </a:ext>
              </a:extLst>
            </p:cNvPr>
            <p:cNvSpPr/>
            <p:nvPr/>
          </p:nvSpPr>
          <p:spPr>
            <a:xfrm>
              <a:off x="621804" y="3805150"/>
              <a:ext cx="2012043" cy="266661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b="1" u="sng" dirty="0">
                  <a:solidFill>
                    <a:prstClr val="white"/>
                  </a:solidFill>
                  <a:latin typeface="Century Gothic"/>
                  <a:ea typeface="Open Sans Light"/>
                  <a:cs typeface="Open Sans Light"/>
                </a:rPr>
                <a:t>Total # HCP Interactions (# of Raw CRM Inputs)</a:t>
              </a:r>
            </a:p>
          </p:txBody>
        </p:sp>
      </p:grpSp>
      <p:sp>
        <p:nvSpPr>
          <p:cNvPr id="279" name="Rectangle: Rounded Corners 278">
            <a:extLst>
              <a:ext uri="{FF2B5EF4-FFF2-40B4-BE49-F238E27FC236}">
                <a16:creationId xmlns:a16="http://schemas.microsoft.com/office/drawing/2014/main" id="{8F558F69-7784-49D2-A300-9428AEA4DDC9}"/>
              </a:ext>
            </a:extLst>
          </p:cNvPr>
          <p:cNvSpPr/>
          <p:nvPr/>
        </p:nvSpPr>
        <p:spPr>
          <a:xfrm>
            <a:off x="7664824" y="1137253"/>
            <a:ext cx="4189576" cy="673319"/>
          </a:xfrm>
          <a:prstGeom prst="roundRect">
            <a:avLst/>
          </a:prstGeom>
          <a:solidFill>
            <a:srgbClr val="325EA6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ctr" defTabSz="1218987"/>
            <a:r>
              <a:rPr lang="en-IN" sz="16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INSIGHT BREAKDOWN </a:t>
            </a:r>
            <a:br>
              <a:rPr lang="en-IN" sz="16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IN" sz="16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BY HCP PRACTICE SETTING</a:t>
            </a:r>
          </a:p>
        </p:txBody>
      </p:sp>
      <p:sp>
        <p:nvSpPr>
          <p:cNvPr id="281" name="Rectangle: Rounded Corners 280">
            <a:extLst>
              <a:ext uri="{FF2B5EF4-FFF2-40B4-BE49-F238E27FC236}">
                <a16:creationId xmlns:a16="http://schemas.microsoft.com/office/drawing/2014/main" id="{6C3ADA29-5D6C-4640-A2D0-05E0A0360E48}"/>
              </a:ext>
            </a:extLst>
          </p:cNvPr>
          <p:cNvSpPr/>
          <p:nvPr/>
        </p:nvSpPr>
        <p:spPr>
          <a:xfrm>
            <a:off x="3254120" y="1136627"/>
            <a:ext cx="4189576" cy="4996665"/>
          </a:xfrm>
          <a:prstGeom prst="roundRect">
            <a:avLst>
              <a:gd name="adj" fmla="val 2707"/>
            </a:avLst>
          </a:prstGeom>
          <a:noFill/>
          <a:ln w="25400" cap="flat" cmpd="sng" algn="ctr">
            <a:solidFill>
              <a:srgbClr val="3362AA"/>
            </a:solidFill>
            <a:prstDash val="solid"/>
          </a:ln>
          <a:effectLst/>
        </p:spPr>
        <p:txBody>
          <a:bodyPr rtlCol="0" anchor="t"/>
          <a:lstStyle/>
          <a:p>
            <a:pPr algn="ctr" defTabSz="1218987"/>
            <a:endParaRPr lang="en-IN" sz="1600" b="1" kern="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83" name="Rectangle: Rounded Corners 282">
            <a:extLst>
              <a:ext uri="{FF2B5EF4-FFF2-40B4-BE49-F238E27FC236}">
                <a16:creationId xmlns:a16="http://schemas.microsoft.com/office/drawing/2014/main" id="{A5B2A060-B717-4D90-8906-E5DBA40083EA}"/>
              </a:ext>
            </a:extLst>
          </p:cNvPr>
          <p:cNvSpPr/>
          <p:nvPr/>
        </p:nvSpPr>
        <p:spPr>
          <a:xfrm>
            <a:off x="7657396" y="1146555"/>
            <a:ext cx="4189576" cy="4996665"/>
          </a:xfrm>
          <a:prstGeom prst="roundRect">
            <a:avLst>
              <a:gd name="adj" fmla="val 2707"/>
            </a:avLst>
          </a:prstGeom>
          <a:noFill/>
          <a:ln w="25400" cap="flat" cmpd="sng" algn="ctr">
            <a:solidFill>
              <a:srgbClr val="3362AA"/>
            </a:solidFill>
            <a:prstDash val="solid"/>
          </a:ln>
          <a:effectLst/>
        </p:spPr>
        <p:txBody>
          <a:bodyPr rtlCol="0" anchor="t"/>
          <a:lstStyle/>
          <a:p>
            <a:pPr algn="ctr" defTabSz="1218987"/>
            <a:endParaRPr lang="en-IN" sz="1600" b="1" kern="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A227A01-62D0-45DF-B435-603EBCC19D26}"/>
              </a:ext>
            </a:extLst>
          </p:cNvPr>
          <p:cNvGrpSpPr/>
          <p:nvPr/>
        </p:nvGrpSpPr>
        <p:grpSpPr>
          <a:xfrm>
            <a:off x="552778" y="4910338"/>
            <a:ext cx="2386158" cy="305609"/>
            <a:chOff x="621804" y="3805150"/>
            <a:chExt cx="2012043" cy="57797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58F2ECA-7535-4087-B953-B8FC19AA1AEB}"/>
                </a:ext>
              </a:extLst>
            </p:cNvPr>
            <p:cNvSpPr/>
            <p:nvPr/>
          </p:nvSpPr>
          <p:spPr>
            <a:xfrm>
              <a:off x="621804" y="4116463"/>
              <a:ext cx="2012043" cy="266660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i="1" dirty="0">
                  <a:solidFill>
                    <a:srgbClr val="C00000"/>
                  </a:solidFill>
                  <a:latin typeface="Century Gothic"/>
                  <a:ea typeface="Open Sans Light"/>
                  <a:cs typeface="Open Sans Light"/>
                </a:rPr>
                <a:t># (~413)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5F827A8-0DFE-4324-B8B0-F261D76C8427}"/>
                </a:ext>
              </a:extLst>
            </p:cNvPr>
            <p:cNvSpPr/>
            <p:nvPr/>
          </p:nvSpPr>
          <p:spPr>
            <a:xfrm>
              <a:off x="621804" y="3805150"/>
              <a:ext cx="2012043" cy="266661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defTabSz="1218987"/>
              <a:r>
                <a:rPr lang="en-IN" sz="800" b="1" u="sng" dirty="0">
                  <a:solidFill>
                    <a:prstClr val="white"/>
                  </a:solidFill>
                  <a:latin typeface="Century Gothic"/>
                  <a:ea typeface="Open Sans Light"/>
                  <a:cs typeface="Open Sans Light"/>
                </a:rPr>
                <a:t>Total # of Insights Produced (Categorized)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8275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3BA6BE-8A07-6750-6D1E-AB323E5C6C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12">
            <a:extLst>
              <a:ext uri="{FF2B5EF4-FFF2-40B4-BE49-F238E27FC236}">
                <a16:creationId xmlns:a16="http://schemas.microsoft.com/office/drawing/2014/main" id="{181B96EA-E60D-4943-A6F9-EC562DECDFA6}"/>
              </a:ext>
            </a:extLst>
          </p:cNvPr>
          <p:cNvSpPr/>
          <p:nvPr/>
        </p:nvSpPr>
        <p:spPr>
          <a:xfrm>
            <a:off x="1255941" y="6484518"/>
            <a:ext cx="910610" cy="258609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100" b="1" spc="219" dirty="0">
                <a:solidFill>
                  <a:srgbClr val="FFFFFF"/>
                </a:solidFill>
                <a:latin typeface="Century Gothic" panose="020B0502020202020204" pitchFamily="34" charset="0"/>
                <a:sym typeface="Source Sans Pro 1"/>
              </a:rPr>
              <a:t>AGENTIC</a:t>
            </a:r>
            <a:endParaRPr lang="en-US" sz="1100" b="1" dirty="0">
              <a:latin typeface="Century Gothic" panose="020B0502020202020204" pitchFamily="34" charset="0"/>
            </a:endParaRPr>
          </a:p>
        </p:txBody>
      </p:sp>
      <p:pic>
        <p:nvPicPr>
          <p:cNvPr id="172" name="Picture 171" descr="A close up of a sign&#10;&#10;Description automatically generated">
            <a:extLst>
              <a:ext uri="{FF2B5EF4-FFF2-40B4-BE49-F238E27FC236}">
                <a16:creationId xmlns:a16="http://schemas.microsoft.com/office/drawing/2014/main" id="{B3A4C93D-DD8E-426A-96E2-9AB1428416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95F1613-FED7-49F9-B3B7-A36FDCF6409E}"/>
              </a:ext>
            </a:extLst>
          </p:cNvPr>
          <p:cNvSpPr txBox="1"/>
          <p:nvPr/>
        </p:nvSpPr>
        <p:spPr>
          <a:xfrm>
            <a:off x="0" y="1"/>
            <a:ext cx="12188825" cy="881448"/>
          </a:xfrm>
          <a:prstGeom prst="rect">
            <a:avLst/>
          </a:prstGeom>
          <a:gradFill flip="none" rotWithShape="1">
            <a:gsLst>
              <a:gs pos="1000">
                <a:srgbClr val="0047BA"/>
              </a:gs>
              <a:gs pos="70000">
                <a:srgbClr val="3469B1"/>
              </a:gs>
            </a:gsLst>
            <a:lin ang="30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R="0" lvl="0" indent="0" algn="ctr" defTabSz="121898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r>
              <a:rPr lang="en-US" sz="2800" b="1" dirty="0"/>
              <a:t>PATIENT MANAGEMENT INSIGHTS </a:t>
            </a:r>
            <a:r>
              <a:rPr lang="en-US" sz="2800" i="1" dirty="0"/>
              <a:t>CATEGORIZED BY KEY THEMES </a:t>
            </a: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815F7BAA-0BCF-496B-A325-3AEE29E42264}"/>
              </a:ext>
            </a:extLst>
          </p:cNvPr>
          <p:cNvSpPr/>
          <p:nvPr/>
        </p:nvSpPr>
        <p:spPr>
          <a:xfrm>
            <a:off x="304799" y="981401"/>
            <a:ext cx="6878425" cy="2823676"/>
          </a:xfrm>
          <a:custGeom>
            <a:avLst/>
            <a:gdLst>
              <a:gd name="connsiteX0" fmla="*/ 0 w 6094408"/>
              <a:gd name="connsiteY0" fmla="*/ 0 h 3297745"/>
              <a:gd name="connsiteX1" fmla="*/ 6094408 w 6094408"/>
              <a:gd name="connsiteY1" fmla="*/ 0 h 3297745"/>
              <a:gd name="connsiteX2" fmla="*/ 5269972 w 6094408"/>
              <a:gd name="connsiteY2" fmla="*/ 3297745 h 3297745"/>
              <a:gd name="connsiteX3" fmla="*/ 0 w 6094408"/>
              <a:gd name="connsiteY3" fmla="*/ 3297745 h 3297745"/>
              <a:gd name="connsiteX0" fmla="*/ 0 w 6027684"/>
              <a:gd name="connsiteY0" fmla="*/ 0 h 3297745"/>
              <a:gd name="connsiteX1" fmla="*/ 6027684 w 6027684"/>
              <a:gd name="connsiteY1" fmla="*/ 0 h 3297745"/>
              <a:gd name="connsiteX2" fmla="*/ 5269972 w 6027684"/>
              <a:gd name="connsiteY2" fmla="*/ 3297745 h 3297745"/>
              <a:gd name="connsiteX3" fmla="*/ 0 w 6027684"/>
              <a:gd name="connsiteY3" fmla="*/ 3297745 h 3297745"/>
              <a:gd name="connsiteX4" fmla="*/ 0 w 6027684"/>
              <a:gd name="connsiteY4" fmla="*/ 0 h 3297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7684" h="3297745">
                <a:moveTo>
                  <a:pt x="0" y="0"/>
                </a:moveTo>
                <a:lnTo>
                  <a:pt x="6027684" y="0"/>
                </a:lnTo>
                <a:lnTo>
                  <a:pt x="5269972" y="3297745"/>
                </a:lnTo>
                <a:lnTo>
                  <a:pt x="0" y="329774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3000">
                <a:srgbClr val="28246F"/>
              </a:gs>
              <a:gs pos="100000">
                <a:srgbClr val="3469B1"/>
              </a:gs>
            </a:gsLst>
            <a:lin ang="17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ctr"/>
            <a:endParaRPr lang="en-US" sz="800" b="1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US" sz="1600" b="1" i="1" dirty="0">
                <a:solidFill>
                  <a:schemeClr val="bg1"/>
                </a:solidFill>
                <a:latin typeface="Century Gothic" panose="020B0502020202020204" pitchFamily="34" charset="0"/>
              </a:rPr>
              <a:t>KEY THEMES IDENTIFIED WITHIN </a:t>
            </a:r>
            <a:r>
              <a:rPr lang="en-US" sz="1600" b="1" i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PATIENT MGMT.</a:t>
            </a:r>
            <a:r>
              <a:rPr lang="en-US" sz="1600" b="1" i="1" dirty="0">
                <a:solidFill>
                  <a:schemeClr val="bg1"/>
                </a:solidFill>
                <a:latin typeface="Century Gothic" panose="020B0502020202020204" pitchFamily="34" charset="0"/>
              </a:rPr>
              <a:t> INSIGHTS CATEGORY</a:t>
            </a:r>
            <a:endParaRPr lang="en-US" sz="1600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F503643-2484-435D-ADF1-2DAD2F8F7D68}"/>
              </a:ext>
            </a:extLst>
          </p:cNvPr>
          <p:cNvSpPr txBox="1"/>
          <p:nvPr/>
        </p:nvSpPr>
        <p:spPr>
          <a:xfrm>
            <a:off x="3187430" y="1758336"/>
            <a:ext cx="3449039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8987"/>
            <a:r>
              <a:rPr lang="en-US" sz="1100" dirty="0">
                <a:solidFill>
                  <a:schemeClr val="bg1"/>
                </a:solidFill>
                <a:latin typeface="Century Gothic"/>
                <a:ea typeface="+mn-lt"/>
                <a:cs typeface="+mn-lt"/>
              </a:rPr>
              <a:t>Description of theme </a:t>
            </a:r>
            <a:endParaRPr lang="en-PH" sz="1100">
              <a:solidFill>
                <a:schemeClr val="bg1"/>
              </a:solidFill>
              <a:latin typeface="Century Gothic"/>
            </a:endParaRPr>
          </a:p>
        </p:txBody>
      </p:sp>
      <p:sp>
        <p:nvSpPr>
          <p:cNvPr id="61" name="Parallelogram 60">
            <a:extLst>
              <a:ext uri="{FF2B5EF4-FFF2-40B4-BE49-F238E27FC236}">
                <a16:creationId xmlns:a16="http://schemas.microsoft.com/office/drawing/2014/main" id="{034B5A53-D5AB-481D-919F-E36006BFFAF9}"/>
              </a:ext>
            </a:extLst>
          </p:cNvPr>
          <p:cNvSpPr/>
          <p:nvPr/>
        </p:nvSpPr>
        <p:spPr>
          <a:xfrm>
            <a:off x="797293" y="1579394"/>
            <a:ext cx="2324151" cy="584223"/>
          </a:xfrm>
          <a:prstGeom prst="parallelogram">
            <a:avLst/>
          </a:prstGeom>
          <a:gradFill flip="none" rotWithShape="1">
            <a:gsLst>
              <a:gs pos="0">
                <a:srgbClr val="CAC8ED"/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2" name="Parallelogram 61">
            <a:extLst>
              <a:ext uri="{FF2B5EF4-FFF2-40B4-BE49-F238E27FC236}">
                <a16:creationId xmlns:a16="http://schemas.microsoft.com/office/drawing/2014/main" id="{85A70CDE-1A74-4279-A364-E9147B38D890}"/>
              </a:ext>
            </a:extLst>
          </p:cNvPr>
          <p:cNvSpPr/>
          <p:nvPr/>
        </p:nvSpPr>
        <p:spPr>
          <a:xfrm>
            <a:off x="634664" y="2303300"/>
            <a:ext cx="2324151" cy="584223"/>
          </a:xfrm>
          <a:prstGeom prst="parallelogram">
            <a:avLst/>
          </a:prstGeom>
          <a:gradFill flip="none" rotWithShape="1">
            <a:gsLst>
              <a:gs pos="0">
                <a:srgbClr val="CAC8ED"/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/>
            <a:endParaRPr lang="en-PH" sz="2400" ker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63" name="Parallelogram 62">
            <a:extLst>
              <a:ext uri="{FF2B5EF4-FFF2-40B4-BE49-F238E27FC236}">
                <a16:creationId xmlns:a16="http://schemas.microsoft.com/office/drawing/2014/main" id="{D83BEBBE-2B25-4B31-8ADC-8612751E3152}"/>
              </a:ext>
            </a:extLst>
          </p:cNvPr>
          <p:cNvSpPr/>
          <p:nvPr/>
        </p:nvSpPr>
        <p:spPr>
          <a:xfrm>
            <a:off x="476048" y="3027206"/>
            <a:ext cx="2324151" cy="584223"/>
          </a:xfrm>
          <a:prstGeom prst="parallelogram">
            <a:avLst/>
          </a:prstGeom>
          <a:gradFill flip="none" rotWithShape="1">
            <a:gsLst>
              <a:gs pos="0">
                <a:srgbClr val="CAC8ED"/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/>
            <a:endParaRPr lang="en-PH" sz="2400" ker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FABE468-75AB-4F55-BB44-CAB31593FAE5}"/>
              </a:ext>
            </a:extLst>
          </p:cNvPr>
          <p:cNvSpPr txBox="1"/>
          <p:nvPr/>
        </p:nvSpPr>
        <p:spPr>
          <a:xfrm>
            <a:off x="2995439" y="2456399"/>
            <a:ext cx="34490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100" dirty="0">
                <a:solidFill>
                  <a:schemeClr val="bg1"/>
                </a:solidFill>
                <a:latin typeface="Century Gothic" panose="020B0502020202020204" pitchFamily="34" charset="0"/>
              </a:rPr>
              <a:t>Description of theme</a:t>
            </a:r>
            <a:endParaRPr lang="en-PH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9B61C43-4F44-4782-BE41-3AB8BB14C5AC}"/>
              </a:ext>
            </a:extLst>
          </p:cNvPr>
          <p:cNvSpPr txBox="1"/>
          <p:nvPr/>
        </p:nvSpPr>
        <p:spPr>
          <a:xfrm>
            <a:off x="2811805" y="3167865"/>
            <a:ext cx="34490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100" dirty="0">
                <a:solidFill>
                  <a:schemeClr val="bg1"/>
                </a:solidFill>
                <a:latin typeface="Century Gothic" panose="020B0502020202020204" pitchFamily="34" charset="0"/>
              </a:rPr>
              <a:t>Description of theme</a:t>
            </a:r>
            <a:endParaRPr lang="en-PH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16F6F5F8-C173-49BA-B60D-DBDC8237D71C}"/>
              </a:ext>
            </a:extLst>
          </p:cNvPr>
          <p:cNvSpPr/>
          <p:nvPr/>
        </p:nvSpPr>
        <p:spPr>
          <a:xfrm>
            <a:off x="797293" y="2166083"/>
            <a:ext cx="254034" cy="143109"/>
          </a:xfrm>
          <a:custGeom>
            <a:avLst/>
            <a:gdLst>
              <a:gd name="connsiteX0" fmla="*/ 0 w 183451"/>
              <a:gd name="connsiteY0" fmla="*/ 0 h 103346"/>
              <a:gd name="connsiteX1" fmla="*/ 163068 w 183451"/>
              <a:gd name="connsiteY1" fmla="*/ 103346 h 103346"/>
              <a:gd name="connsiteX2" fmla="*/ 183452 w 183451"/>
              <a:gd name="connsiteY2" fmla="*/ 0 h 103346"/>
              <a:gd name="connsiteX3" fmla="*/ 0 w 183451"/>
              <a:gd name="connsiteY3" fmla="*/ 0 h 103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451" h="103346">
                <a:moveTo>
                  <a:pt x="0" y="0"/>
                </a:moveTo>
                <a:lnTo>
                  <a:pt x="163068" y="103346"/>
                </a:lnTo>
                <a:lnTo>
                  <a:pt x="18345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9000">
                <a:srgbClr val="605BCA"/>
              </a:gs>
              <a:gs pos="100000">
                <a:srgbClr val="CAC8ED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048CEC8-5026-469B-A90A-49E611BC7E50}"/>
              </a:ext>
            </a:extLst>
          </p:cNvPr>
          <p:cNvSpPr/>
          <p:nvPr/>
        </p:nvSpPr>
        <p:spPr>
          <a:xfrm>
            <a:off x="631468" y="2887388"/>
            <a:ext cx="237366" cy="142142"/>
          </a:xfrm>
          <a:custGeom>
            <a:avLst/>
            <a:gdLst>
              <a:gd name="connsiteX0" fmla="*/ 0 w 173259"/>
              <a:gd name="connsiteY0" fmla="*/ 0 h 103441"/>
              <a:gd name="connsiteX1" fmla="*/ 154019 w 173259"/>
              <a:gd name="connsiteY1" fmla="*/ 103442 h 103441"/>
              <a:gd name="connsiteX2" fmla="*/ 173260 w 173259"/>
              <a:gd name="connsiteY2" fmla="*/ 0 h 103441"/>
              <a:gd name="connsiteX3" fmla="*/ 0 w 173259"/>
              <a:gd name="connsiteY3" fmla="*/ 0 h 103441"/>
              <a:gd name="connsiteX0" fmla="*/ 0 w 173260"/>
              <a:gd name="connsiteY0" fmla="*/ 0 h 96945"/>
              <a:gd name="connsiteX1" fmla="*/ 139402 w 173260"/>
              <a:gd name="connsiteY1" fmla="*/ 96945 h 96945"/>
              <a:gd name="connsiteX2" fmla="*/ 173260 w 173260"/>
              <a:gd name="connsiteY2" fmla="*/ 0 h 96945"/>
              <a:gd name="connsiteX3" fmla="*/ 0 w 173260"/>
              <a:gd name="connsiteY3" fmla="*/ 0 h 96945"/>
              <a:gd name="connsiteX0" fmla="*/ 0 w 171636"/>
              <a:gd name="connsiteY0" fmla="*/ 0 h 96945"/>
              <a:gd name="connsiteX1" fmla="*/ 139402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71636"/>
              <a:gd name="connsiteY0" fmla="*/ 0 h 96945"/>
              <a:gd name="connsiteX1" fmla="*/ 134529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61891"/>
              <a:gd name="connsiteY0" fmla="*/ 0 h 96945"/>
              <a:gd name="connsiteX1" fmla="*/ 134529 w 161891"/>
              <a:gd name="connsiteY1" fmla="*/ 96945 h 96945"/>
              <a:gd name="connsiteX2" fmla="*/ 161891 w 161891"/>
              <a:gd name="connsiteY2" fmla="*/ 1624 h 96945"/>
              <a:gd name="connsiteX3" fmla="*/ 0 w 161891"/>
              <a:gd name="connsiteY3" fmla="*/ 0 h 96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891" h="96945">
                <a:moveTo>
                  <a:pt x="0" y="0"/>
                </a:moveTo>
                <a:lnTo>
                  <a:pt x="134529" y="96945"/>
                </a:lnTo>
                <a:lnTo>
                  <a:pt x="161891" y="162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9000">
                <a:srgbClr val="605BCA"/>
              </a:gs>
              <a:gs pos="100000">
                <a:srgbClr val="CAC8ED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1218987"/>
            <a:endParaRPr lang="en-PH" sz="24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9A7B7865-A28F-49FF-8B33-8EEBA40A726C}"/>
              </a:ext>
            </a:extLst>
          </p:cNvPr>
          <p:cNvSpPr/>
          <p:nvPr/>
        </p:nvSpPr>
        <p:spPr>
          <a:xfrm>
            <a:off x="471777" y="3775851"/>
            <a:ext cx="220842" cy="132247"/>
          </a:xfrm>
          <a:custGeom>
            <a:avLst/>
            <a:gdLst>
              <a:gd name="connsiteX0" fmla="*/ 0 w 173259"/>
              <a:gd name="connsiteY0" fmla="*/ 0 h 103441"/>
              <a:gd name="connsiteX1" fmla="*/ 154019 w 173259"/>
              <a:gd name="connsiteY1" fmla="*/ 103442 h 103441"/>
              <a:gd name="connsiteX2" fmla="*/ 173260 w 173259"/>
              <a:gd name="connsiteY2" fmla="*/ 0 h 103441"/>
              <a:gd name="connsiteX3" fmla="*/ 0 w 173259"/>
              <a:gd name="connsiteY3" fmla="*/ 0 h 103441"/>
              <a:gd name="connsiteX0" fmla="*/ 0 w 173260"/>
              <a:gd name="connsiteY0" fmla="*/ 0 h 96945"/>
              <a:gd name="connsiteX1" fmla="*/ 139402 w 173260"/>
              <a:gd name="connsiteY1" fmla="*/ 96945 h 96945"/>
              <a:gd name="connsiteX2" fmla="*/ 173260 w 173260"/>
              <a:gd name="connsiteY2" fmla="*/ 0 h 96945"/>
              <a:gd name="connsiteX3" fmla="*/ 0 w 173260"/>
              <a:gd name="connsiteY3" fmla="*/ 0 h 96945"/>
              <a:gd name="connsiteX0" fmla="*/ 0 w 171636"/>
              <a:gd name="connsiteY0" fmla="*/ 0 h 96945"/>
              <a:gd name="connsiteX1" fmla="*/ 139402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71636"/>
              <a:gd name="connsiteY0" fmla="*/ 0 h 96945"/>
              <a:gd name="connsiteX1" fmla="*/ 134529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61891"/>
              <a:gd name="connsiteY0" fmla="*/ 0 h 96945"/>
              <a:gd name="connsiteX1" fmla="*/ 134529 w 161891"/>
              <a:gd name="connsiteY1" fmla="*/ 96945 h 96945"/>
              <a:gd name="connsiteX2" fmla="*/ 161891 w 161891"/>
              <a:gd name="connsiteY2" fmla="*/ 1624 h 96945"/>
              <a:gd name="connsiteX3" fmla="*/ 0 w 161891"/>
              <a:gd name="connsiteY3" fmla="*/ 0 h 96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891" h="96945">
                <a:moveTo>
                  <a:pt x="0" y="0"/>
                </a:moveTo>
                <a:lnTo>
                  <a:pt x="134529" y="96945"/>
                </a:lnTo>
                <a:lnTo>
                  <a:pt x="161891" y="162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9000">
                <a:srgbClr val="605BCA"/>
              </a:gs>
              <a:gs pos="100000">
                <a:srgbClr val="CAC8ED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1218987"/>
            <a:endParaRPr lang="en-PH" sz="24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AC7F6BE-5567-4E80-B114-2B2D9E2FDF91}"/>
              </a:ext>
            </a:extLst>
          </p:cNvPr>
          <p:cNvSpPr/>
          <p:nvPr/>
        </p:nvSpPr>
        <p:spPr>
          <a:xfrm>
            <a:off x="7366170" y="981401"/>
            <a:ext cx="4515439" cy="2440790"/>
          </a:xfrm>
          <a:prstGeom prst="rect">
            <a:avLst/>
          </a:prstGeom>
          <a:noFill/>
          <a:ln w="25400" cap="flat" cmpd="sng" algn="ctr">
            <a:solidFill>
              <a:srgbClr val="28246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C04F886-E1D9-4970-BEA5-1D9B1645ADD2}"/>
              </a:ext>
            </a:extLst>
          </p:cNvPr>
          <p:cNvSpPr txBox="1"/>
          <p:nvPr/>
        </p:nvSpPr>
        <p:spPr>
          <a:xfrm>
            <a:off x="8077705" y="1088721"/>
            <a:ext cx="3719064" cy="338554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6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Theme 1 Gaps</a:t>
            </a:r>
            <a:endParaRPr lang="en-PH" sz="16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5753973-1135-4366-ADBB-1FE08B632DB9}"/>
              </a:ext>
            </a:extLst>
          </p:cNvPr>
          <p:cNvSpPr txBox="1"/>
          <p:nvPr/>
        </p:nvSpPr>
        <p:spPr>
          <a:xfrm>
            <a:off x="8077705" y="1557818"/>
            <a:ext cx="371906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best quotes to support theme, ideally three quotes that best illustrate the points identified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72" name="Rectangle: Single Corner Snipped 71">
            <a:extLst>
              <a:ext uri="{FF2B5EF4-FFF2-40B4-BE49-F238E27FC236}">
                <a16:creationId xmlns:a16="http://schemas.microsoft.com/office/drawing/2014/main" id="{A6C26C81-1401-4C2F-81A8-1753F986F586}"/>
              </a:ext>
            </a:extLst>
          </p:cNvPr>
          <p:cNvSpPr/>
          <p:nvPr/>
        </p:nvSpPr>
        <p:spPr>
          <a:xfrm flipV="1">
            <a:off x="7366170" y="981401"/>
            <a:ext cx="609132" cy="565647"/>
          </a:xfrm>
          <a:prstGeom prst="snip1Rect">
            <a:avLst>
              <a:gd name="adj" fmla="val 34180"/>
            </a:avLst>
          </a:prstGeom>
          <a:solidFill>
            <a:srgbClr val="28246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AFCBBD1-1940-4A52-A22B-1B229E217D9F}"/>
              </a:ext>
            </a:extLst>
          </p:cNvPr>
          <p:cNvSpPr txBox="1"/>
          <p:nvPr/>
        </p:nvSpPr>
        <p:spPr>
          <a:xfrm>
            <a:off x="976899" y="1724120"/>
            <a:ext cx="2047902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8987"/>
            <a:r>
              <a:rPr lang="en-US" sz="1400" b="1" dirty="0">
                <a:solidFill>
                  <a:srgbClr val="28246F"/>
                </a:solidFill>
                <a:latin typeface="Century Gothic"/>
              </a:rPr>
              <a:t>Theme 1 (with n-size)</a:t>
            </a:r>
            <a:endParaRPr lang="en-PH" sz="1400" b="1">
              <a:solidFill>
                <a:srgbClr val="28246F"/>
              </a:solidFill>
              <a:latin typeface="Century Gothic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2F43F4B-76A9-4061-8E15-EE2CAA603667}"/>
              </a:ext>
            </a:extLst>
          </p:cNvPr>
          <p:cNvSpPr txBox="1"/>
          <p:nvPr/>
        </p:nvSpPr>
        <p:spPr>
          <a:xfrm>
            <a:off x="830780" y="2409964"/>
            <a:ext cx="20479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8246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heme 2 (with n-size)</a:t>
            </a:r>
            <a:endParaRPr kumimoji="0" lang="en-PH" sz="1400" b="1" i="0" u="none" strike="noStrike" kern="1200" cap="none" spc="0" normalizeH="0" baseline="0" noProof="0" dirty="0">
              <a:ln>
                <a:noFill/>
              </a:ln>
              <a:solidFill>
                <a:srgbClr val="2824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74550FB-5B17-488B-9438-17CB9BB355E4}"/>
              </a:ext>
            </a:extLst>
          </p:cNvPr>
          <p:cNvSpPr txBox="1"/>
          <p:nvPr/>
        </p:nvSpPr>
        <p:spPr>
          <a:xfrm>
            <a:off x="699012" y="3134650"/>
            <a:ext cx="20479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8246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heme 3 (with n-size)</a:t>
            </a:r>
            <a:endParaRPr kumimoji="0" lang="en-PH" sz="1400" b="1" i="0" u="none" strike="noStrike" kern="1200" cap="none" spc="0" normalizeH="0" baseline="0" noProof="0" dirty="0">
              <a:ln>
                <a:noFill/>
              </a:ln>
              <a:solidFill>
                <a:srgbClr val="2824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01D15B-FAC4-487D-B73E-7003066FB4C7}"/>
              </a:ext>
            </a:extLst>
          </p:cNvPr>
          <p:cNvSpPr txBox="1"/>
          <p:nvPr/>
        </p:nvSpPr>
        <p:spPr>
          <a:xfrm>
            <a:off x="7533882" y="1079558"/>
            <a:ext cx="273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 dirty="0">
                <a:solidFill>
                  <a:prstClr val="white"/>
                </a:solidFill>
                <a:latin typeface="Century Gothic" panose="020B0502020202020204" pitchFamily="34" charset="0"/>
              </a:rPr>
              <a:t>1</a:t>
            </a:r>
            <a:endParaRPr lang="en-PH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7" name="Graphic 76" descr="Circle with left arrow with solid fill">
            <a:extLst>
              <a:ext uri="{FF2B5EF4-FFF2-40B4-BE49-F238E27FC236}">
                <a16:creationId xmlns:a16="http://schemas.microsoft.com/office/drawing/2014/main" id="{B9E7AE55-9CF5-4B3E-ACE8-2FEA2FEEFE8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3883" y="1590242"/>
            <a:ext cx="273707" cy="273707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4CA5FAE0-18D1-40D8-93D8-60AE34C8A09C}"/>
              </a:ext>
            </a:extLst>
          </p:cNvPr>
          <p:cNvSpPr txBox="1"/>
          <p:nvPr/>
        </p:nvSpPr>
        <p:spPr>
          <a:xfrm>
            <a:off x="8080156" y="2448502"/>
            <a:ext cx="3716613" cy="24622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0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Root Cause Questions &amp; Considerations (AI Generated)</a:t>
            </a:r>
            <a:endParaRPr lang="en-PH" sz="10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0067F86-54E7-4456-82A7-FAB7741F9CD2}"/>
              </a:ext>
            </a:extLst>
          </p:cNvPr>
          <p:cNvSpPr txBox="1"/>
          <p:nvPr/>
        </p:nvSpPr>
        <p:spPr>
          <a:xfrm>
            <a:off x="8080156" y="2688030"/>
            <a:ext cx="371906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LLM recommended next steps based on aggregated insights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0" name="Graphic 79" descr="Circle with left arrow with solid fill">
            <a:extLst>
              <a:ext uri="{FF2B5EF4-FFF2-40B4-BE49-F238E27FC236}">
                <a16:creationId xmlns:a16="http://schemas.microsoft.com/office/drawing/2014/main" id="{F1E821EE-B8E2-499F-BCD1-B35A403A2C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3883" y="2505071"/>
            <a:ext cx="273707" cy="273707"/>
          </a:xfrm>
          <a:prstGeom prst="rect">
            <a:avLst/>
          </a:pr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88A74CDA-7697-47C8-9989-6BB0D5EE5270}"/>
              </a:ext>
            </a:extLst>
          </p:cNvPr>
          <p:cNvSpPr/>
          <p:nvPr/>
        </p:nvSpPr>
        <p:spPr>
          <a:xfrm>
            <a:off x="7363719" y="3740218"/>
            <a:ext cx="4515439" cy="2440790"/>
          </a:xfrm>
          <a:prstGeom prst="rect">
            <a:avLst/>
          </a:prstGeom>
          <a:noFill/>
          <a:ln w="25400" cap="flat" cmpd="sng" algn="ctr">
            <a:solidFill>
              <a:srgbClr val="28246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457A293-07BE-4FB2-91CD-3A8B598A8974}"/>
              </a:ext>
            </a:extLst>
          </p:cNvPr>
          <p:cNvSpPr txBox="1"/>
          <p:nvPr/>
        </p:nvSpPr>
        <p:spPr>
          <a:xfrm>
            <a:off x="8075254" y="3847538"/>
            <a:ext cx="3719064" cy="338554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6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Theme 2 Gaps</a:t>
            </a:r>
            <a:endParaRPr lang="en-PH" sz="16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6C279E7-32B2-458B-9E0D-6C11443DCE99}"/>
              </a:ext>
            </a:extLst>
          </p:cNvPr>
          <p:cNvSpPr txBox="1"/>
          <p:nvPr/>
        </p:nvSpPr>
        <p:spPr>
          <a:xfrm>
            <a:off x="8075254" y="4364873"/>
            <a:ext cx="371906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best quotes to support theme, ideally three quotes that best illustrate the points identified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84" name="Rectangle: Single Corner Snipped 83">
            <a:extLst>
              <a:ext uri="{FF2B5EF4-FFF2-40B4-BE49-F238E27FC236}">
                <a16:creationId xmlns:a16="http://schemas.microsoft.com/office/drawing/2014/main" id="{742F1FA0-CBBB-4845-8E8D-AD0BE9E7218B}"/>
              </a:ext>
            </a:extLst>
          </p:cNvPr>
          <p:cNvSpPr/>
          <p:nvPr/>
        </p:nvSpPr>
        <p:spPr>
          <a:xfrm flipV="1">
            <a:off x="7363719" y="3740218"/>
            <a:ext cx="609132" cy="565647"/>
          </a:xfrm>
          <a:prstGeom prst="snip1Rect">
            <a:avLst>
              <a:gd name="adj" fmla="val 34180"/>
            </a:avLst>
          </a:prstGeom>
          <a:solidFill>
            <a:srgbClr val="28246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BFBAFC3-1736-403F-A24D-D7D8EA62989E}"/>
              </a:ext>
            </a:extLst>
          </p:cNvPr>
          <p:cNvSpPr txBox="1"/>
          <p:nvPr/>
        </p:nvSpPr>
        <p:spPr>
          <a:xfrm>
            <a:off x="7531431" y="3838375"/>
            <a:ext cx="273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 dirty="0">
                <a:solidFill>
                  <a:prstClr val="white"/>
                </a:solidFill>
                <a:latin typeface="Century Gothic" panose="020B0502020202020204" pitchFamily="34" charset="0"/>
              </a:rPr>
              <a:t>2</a:t>
            </a:r>
            <a:endParaRPr lang="en-PH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6" name="Graphic 85" descr="Circle with left arrow with solid fill">
            <a:extLst>
              <a:ext uri="{FF2B5EF4-FFF2-40B4-BE49-F238E27FC236}">
                <a16:creationId xmlns:a16="http://schemas.microsoft.com/office/drawing/2014/main" id="{2EA18AE1-B51F-4A16-A411-C026ACE061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1432" y="4397297"/>
            <a:ext cx="273707" cy="273707"/>
          </a:xfrm>
          <a:prstGeom prst="rect">
            <a:avLst/>
          </a:prstGeom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8EBE89DF-5F71-4F07-BD51-58FF7B100862}"/>
              </a:ext>
            </a:extLst>
          </p:cNvPr>
          <p:cNvSpPr txBox="1"/>
          <p:nvPr/>
        </p:nvSpPr>
        <p:spPr>
          <a:xfrm>
            <a:off x="8077705" y="5207319"/>
            <a:ext cx="3716613" cy="24622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sng" strike="noStrike" kern="1200" cap="none" spc="0" normalizeH="0" baseline="0" noProof="0" dirty="0">
                <a:ln>
                  <a:noFill/>
                </a:ln>
                <a:solidFill>
                  <a:srgbClr val="28246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oot Cause Questions &amp; Considerations (AI Generated)</a:t>
            </a:r>
            <a:endParaRPr kumimoji="0" lang="en-PH" sz="1000" b="1" i="0" u="sng" strike="noStrike" kern="1200" cap="none" spc="0" normalizeH="0" baseline="0" noProof="0" dirty="0">
              <a:ln>
                <a:noFill/>
              </a:ln>
              <a:solidFill>
                <a:srgbClr val="2824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01AEF6C-1E1C-417C-BDCE-86914B76DF55}"/>
              </a:ext>
            </a:extLst>
          </p:cNvPr>
          <p:cNvSpPr txBox="1"/>
          <p:nvPr/>
        </p:nvSpPr>
        <p:spPr>
          <a:xfrm>
            <a:off x="8077705" y="5438143"/>
            <a:ext cx="371906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LLM recommended next steps based on aggregated insights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9" name="Graphic 88" descr="Circle with left arrow with solid fill">
            <a:extLst>
              <a:ext uri="{FF2B5EF4-FFF2-40B4-BE49-F238E27FC236}">
                <a16:creationId xmlns:a16="http://schemas.microsoft.com/office/drawing/2014/main" id="{A39908A1-73FE-4449-B747-F3D9CEE0AF3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1432" y="5297914"/>
            <a:ext cx="273707" cy="273707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17763AA5-1A0A-4311-B4DB-18AC1E2ACB77}"/>
              </a:ext>
            </a:extLst>
          </p:cNvPr>
          <p:cNvSpPr/>
          <p:nvPr/>
        </p:nvSpPr>
        <p:spPr>
          <a:xfrm>
            <a:off x="304799" y="3906725"/>
            <a:ext cx="6876786" cy="2263239"/>
          </a:xfrm>
          <a:prstGeom prst="rect">
            <a:avLst/>
          </a:prstGeom>
          <a:noFill/>
          <a:ln w="25400" cap="flat" cmpd="sng" algn="ctr">
            <a:solidFill>
              <a:srgbClr val="28246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EC7462A-1020-49B0-B935-59C75BAF1B08}"/>
              </a:ext>
            </a:extLst>
          </p:cNvPr>
          <p:cNvSpPr txBox="1"/>
          <p:nvPr/>
        </p:nvSpPr>
        <p:spPr>
          <a:xfrm>
            <a:off x="1016333" y="4025088"/>
            <a:ext cx="6034915" cy="338554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6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Theme 3 Gaps</a:t>
            </a:r>
            <a:endParaRPr lang="en-PH" sz="16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BF0A522-7DC8-4530-B3F9-413B33ABFD9C}"/>
              </a:ext>
            </a:extLst>
          </p:cNvPr>
          <p:cNvSpPr txBox="1"/>
          <p:nvPr/>
        </p:nvSpPr>
        <p:spPr>
          <a:xfrm>
            <a:off x="1027376" y="4375657"/>
            <a:ext cx="6034915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best quotes to support theme, ideally three quotes that best illustrate the points identified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93" name="Rectangle: Single Corner Snipped 92">
            <a:extLst>
              <a:ext uri="{FF2B5EF4-FFF2-40B4-BE49-F238E27FC236}">
                <a16:creationId xmlns:a16="http://schemas.microsoft.com/office/drawing/2014/main" id="{0CCBBD92-3E4D-426D-8A79-4BD6180822AB}"/>
              </a:ext>
            </a:extLst>
          </p:cNvPr>
          <p:cNvSpPr/>
          <p:nvPr/>
        </p:nvSpPr>
        <p:spPr>
          <a:xfrm flipV="1">
            <a:off x="304799" y="3917768"/>
            <a:ext cx="609132" cy="565647"/>
          </a:xfrm>
          <a:prstGeom prst="snip1Rect">
            <a:avLst>
              <a:gd name="adj" fmla="val 34180"/>
            </a:avLst>
          </a:prstGeom>
          <a:solidFill>
            <a:srgbClr val="28246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23BBD4B-CF35-4B57-AC25-73CA91571104}"/>
              </a:ext>
            </a:extLst>
          </p:cNvPr>
          <p:cNvSpPr txBox="1"/>
          <p:nvPr/>
        </p:nvSpPr>
        <p:spPr>
          <a:xfrm>
            <a:off x="472511" y="4015925"/>
            <a:ext cx="273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 dirty="0">
                <a:solidFill>
                  <a:prstClr val="white"/>
                </a:solidFill>
                <a:latin typeface="Century Gothic" panose="020B0502020202020204" pitchFamily="34" charset="0"/>
              </a:rPr>
              <a:t>3</a:t>
            </a:r>
            <a:endParaRPr lang="en-PH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5" name="Graphic 94" descr="Circle with left arrow with solid fill">
            <a:extLst>
              <a:ext uri="{FF2B5EF4-FFF2-40B4-BE49-F238E27FC236}">
                <a16:creationId xmlns:a16="http://schemas.microsoft.com/office/drawing/2014/main" id="{361C3162-5696-47EE-AAB1-5338BE5CD8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72511" y="4523222"/>
            <a:ext cx="273707" cy="273707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ED1077A1-67D1-4073-A114-92D9C38A5B84}"/>
              </a:ext>
            </a:extLst>
          </p:cNvPr>
          <p:cNvSpPr txBox="1"/>
          <p:nvPr/>
        </p:nvSpPr>
        <p:spPr>
          <a:xfrm>
            <a:off x="1018785" y="5240449"/>
            <a:ext cx="6030938" cy="26161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1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Root Cause Questions &amp; Considerations (AI Generated)</a:t>
            </a:r>
            <a:endParaRPr lang="en-PH" sz="11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E00C448-1D3F-4A7E-B99C-90FCD99F1788}"/>
              </a:ext>
            </a:extLst>
          </p:cNvPr>
          <p:cNvSpPr txBox="1"/>
          <p:nvPr/>
        </p:nvSpPr>
        <p:spPr>
          <a:xfrm>
            <a:off x="1018784" y="5471273"/>
            <a:ext cx="6034915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LLM recommended next steps based on aggregated insights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8" name="Graphic 97" descr="Circle with left arrow with solid fill">
            <a:extLst>
              <a:ext uri="{FF2B5EF4-FFF2-40B4-BE49-F238E27FC236}">
                <a16:creationId xmlns:a16="http://schemas.microsoft.com/office/drawing/2014/main" id="{85930F15-2EB2-49F3-8189-2663D80E13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72511" y="5326771"/>
            <a:ext cx="273707" cy="27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916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A583AA-11B2-8016-8A92-646AA96CB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12">
            <a:extLst>
              <a:ext uri="{FF2B5EF4-FFF2-40B4-BE49-F238E27FC236}">
                <a16:creationId xmlns:a16="http://schemas.microsoft.com/office/drawing/2014/main" id="{0D167A93-8CBE-02A9-85B3-C642FA6AFD5C}"/>
              </a:ext>
            </a:extLst>
          </p:cNvPr>
          <p:cNvSpPr/>
          <p:nvPr/>
        </p:nvSpPr>
        <p:spPr>
          <a:xfrm>
            <a:off x="1255941" y="6484518"/>
            <a:ext cx="910610" cy="258609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100" b="1" spc="219" dirty="0">
                <a:solidFill>
                  <a:srgbClr val="FFFFFF"/>
                </a:solidFill>
                <a:latin typeface="Century Gothic" panose="020B0502020202020204" pitchFamily="34" charset="0"/>
                <a:sym typeface="Source Sans Pro 1"/>
              </a:rPr>
              <a:t>AGENTIC</a:t>
            </a:r>
            <a:endParaRPr lang="en-US" sz="1100" b="1" dirty="0">
              <a:latin typeface="Century Gothic" panose="020B0502020202020204" pitchFamily="34" charset="0"/>
            </a:endParaRPr>
          </a:p>
        </p:txBody>
      </p:sp>
      <p:pic>
        <p:nvPicPr>
          <p:cNvPr id="172" name="Picture 171" descr="A close up of a sign&#10;&#10;Description automatically generated">
            <a:extLst>
              <a:ext uri="{FF2B5EF4-FFF2-40B4-BE49-F238E27FC236}">
                <a16:creationId xmlns:a16="http://schemas.microsoft.com/office/drawing/2014/main" id="{7609FD09-1B32-62BE-9117-664C349A4A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BC6761-ABDA-075E-9EE3-196FCB630F4F}"/>
              </a:ext>
            </a:extLst>
          </p:cNvPr>
          <p:cNvSpPr txBox="1"/>
          <p:nvPr/>
        </p:nvSpPr>
        <p:spPr>
          <a:xfrm>
            <a:off x="0" y="1"/>
            <a:ext cx="12188825" cy="881448"/>
          </a:xfrm>
          <a:prstGeom prst="rect">
            <a:avLst/>
          </a:prstGeom>
          <a:gradFill flip="none" rotWithShape="1">
            <a:gsLst>
              <a:gs pos="1000">
                <a:srgbClr val="0047BA"/>
              </a:gs>
              <a:gs pos="70000">
                <a:srgbClr val="3469B1"/>
              </a:gs>
            </a:gsLst>
            <a:lin ang="30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>
            <a:defPPr>
              <a:defRPr lang="en-US"/>
            </a:defPPr>
            <a:lvl1pPr marR="0" lvl="0" indent="0" algn="ctr" defTabSz="121898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r>
              <a:rPr lang="en-US" sz="2800" b="1" dirty="0">
                <a:latin typeface="Century Gothic"/>
              </a:rPr>
              <a:t>EDUCATION GAP INSIGHTS </a:t>
            </a:r>
            <a:r>
              <a:rPr lang="en-US" sz="2800" i="1" dirty="0">
                <a:latin typeface="Century Gothic"/>
              </a:rPr>
              <a:t>CATEGORIZED BY KEY THEMES </a:t>
            </a:r>
            <a:endParaRPr lang="en-US" dirty="0">
              <a:latin typeface="Century Gothic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3BD2BD0E-84CE-B401-606C-D618E392A8F9}"/>
              </a:ext>
            </a:extLst>
          </p:cNvPr>
          <p:cNvSpPr/>
          <p:nvPr/>
        </p:nvSpPr>
        <p:spPr>
          <a:xfrm>
            <a:off x="304799" y="981401"/>
            <a:ext cx="6878425" cy="2790060"/>
          </a:xfrm>
          <a:custGeom>
            <a:avLst/>
            <a:gdLst>
              <a:gd name="connsiteX0" fmla="*/ 0 w 6094408"/>
              <a:gd name="connsiteY0" fmla="*/ 0 h 3297745"/>
              <a:gd name="connsiteX1" fmla="*/ 6094408 w 6094408"/>
              <a:gd name="connsiteY1" fmla="*/ 0 h 3297745"/>
              <a:gd name="connsiteX2" fmla="*/ 5269972 w 6094408"/>
              <a:gd name="connsiteY2" fmla="*/ 3297745 h 3297745"/>
              <a:gd name="connsiteX3" fmla="*/ 0 w 6094408"/>
              <a:gd name="connsiteY3" fmla="*/ 3297745 h 3297745"/>
              <a:gd name="connsiteX0" fmla="*/ 0 w 6027684"/>
              <a:gd name="connsiteY0" fmla="*/ 0 h 3297745"/>
              <a:gd name="connsiteX1" fmla="*/ 6027684 w 6027684"/>
              <a:gd name="connsiteY1" fmla="*/ 0 h 3297745"/>
              <a:gd name="connsiteX2" fmla="*/ 5269972 w 6027684"/>
              <a:gd name="connsiteY2" fmla="*/ 3297745 h 3297745"/>
              <a:gd name="connsiteX3" fmla="*/ 0 w 6027684"/>
              <a:gd name="connsiteY3" fmla="*/ 3297745 h 3297745"/>
              <a:gd name="connsiteX4" fmla="*/ 0 w 6027684"/>
              <a:gd name="connsiteY4" fmla="*/ 0 h 3297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7684" h="3297745">
                <a:moveTo>
                  <a:pt x="0" y="0"/>
                </a:moveTo>
                <a:lnTo>
                  <a:pt x="6027684" y="0"/>
                </a:lnTo>
                <a:lnTo>
                  <a:pt x="5269972" y="3297745"/>
                </a:lnTo>
                <a:lnTo>
                  <a:pt x="0" y="329774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3000">
                <a:srgbClr val="28246F"/>
              </a:gs>
              <a:gs pos="100000">
                <a:srgbClr val="3469B1"/>
              </a:gs>
            </a:gsLst>
            <a:lin ang="17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t"/>
          <a:lstStyle/>
          <a:p>
            <a:pPr algn="ctr"/>
            <a:endParaRPr lang="en-US" sz="800" b="1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US" sz="1600" b="1" i="1" dirty="0">
                <a:solidFill>
                  <a:schemeClr val="bg1"/>
                </a:solidFill>
                <a:latin typeface="Century Gothic"/>
              </a:rPr>
              <a:t>KEY THEMES IDENTIFIED WITHIN </a:t>
            </a:r>
            <a:r>
              <a:rPr lang="en-US" sz="1600" b="1" i="1" u="sng" dirty="0">
                <a:solidFill>
                  <a:schemeClr val="bg1"/>
                </a:solidFill>
                <a:latin typeface="Century Gothic"/>
              </a:rPr>
              <a:t>EDUCATION GAPS</a:t>
            </a:r>
            <a:r>
              <a:rPr lang="en-US" sz="1600" b="1" i="1" dirty="0">
                <a:solidFill>
                  <a:schemeClr val="bg1"/>
                </a:solidFill>
                <a:latin typeface="Century Gothic"/>
              </a:rPr>
              <a:t> CATEGORY</a:t>
            </a:r>
            <a:endParaRPr lang="en-US" sz="1600" i="1" dirty="0">
              <a:solidFill>
                <a:schemeClr val="bg1"/>
              </a:solidFill>
              <a:latin typeface="Century Gothic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C595655-293B-AEA8-043E-1E923DD0634E}"/>
              </a:ext>
            </a:extLst>
          </p:cNvPr>
          <p:cNvSpPr txBox="1"/>
          <p:nvPr/>
        </p:nvSpPr>
        <p:spPr>
          <a:xfrm>
            <a:off x="3187430" y="1758336"/>
            <a:ext cx="3449039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8987"/>
            <a:r>
              <a:rPr lang="en-US" sz="1100" dirty="0">
                <a:solidFill>
                  <a:schemeClr val="bg1"/>
                </a:solidFill>
                <a:latin typeface="Century Gothic"/>
                <a:ea typeface="+mn-lt"/>
                <a:cs typeface="+mn-lt"/>
              </a:rPr>
              <a:t>Description of theme </a:t>
            </a:r>
            <a:endParaRPr lang="en-PH" sz="1100">
              <a:solidFill>
                <a:schemeClr val="bg1"/>
              </a:solidFill>
              <a:latin typeface="Century Gothic"/>
            </a:endParaRPr>
          </a:p>
        </p:txBody>
      </p:sp>
      <p:sp>
        <p:nvSpPr>
          <p:cNvPr id="61" name="Parallelogram 60">
            <a:extLst>
              <a:ext uri="{FF2B5EF4-FFF2-40B4-BE49-F238E27FC236}">
                <a16:creationId xmlns:a16="http://schemas.microsoft.com/office/drawing/2014/main" id="{192883DD-7256-7A43-116E-96E2D167007C}"/>
              </a:ext>
            </a:extLst>
          </p:cNvPr>
          <p:cNvSpPr/>
          <p:nvPr/>
        </p:nvSpPr>
        <p:spPr>
          <a:xfrm>
            <a:off x="797293" y="1579394"/>
            <a:ext cx="2324151" cy="584223"/>
          </a:xfrm>
          <a:prstGeom prst="parallelogram">
            <a:avLst/>
          </a:prstGeom>
          <a:gradFill flip="none" rotWithShape="1">
            <a:gsLst>
              <a:gs pos="0">
                <a:srgbClr val="CAC8ED"/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2" name="Parallelogram 61">
            <a:extLst>
              <a:ext uri="{FF2B5EF4-FFF2-40B4-BE49-F238E27FC236}">
                <a16:creationId xmlns:a16="http://schemas.microsoft.com/office/drawing/2014/main" id="{9898406E-688F-5651-0FD2-2D9B5C37530E}"/>
              </a:ext>
            </a:extLst>
          </p:cNvPr>
          <p:cNvSpPr/>
          <p:nvPr/>
        </p:nvSpPr>
        <p:spPr>
          <a:xfrm>
            <a:off x="634664" y="2303300"/>
            <a:ext cx="2324151" cy="584223"/>
          </a:xfrm>
          <a:prstGeom prst="parallelogram">
            <a:avLst/>
          </a:prstGeom>
          <a:gradFill flip="none" rotWithShape="1">
            <a:gsLst>
              <a:gs pos="0">
                <a:srgbClr val="CAC8ED"/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/>
            <a:endParaRPr lang="en-PH" sz="2400" ker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63" name="Parallelogram 62">
            <a:extLst>
              <a:ext uri="{FF2B5EF4-FFF2-40B4-BE49-F238E27FC236}">
                <a16:creationId xmlns:a16="http://schemas.microsoft.com/office/drawing/2014/main" id="{33E6515F-CC2E-5106-53FE-0CC3D80B21F3}"/>
              </a:ext>
            </a:extLst>
          </p:cNvPr>
          <p:cNvSpPr/>
          <p:nvPr/>
        </p:nvSpPr>
        <p:spPr>
          <a:xfrm>
            <a:off x="476048" y="3027206"/>
            <a:ext cx="2324151" cy="584223"/>
          </a:xfrm>
          <a:prstGeom prst="parallelogram">
            <a:avLst/>
          </a:prstGeom>
          <a:gradFill flip="none" rotWithShape="1">
            <a:gsLst>
              <a:gs pos="0">
                <a:srgbClr val="CAC8ED"/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/>
            <a:endParaRPr lang="en-PH" sz="2400" ker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4D2C7D4-F2B0-AC48-CB91-5FA267E99B3E}"/>
              </a:ext>
            </a:extLst>
          </p:cNvPr>
          <p:cNvSpPr txBox="1"/>
          <p:nvPr/>
        </p:nvSpPr>
        <p:spPr>
          <a:xfrm>
            <a:off x="2995439" y="2456399"/>
            <a:ext cx="34490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100" dirty="0">
                <a:solidFill>
                  <a:schemeClr val="bg1"/>
                </a:solidFill>
                <a:latin typeface="Century Gothic" panose="020B0502020202020204" pitchFamily="34" charset="0"/>
              </a:rPr>
              <a:t>Description of theme</a:t>
            </a:r>
            <a:endParaRPr lang="en-PH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706467E-7069-01AE-BD4B-EFFF42D2AD63}"/>
              </a:ext>
            </a:extLst>
          </p:cNvPr>
          <p:cNvSpPr txBox="1"/>
          <p:nvPr/>
        </p:nvSpPr>
        <p:spPr>
          <a:xfrm>
            <a:off x="2811805" y="3167865"/>
            <a:ext cx="34490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100" dirty="0">
                <a:solidFill>
                  <a:schemeClr val="bg1"/>
                </a:solidFill>
                <a:latin typeface="Century Gothic" panose="020B0502020202020204" pitchFamily="34" charset="0"/>
              </a:rPr>
              <a:t>Description of theme</a:t>
            </a:r>
            <a:endParaRPr lang="en-PH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16C03D11-1463-E303-2E9A-1E383962C07F}"/>
              </a:ext>
            </a:extLst>
          </p:cNvPr>
          <p:cNvSpPr/>
          <p:nvPr/>
        </p:nvSpPr>
        <p:spPr>
          <a:xfrm>
            <a:off x="797293" y="2166083"/>
            <a:ext cx="254034" cy="143109"/>
          </a:xfrm>
          <a:custGeom>
            <a:avLst/>
            <a:gdLst>
              <a:gd name="connsiteX0" fmla="*/ 0 w 183451"/>
              <a:gd name="connsiteY0" fmla="*/ 0 h 103346"/>
              <a:gd name="connsiteX1" fmla="*/ 163068 w 183451"/>
              <a:gd name="connsiteY1" fmla="*/ 103346 h 103346"/>
              <a:gd name="connsiteX2" fmla="*/ 183452 w 183451"/>
              <a:gd name="connsiteY2" fmla="*/ 0 h 103346"/>
              <a:gd name="connsiteX3" fmla="*/ 0 w 183451"/>
              <a:gd name="connsiteY3" fmla="*/ 0 h 103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451" h="103346">
                <a:moveTo>
                  <a:pt x="0" y="0"/>
                </a:moveTo>
                <a:lnTo>
                  <a:pt x="163068" y="103346"/>
                </a:lnTo>
                <a:lnTo>
                  <a:pt x="18345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9000">
                <a:srgbClr val="605BCA"/>
              </a:gs>
              <a:gs pos="100000">
                <a:srgbClr val="CAC8ED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86D88DAF-E002-87A3-436A-9A901BA2C216}"/>
              </a:ext>
            </a:extLst>
          </p:cNvPr>
          <p:cNvSpPr/>
          <p:nvPr/>
        </p:nvSpPr>
        <p:spPr>
          <a:xfrm>
            <a:off x="631468" y="2887388"/>
            <a:ext cx="237366" cy="142142"/>
          </a:xfrm>
          <a:custGeom>
            <a:avLst/>
            <a:gdLst>
              <a:gd name="connsiteX0" fmla="*/ 0 w 173259"/>
              <a:gd name="connsiteY0" fmla="*/ 0 h 103441"/>
              <a:gd name="connsiteX1" fmla="*/ 154019 w 173259"/>
              <a:gd name="connsiteY1" fmla="*/ 103442 h 103441"/>
              <a:gd name="connsiteX2" fmla="*/ 173260 w 173259"/>
              <a:gd name="connsiteY2" fmla="*/ 0 h 103441"/>
              <a:gd name="connsiteX3" fmla="*/ 0 w 173259"/>
              <a:gd name="connsiteY3" fmla="*/ 0 h 103441"/>
              <a:gd name="connsiteX0" fmla="*/ 0 w 173260"/>
              <a:gd name="connsiteY0" fmla="*/ 0 h 96945"/>
              <a:gd name="connsiteX1" fmla="*/ 139402 w 173260"/>
              <a:gd name="connsiteY1" fmla="*/ 96945 h 96945"/>
              <a:gd name="connsiteX2" fmla="*/ 173260 w 173260"/>
              <a:gd name="connsiteY2" fmla="*/ 0 h 96945"/>
              <a:gd name="connsiteX3" fmla="*/ 0 w 173260"/>
              <a:gd name="connsiteY3" fmla="*/ 0 h 96945"/>
              <a:gd name="connsiteX0" fmla="*/ 0 w 171636"/>
              <a:gd name="connsiteY0" fmla="*/ 0 h 96945"/>
              <a:gd name="connsiteX1" fmla="*/ 139402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71636"/>
              <a:gd name="connsiteY0" fmla="*/ 0 h 96945"/>
              <a:gd name="connsiteX1" fmla="*/ 134529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61891"/>
              <a:gd name="connsiteY0" fmla="*/ 0 h 96945"/>
              <a:gd name="connsiteX1" fmla="*/ 134529 w 161891"/>
              <a:gd name="connsiteY1" fmla="*/ 96945 h 96945"/>
              <a:gd name="connsiteX2" fmla="*/ 161891 w 161891"/>
              <a:gd name="connsiteY2" fmla="*/ 1624 h 96945"/>
              <a:gd name="connsiteX3" fmla="*/ 0 w 161891"/>
              <a:gd name="connsiteY3" fmla="*/ 0 h 96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891" h="96945">
                <a:moveTo>
                  <a:pt x="0" y="0"/>
                </a:moveTo>
                <a:lnTo>
                  <a:pt x="134529" y="96945"/>
                </a:lnTo>
                <a:lnTo>
                  <a:pt x="161891" y="162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9000">
                <a:srgbClr val="605BCA"/>
              </a:gs>
              <a:gs pos="100000">
                <a:srgbClr val="CAC8ED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1218987"/>
            <a:endParaRPr lang="en-PH" sz="24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54FB122C-1DD1-52D8-765E-84B359B05E68}"/>
              </a:ext>
            </a:extLst>
          </p:cNvPr>
          <p:cNvSpPr/>
          <p:nvPr/>
        </p:nvSpPr>
        <p:spPr>
          <a:xfrm>
            <a:off x="471777" y="3775851"/>
            <a:ext cx="220842" cy="132247"/>
          </a:xfrm>
          <a:custGeom>
            <a:avLst/>
            <a:gdLst>
              <a:gd name="connsiteX0" fmla="*/ 0 w 173259"/>
              <a:gd name="connsiteY0" fmla="*/ 0 h 103441"/>
              <a:gd name="connsiteX1" fmla="*/ 154019 w 173259"/>
              <a:gd name="connsiteY1" fmla="*/ 103442 h 103441"/>
              <a:gd name="connsiteX2" fmla="*/ 173260 w 173259"/>
              <a:gd name="connsiteY2" fmla="*/ 0 h 103441"/>
              <a:gd name="connsiteX3" fmla="*/ 0 w 173259"/>
              <a:gd name="connsiteY3" fmla="*/ 0 h 103441"/>
              <a:gd name="connsiteX0" fmla="*/ 0 w 173260"/>
              <a:gd name="connsiteY0" fmla="*/ 0 h 96945"/>
              <a:gd name="connsiteX1" fmla="*/ 139402 w 173260"/>
              <a:gd name="connsiteY1" fmla="*/ 96945 h 96945"/>
              <a:gd name="connsiteX2" fmla="*/ 173260 w 173260"/>
              <a:gd name="connsiteY2" fmla="*/ 0 h 96945"/>
              <a:gd name="connsiteX3" fmla="*/ 0 w 173260"/>
              <a:gd name="connsiteY3" fmla="*/ 0 h 96945"/>
              <a:gd name="connsiteX0" fmla="*/ 0 w 171636"/>
              <a:gd name="connsiteY0" fmla="*/ 0 h 96945"/>
              <a:gd name="connsiteX1" fmla="*/ 139402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71636"/>
              <a:gd name="connsiteY0" fmla="*/ 0 h 96945"/>
              <a:gd name="connsiteX1" fmla="*/ 134529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61891"/>
              <a:gd name="connsiteY0" fmla="*/ 0 h 96945"/>
              <a:gd name="connsiteX1" fmla="*/ 134529 w 161891"/>
              <a:gd name="connsiteY1" fmla="*/ 96945 h 96945"/>
              <a:gd name="connsiteX2" fmla="*/ 161891 w 161891"/>
              <a:gd name="connsiteY2" fmla="*/ 1624 h 96945"/>
              <a:gd name="connsiteX3" fmla="*/ 0 w 161891"/>
              <a:gd name="connsiteY3" fmla="*/ 0 h 96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891" h="96945">
                <a:moveTo>
                  <a:pt x="0" y="0"/>
                </a:moveTo>
                <a:lnTo>
                  <a:pt x="134529" y="96945"/>
                </a:lnTo>
                <a:lnTo>
                  <a:pt x="161891" y="162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9000">
                <a:srgbClr val="605BCA"/>
              </a:gs>
              <a:gs pos="100000">
                <a:srgbClr val="CAC8ED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1218987"/>
            <a:endParaRPr lang="en-PH" sz="24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F64A9BF-DFE3-7DB3-0E98-86F91041E1C1}"/>
              </a:ext>
            </a:extLst>
          </p:cNvPr>
          <p:cNvSpPr/>
          <p:nvPr/>
        </p:nvSpPr>
        <p:spPr>
          <a:xfrm>
            <a:off x="7366170" y="981401"/>
            <a:ext cx="4515439" cy="2440790"/>
          </a:xfrm>
          <a:prstGeom prst="rect">
            <a:avLst/>
          </a:prstGeom>
          <a:noFill/>
          <a:ln w="25400" cap="flat" cmpd="sng" algn="ctr">
            <a:solidFill>
              <a:srgbClr val="28246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A0D87B9-E04A-95A9-6BD5-743D9777B66A}"/>
              </a:ext>
            </a:extLst>
          </p:cNvPr>
          <p:cNvSpPr txBox="1"/>
          <p:nvPr/>
        </p:nvSpPr>
        <p:spPr>
          <a:xfrm>
            <a:off x="8077705" y="1088721"/>
            <a:ext cx="3719064" cy="338554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6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Theme 1 Gaps</a:t>
            </a:r>
            <a:endParaRPr lang="en-PH" sz="16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07440C2-4999-B96D-24C0-D133AB1A5095}"/>
              </a:ext>
            </a:extLst>
          </p:cNvPr>
          <p:cNvSpPr txBox="1"/>
          <p:nvPr/>
        </p:nvSpPr>
        <p:spPr>
          <a:xfrm>
            <a:off x="8077705" y="1557818"/>
            <a:ext cx="371906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best quotes to support theme, ideally three quotes that best illustrate the points identified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72" name="Rectangle: Single Corner Snipped 71">
            <a:extLst>
              <a:ext uri="{FF2B5EF4-FFF2-40B4-BE49-F238E27FC236}">
                <a16:creationId xmlns:a16="http://schemas.microsoft.com/office/drawing/2014/main" id="{69E9E2F0-3985-189D-62DE-8A7242036D1E}"/>
              </a:ext>
            </a:extLst>
          </p:cNvPr>
          <p:cNvSpPr/>
          <p:nvPr/>
        </p:nvSpPr>
        <p:spPr>
          <a:xfrm flipV="1">
            <a:off x="7366170" y="981401"/>
            <a:ext cx="609132" cy="565647"/>
          </a:xfrm>
          <a:prstGeom prst="snip1Rect">
            <a:avLst>
              <a:gd name="adj" fmla="val 34180"/>
            </a:avLst>
          </a:prstGeom>
          <a:solidFill>
            <a:srgbClr val="28246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375446C-D23E-B287-A395-3F0A699305EC}"/>
              </a:ext>
            </a:extLst>
          </p:cNvPr>
          <p:cNvSpPr txBox="1"/>
          <p:nvPr/>
        </p:nvSpPr>
        <p:spPr>
          <a:xfrm>
            <a:off x="976899" y="1724120"/>
            <a:ext cx="2047902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8987"/>
            <a:r>
              <a:rPr lang="en-US" sz="1400" b="1" dirty="0">
                <a:solidFill>
                  <a:srgbClr val="28246F"/>
                </a:solidFill>
                <a:latin typeface="Century Gothic"/>
              </a:rPr>
              <a:t>Theme 1 (with n-size)</a:t>
            </a:r>
            <a:endParaRPr lang="en-PH" sz="1400" b="1">
              <a:solidFill>
                <a:srgbClr val="28246F"/>
              </a:solidFill>
              <a:latin typeface="Century Gothic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0AE3430-43E7-0F26-66FC-E83AA4B9B25E}"/>
              </a:ext>
            </a:extLst>
          </p:cNvPr>
          <p:cNvSpPr txBox="1"/>
          <p:nvPr/>
        </p:nvSpPr>
        <p:spPr>
          <a:xfrm>
            <a:off x="830780" y="2409964"/>
            <a:ext cx="20479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8246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heme 2 (with n-size)</a:t>
            </a:r>
            <a:endParaRPr kumimoji="0" lang="en-PH" sz="1400" b="1" i="0" u="none" strike="noStrike" kern="1200" cap="none" spc="0" normalizeH="0" baseline="0" noProof="0" dirty="0">
              <a:ln>
                <a:noFill/>
              </a:ln>
              <a:solidFill>
                <a:srgbClr val="2824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FC0419B-7F6C-F4F1-81A1-99090BF932A7}"/>
              </a:ext>
            </a:extLst>
          </p:cNvPr>
          <p:cNvSpPr txBox="1"/>
          <p:nvPr/>
        </p:nvSpPr>
        <p:spPr>
          <a:xfrm>
            <a:off x="699012" y="3134650"/>
            <a:ext cx="20479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8246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heme 3 (with n-size)</a:t>
            </a:r>
            <a:endParaRPr kumimoji="0" lang="en-PH" sz="1400" b="1" i="0" u="none" strike="noStrike" kern="1200" cap="none" spc="0" normalizeH="0" baseline="0" noProof="0" dirty="0">
              <a:ln>
                <a:noFill/>
              </a:ln>
              <a:solidFill>
                <a:srgbClr val="2824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2BDEBE4-A15F-1247-1CE4-34E1DC2AD5DC}"/>
              </a:ext>
            </a:extLst>
          </p:cNvPr>
          <p:cNvSpPr txBox="1"/>
          <p:nvPr/>
        </p:nvSpPr>
        <p:spPr>
          <a:xfrm>
            <a:off x="7533882" y="1079558"/>
            <a:ext cx="273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 dirty="0">
                <a:solidFill>
                  <a:prstClr val="white"/>
                </a:solidFill>
                <a:latin typeface="Century Gothic" panose="020B0502020202020204" pitchFamily="34" charset="0"/>
              </a:rPr>
              <a:t>1</a:t>
            </a:r>
            <a:endParaRPr lang="en-PH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7" name="Graphic 76" descr="Circle with left arrow with solid fill">
            <a:extLst>
              <a:ext uri="{FF2B5EF4-FFF2-40B4-BE49-F238E27FC236}">
                <a16:creationId xmlns:a16="http://schemas.microsoft.com/office/drawing/2014/main" id="{8340C596-AEFD-309E-4377-B8A2D7ACD96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3883" y="1590242"/>
            <a:ext cx="273707" cy="273707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13CBB27F-7848-9B92-19F9-E3022E5CF145}"/>
              </a:ext>
            </a:extLst>
          </p:cNvPr>
          <p:cNvSpPr txBox="1"/>
          <p:nvPr/>
        </p:nvSpPr>
        <p:spPr>
          <a:xfrm>
            <a:off x="8080156" y="2448502"/>
            <a:ext cx="3716613" cy="24622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0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Root Cause Questions &amp; Considerations (AI Generated)</a:t>
            </a:r>
            <a:endParaRPr lang="en-PH" sz="10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BBFAC91-C8CC-2553-D2B0-8274A26D26DD}"/>
              </a:ext>
            </a:extLst>
          </p:cNvPr>
          <p:cNvSpPr txBox="1"/>
          <p:nvPr/>
        </p:nvSpPr>
        <p:spPr>
          <a:xfrm>
            <a:off x="8080156" y="2688030"/>
            <a:ext cx="371906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LLM recommended next steps based on aggregated insights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0" name="Graphic 79" descr="Circle with left arrow with solid fill">
            <a:extLst>
              <a:ext uri="{FF2B5EF4-FFF2-40B4-BE49-F238E27FC236}">
                <a16:creationId xmlns:a16="http://schemas.microsoft.com/office/drawing/2014/main" id="{0234C7CB-EAB4-E7FA-E66C-D517286182F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3883" y="2505071"/>
            <a:ext cx="273707" cy="273707"/>
          </a:xfrm>
          <a:prstGeom prst="rect">
            <a:avLst/>
          </a:pr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24675A99-0E87-3DB1-DFEA-DA19F2D7D467}"/>
              </a:ext>
            </a:extLst>
          </p:cNvPr>
          <p:cNvSpPr/>
          <p:nvPr/>
        </p:nvSpPr>
        <p:spPr>
          <a:xfrm>
            <a:off x="7363719" y="3740218"/>
            <a:ext cx="4515439" cy="2440790"/>
          </a:xfrm>
          <a:prstGeom prst="rect">
            <a:avLst/>
          </a:prstGeom>
          <a:noFill/>
          <a:ln w="25400" cap="flat" cmpd="sng" algn="ctr">
            <a:solidFill>
              <a:srgbClr val="28246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BAFBA8F-987B-3383-DC18-6967D945AC3B}"/>
              </a:ext>
            </a:extLst>
          </p:cNvPr>
          <p:cNvSpPr txBox="1"/>
          <p:nvPr/>
        </p:nvSpPr>
        <p:spPr>
          <a:xfrm>
            <a:off x="8075254" y="3847538"/>
            <a:ext cx="3719064" cy="338554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6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Theme 2 Gaps</a:t>
            </a:r>
            <a:endParaRPr lang="en-PH" sz="16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DCEC12AB-305E-EDDE-F4E0-CAD2CBBA25FD}"/>
              </a:ext>
            </a:extLst>
          </p:cNvPr>
          <p:cNvSpPr txBox="1"/>
          <p:nvPr/>
        </p:nvSpPr>
        <p:spPr>
          <a:xfrm>
            <a:off x="8075254" y="4364873"/>
            <a:ext cx="371906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best quotes to support theme, ideally three quotes that best illustrate the points identified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84" name="Rectangle: Single Corner Snipped 83">
            <a:extLst>
              <a:ext uri="{FF2B5EF4-FFF2-40B4-BE49-F238E27FC236}">
                <a16:creationId xmlns:a16="http://schemas.microsoft.com/office/drawing/2014/main" id="{DD40E442-BBF9-8E32-E435-695EE228B040}"/>
              </a:ext>
            </a:extLst>
          </p:cNvPr>
          <p:cNvSpPr/>
          <p:nvPr/>
        </p:nvSpPr>
        <p:spPr>
          <a:xfrm flipV="1">
            <a:off x="7363719" y="3740218"/>
            <a:ext cx="609132" cy="565647"/>
          </a:xfrm>
          <a:prstGeom prst="snip1Rect">
            <a:avLst>
              <a:gd name="adj" fmla="val 34180"/>
            </a:avLst>
          </a:prstGeom>
          <a:solidFill>
            <a:srgbClr val="28246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E1D49F-7D90-D640-F464-F451EF77A5CE}"/>
              </a:ext>
            </a:extLst>
          </p:cNvPr>
          <p:cNvSpPr txBox="1"/>
          <p:nvPr/>
        </p:nvSpPr>
        <p:spPr>
          <a:xfrm>
            <a:off x="7531431" y="3838375"/>
            <a:ext cx="273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 dirty="0">
                <a:solidFill>
                  <a:prstClr val="white"/>
                </a:solidFill>
                <a:latin typeface="Century Gothic" panose="020B0502020202020204" pitchFamily="34" charset="0"/>
              </a:rPr>
              <a:t>2</a:t>
            </a:r>
            <a:endParaRPr lang="en-PH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6" name="Graphic 85" descr="Circle with left arrow with solid fill">
            <a:extLst>
              <a:ext uri="{FF2B5EF4-FFF2-40B4-BE49-F238E27FC236}">
                <a16:creationId xmlns:a16="http://schemas.microsoft.com/office/drawing/2014/main" id="{77AFAC1E-C553-41B4-5AB8-9F01B2554F3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1432" y="4397297"/>
            <a:ext cx="273707" cy="273707"/>
          </a:xfrm>
          <a:prstGeom prst="rect">
            <a:avLst/>
          </a:prstGeom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6F43A9D1-1476-9820-1775-21DB63AE2156}"/>
              </a:ext>
            </a:extLst>
          </p:cNvPr>
          <p:cNvSpPr txBox="1"/>
          <p:nvPr/>
        </p:nvSpPr>
        <p:spPr>
          <a:xfrm>
            <a:off x="8077705" y="5207319"/>
            <a:ext cx="3716613" cy="24622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sng" strike="noStrike" kern="1200" cap="none" spc="0" normalizeH="0" baseline="0" noProof="0" dirty="0">
                <a:ln>
                  <a:noFill/>
                </a:ln>
                <a:solidFill>
                  <a:srgbClr val="28246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oot Cause Questions &amp; Considerations (AI Generated)</a:t>
            </a:r>
            <a:endParaRPr kumimoji="0" lang="en-PH" sz="1000" b="1" i="0" u="sng" strike="noStrike" kern="1200" cap="none" spc="0" normalizeH="0" baseline="0" noProof="0" dirty="0">
              <a:ln>
                <a:noFill/>
              </a:ln>
              <a:solidFill>
                <a:srgbClr val="2824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80D9913-4F0A-39D6-0B1E-98B69A82112D}"/>
              </a:ext>
            </a:extLst>
          </p:cNvPr>
          <p:cNvSpPr txBox="1"/>
          <p:nvPr/>
        </p:nvSpPr>
        <p:spPr>
          <a:xfrm>
            <a:off x="8077705" y="5438143"/>
            <a:ext cx="371906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LLM recommended next steps based on aggregated insights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9" name="Graphic 88" descr="Circle with left arrow with solid fill">
            <a:extLst>
              <a:ext uri="{FF2B5EF4-FFF2-40B4-BE49-F238E27FC236}">
                <a16:creationId xmlns:a16="http://schemas.microsoft.com/office/drawing/2014/main" id="{E83DBBCA-5CE9-0BCA-6DE5-D9A9FB8B9A4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1432" y="5297914"/>
            <a:ext cx="273707" cy="273707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928B6983-5D9F-635E-3FB9-640157608D22}"/>
              </a:ext>
            </a:extLst>
          </p:cNvPr>
          <p:cNvSpPr/>
          <p:nvPr/>
        </p:nvSpPr>
        <p:spPr>
          <a:xfrm>
            <a:off x="304799" y="3906725"/>
            <a:ext cx="6876786" cy="2263239"/>
          </a:xfrm>
          <a:prstGeom prst="rect">
            <a:avLst/>
          </a:prstGeom>
          <a:noFill/>
          <a:ln w="25400" cap="flat" cmpd="sng" algn="ctr">
            <a:solidFill>
              <a:srgbClr val="28246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389FC69-2D0E-9309-3A2A-673723EF0BF1}"/>
              </a:ext>
            </a:extLst>
          </p:cNvPr>
          <p:cNvSpPr txBox="1"/>
          <p:nvPr/>
        </p:nvSpPr>
        <p:spPr>
          <a:xfrm>
            <a:off x="1016333" y="4025088"/>
            <a:ext cx="6034915" cy="338554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6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Theme 3 Gaps</a:t>
            </a:r>
            <a:endParaRPr lang="en-PH" sz="16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862F7A0-A265-05D5-5623-86CB7225807B}"/>
              </a:ext>
            </a:extLst>
          </p:cNvPr>
          <p:cNvSpPr txBox="1"/>
          <p:nvPr/>
        </p:nvSpPr>
        <p:spPr>
          <a:xfrm>
            <a:off x="1027376" y="4375657"/>
            <a:ext cx="6034915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best quotes to support theme, ideally three quotes that best illustrate the points identified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93" name="Rectangle: Single Corner Snipped 92">
            <a:extLst>
              <a:ext uri="{FF2B5EF4-FFF2-40B4-BE49-F238E27FC236}">
                <a16:creationId xmlns:a16="http://schemas.microsoft.com/office/drawing/2014/main" id="{5D092672-996C-9539-31BF-1B5DBCC646CA}"/>
              </a:ext>
            </a:extLst>
          </p:cNvPr>
          <p:cNvSpPr/>
          <p:nvPr/>
        </p:nvSpPr>
        <p:spPr>
          <a:xfrm flipV="1">
            <a:off x="304799" y="3917768"/>
            <a:ext cx="609132" cy="565647"/>
          </a:xfrm>
          <a:prstGeom prst="snip1Rect">
            <a:avLst>
              <a:gd name="adj" fmla="val 34180"/>
            </a:avLst>
          </a:prstGeom>
          <a:solidFill>
            <a:srgbClr val="28246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EC0E222-74B2-D50C-8537-0FE4BF7AC402}"/>
              </a:ext>
            </a:extLst>
          </p:cNvPr>
          <p:cNvSpPr txBox="1"/>
          <p:nvPr/>
        </p:nvSpPr>
        <p:spPr>
          <a:xfrm>
            <a:off x="472511" y="4015925"/>
            <a:ext cx="273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 dirty="0">
                <a:solidFill>
                  <a:prstClr val="white"/>
                </a:solidFill>
                <a:latin typeface="Century Gothic" panose="020B0502020202020204" pitchFamily="34" charset="0"/>
              </a:rPr>
              <a:t>3</a:t>
            </a:r>
            <a:endParaRPr lang="en-PH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5" name="Graphic 94" descr="Circle with left arrow with solid fill">
            <a:extLst>
              <a:ext uri="{FF2B5EF4-FFF2-40B4-BE49-F238E27FC236}">
                <a16:creationId xmlns:a16="http://schemas.microsoft.com/office/drawing/2014/main" id="{B748835D-D0DF-807E-9DC0-FD7D82FDEC2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72511" y="4523222"/>
            <a:ext cx="273707" cy="273707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C551F921-8116-13F1-5CCF-E995306CD46B}"/>
              </a:ext>
            </a:extLst>
          </p:cNvPr>
          <p:cNvSpPr txBox="1"/>
          <p:nvPr/>
        </p:nvSpPr>
        <p:spPr>
          <a:xfrm>
            <a:off x="1018785" y="5240449"/>
            <a:ext cx="6030938" cy="26161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1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Root Cause Questions &amp; Considerations (AI Generated)</a:t>
            </a:r>
            <a:endParaRPr lang="en-PH" sz="11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BAB4D8B-58AD-0AC3-F879-9D4BEF840B18}"/>
              </a:ext>
            </a:extLst>
          </p:cNvPr>
          <p:cNvSpPr txBox="1"/>
          <p:nvPr/>
        </p:nvSpPr>
        <p:spPr>
          <a:xfrm>
            <a:off x="1018784" y="5471273"/>
            <a:ext cx="6034915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LLM recommended next steps based on aggregated insights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8" name="Graphic 97" descr="Circle with left arrow with solid fill">
            <a:extLst>
              <a:ext uri="{FF2B5EF4-FFF2-40B4-BE49-F238E27FC236}">
                <a16:creationId xmlns:a16="http://schemas.microsoft.com/office/drawing/2014/main" id="{A1DFDF0A-0902-68D6-8134-497CC9286B8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72511" y="5326771"/>
            <a:ext cx="273707" cy="27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1054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F0CE4-F87E-6662-D070-CBC098D9E2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12">
            <a:extLst>
              <a:ext uri="{FF2B5EF4-FFF2-40B4-BE49-F238E27FC236}">
                <a16:creationId xmlns:a16="http://schemas.microsoft.com/office/drawing/2014/main" id="{DF9003F2-DCD2-1CF4-3C9F-D67F9BD93CFC}"/>
              </a:ext>
            </a:extLst>
          </p:cNvPr>
          <p:cNvSpPr/>
          <p:nvPr/>
        </p:nvSpPr>
        <p:spPr>
          <a:xfrm>
            <a:off x="1255941" y="6484518"/>
            <a:ext cx="910610" cy="258609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100" b="1" spc="219" dirty="0">
                <a:solidFill>
                  <a:srgbClr val="FFFFFF"/>
                </a:solidFill>
                <a:latin typeface="Century Gothic" panose="020B0502020202020204" pitchFamily="34" charset="0"/>
                <a:sym typeface="Source Sans Pro 1"/>
              </a:rPr>
              <a:t>AGENTIC</a:t>
            </a:r>
            <a:endParaRPr lang="en-US" sz="1100" b="1" dirty="0">
              <a:latin typeface="Century Gothic" panose="020B0502020202020204" pitchFamily="34" charset="0"/>
            </a:endParaRPr>
          </a:p>
        </p:txBody>
      </p:sp>
      <p:pic>
        <p:nvPicPr>
          <p:cNvPr id="172" name="Picture 171" descr="A close up of a sign&#10;&#10;Description automatically generated">
            <a:extLst>
              <a:ext uri="{FF2B5EF4-FFF2-40B4-BE49-F238E27FC236}">
                <a16:creationId xmlns:a16="http://schemas.microsoft.com/office/drawing/2014/main" id="{5F3EAF28-45CC-0B7B-A8C4-5FFB835ACC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309968"/>
            <a:ext cx="881062" cy="3721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EE8756-58BC-BA51-B6E3-938FD9BAC6AF}"/>
              </a:ext>
            </a:extLst>
          </p:cNvPr>
          <p:cNvSpPr txBox="1"/>
          <p:nvPr/>
        </p:nvSpPr>
        <p:spPr>
          <a:xfrm>
            <a:off x="0" y="1"/>
            <a:ext cx="12188825" cy="881448"/>
          </a:xfrm>
          <a:prstGeom prst="rect">
            <a:avLst/>
          </a:prstGeom>
          <a:gradFill flip="none" rotWithShape="1">
            <a:gsLst>
              <a:gs pos="1000">
                <a:srgbClr val="0047BA"/>
              </a:gs>
              <a:gs pos="70000">
                <a:srgbClr val="3469B1"/>
              </a:gs>
            </a:gsLst>
            <a:lin ang="30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>
            <a:defPPr>
              <a:defRPr lang="en-US"/>
            </a:defPPr>
            <a:lvl1pPr marR="0" lvl="0" indent="0" algn="ctr" defTabSz="121898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r>
              <a:rPr lang="en-US" sz="2800" b="1" dirty="0">
                <a:latin typeface="Century Gothic"/>
              </a:rPr>
              <a:t>PRODUCT INSIGHTS </a:t>
            </a:r>
            <a:r>
              <a:rPr lang="en-US" sz="2800" i="1" dirty="0">
                <a:latin typeface="Century Gothic"/>
              </a:rPr>
              <a:t>CATEGORIZED BY KEY THEMES </a:t>
            </a:r>
            <a:endParaRPr lang="en-US">
              <a:latin typeface="Century Gothic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FE135F61-FCD7-1454-1CF9-F205CA975AA2}"/>
              </a:ext>
            </a:extLst>
          </p:cNvPr>
          <p:cNvSpPr/>
          <p:nvPr/>
        </p:nvSpPr>
        <p:spPr>
          <a:xfrm>
            <a:off x="304799" y="981401"/>
            <a:ext cx="6878425" cy="2823676"/>
          </a:xfrm>
          <a:custGeom>
            <a:avLst/>
            <a:gdLst>
              <a:gd name="connsiteX0" fmla="*/ 0 w 6094408"/>
              <a:gd name="connsiteY0" fmla="*/ 0 h 3297745"/>
              <a:gd name="connsiteX1" fmla="*/ 6094408 w 6094408"/>
              <a:gd name="connsiteY1" fmla="*/ 0 h 3297745"/>
              <a:gd name="connsiteX2" fmla="*/ 5269972 w 6094408"/>
              <a:gd name="connsiteY2" fmla="*/ 3297745 h 3297745"/>
              <a:gd name="connsiteX3" fmla="*/ 0 w 6094408"/>
              <a:gd name="connsiteY3" fmla="*/ 3297745 h 3297745"/>
              <a:gd name="connsiteX0" fmla="*/ 0 w 6027684"/>
              <a:gd name="connsiteY0" fmla="*/ 0 h 3297745"/>
              <a:gd name="connsiteX1" fmla="*/ 6027684 w 6027684"/>
              <a:gd name="connsiteY1" fmla="*/ 0 h 3297745"/>
              <a:gd name="connsiteX2" fmla="*/ 5269972 w 6027684"/>
              <a:gd name="connsiteY2" fmla="*/ 3297745 h 3297745"/>
              <a:gd name="connsiteX3" fmla="*/ 0 w 6027684"/>
              <a:gd name="connsiteY3" fmla="*/ 3297745 h 3297745"/>
              <a:gd name="connsiteX4" fmla="*/ 0 w 6027684"/>
              <a:gd name="connsiteY4" fmla="*/ 0 h 3297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7684" h="3297745">
                <a:moveTo>
                  <a:pt x="0" y="0"/>
                </a:moveTo>
                <a:lnTo>
                  <a:pt x="6027684" y="0"/>
                </a:lnTo>
                <a:lnTo>
                  <a:pt x="5269972" y="3297745"/>
                </a:lnTo>
                <a:lnTo>
                  <a:pt x="0" y="329774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3000">
                <a:srgbClr val="28246F"/>
              </a:gs>
              <a:gs pos="100000">
                <a:srgbClr val="3469B1"/>
              </a:gs>
            </a:gsLst>
            <a:lin ang="17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t"/>
          <a:lstStyle/>
          <a:p>
            <a:pPr algn="ctr"/>
            <a:endParaRPr lang="en-US" sz="800" b="1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US" sz="1600" b="1" i="1" dirty="0">
                <a:solidFill>
                  <a:schemeClr val="bg1"/>
                </a:solidFill>
                <a:latin typeface="Century Gothic"/>
              </a:rPr>
              <a:t>KEY THEMES IDENTIFIED WITHIN </a:t>
            </a:r>
            <a:r>
              <a:rPr lang="en-US" sz="1600" b="1" i="1" u="sng" dirty="0">
                <a:solidFill>
                  <a:schemeClr val="bg1"/>
                </a:solidFill>
                <a:latin typeface="Century Gothic"/>
              </a:rPr>
              <a:t>PRODUCT INSIGHTS </a:t>
            </a:r>
            <a:r>
              <a:rPr lang="en-US" sz="1600" b="1" i="1" dirty="0">
                <a:solidFill>
                  <a:schemeClr val="bg1"/>
                </a:solidFill>
                <a:latin typeface="Century Gothic"/>
              </a:rPr>
              <a:t>CATEGORY</a:t>
            </a:r>
            <a:endParaRPr lang="en-US" sz="1600" i="1" dirty="0">
              <a:solidFill>
                <a:schemeClr val="bg1"/>
              </a:solidFill>
              <a:latin typeface="Century Gothic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DD85D7A-E0DA-E16E-9BCA-00F3AA725100}"/>
              </a:ext>
            </a:extLst>
          </p:cNvPr>
          <p:cNvSpPr txBox="1"/>
          <p:nvPr/>
        </p:nvSpPr>
        <p:spPr>
          <a:xfrm>
            <a:off x="3187430" y="1758336"/>
            <a:ext cx="3449039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8987"/>
            <a:r>
              <a:rPr lang="en-US" sz="1100" dirty="0">
                <a:solidFill>
                  <a:schemeClr val="bg1"/>
                </a:solidFill>
                <a:latin typeface="Century Gothic"/>
                <a:ea typeface="+mn-lt"/>
                <a:cs typeface="+mn-lt"/>
              </a:rPr>
              <a:t>Description of theme </a:t>
            </a:r>
            <a:endParaRPr lang="en-PH" sz="1100">
              <a:solidFill>
                <a:schemeClr val="bg1"/>
              </a:solidFill>
              <a:latin typeface="Century Gothic"/>
            </a:endParaRPr>
          </a:p>
        </p:txBody>
      </p:sp>
      <p:sp>
        <p:nvSpPr>
          <p:cNvPr id="61" name="Parallelogram 60">
            <a:extLst>
              <a:ext uri="{FF2B5EF4-FFF2-40B4-BE49-F238E27FC236}">
                <a16:creationId xmlns:a16="http://schemas.microsoft.com/office/drawing/2014/main" id="{D8AB0B9E-EA03-D79A-BEF2-B7D250EDDF15}"/>
              </a:ext>
            </a:extLst>
          </p:cNvPr>
          <p:cNvSpPr/>
          <p:nvPr/>
        </p:nvSpPr>
        <p:spPr>
          <a:xfrm>
            <a:off x="797293" y="1579394"/>
            <a:ext cx="2324151" cy="584223"/>
          </a:xfrm>
          <a:prstGeom prst="parallelogram">
            <a:avLst/>
          </a:prstGeom>
          <a:gradFill flip="none" rotWithShape="1">
            <a:gsLst>
              <a:gs pos="0">
                <a:srgbClr val="CAC8ED"/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2" name="Parallelogram 61">
            <a:extLst>
              <a:ext uri="{FF2B5EF4-FFF2-40B4-BE49-F238E27FC236}">
                <a16:creationId xmlns:a16="http://schemas.microsoft.com/office/drawing/2014/main" id="{7232C264-B88C-BDB5-B2A2-5E82D8484816}"/>
              </a:ext>
            </a:extLst>
          </p:cNvPr>
          <p:cNvSpPr/>
          <p:nvPr/>
        </p:nvSpPr>
        <p:spPr>
          <a:xfrm>
            <a:off x="634664" y="2303300"/>
            <a:ext cx="2324151" cy="584223"/>
          </a:xfrm>
          <a:prstGeom prst="parallelogram">
            <a:avLst/>
          </a:prstGeom>
          <a:gradFill flip="none" rotWithShape="1">
            <a:gsLst>
              <a:gs pos="0">
                <a:srgbClr val="CAC8ED"/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/>
            <a:endParaRPr lang="en-PH" sz="2400" ker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63" name="Parallelogram 62">
            <a:extLst>
              <a:ext uri="{FF2B5EF4-FFF2-40B4-BE49-F238E27FC236}">
                <a16:creationId xmlns:a16="http://schemas.microsoft.com/office/drawing/2014/main" id="{66664473-7ACE-E8DF-EFAC-FF056D57167C}"/>
              </a:ext>
            </a:extLst>
          </p:cNvPr>
          <p:cNvSpPr/>
          <p:nvPr/>
        </p:nvSpPr>
        <p:spPr>
          <a:xfrm>
            <a:off x="476048" y="3027206"/>
            <a:ext cx="2324151" cy="584223"/>
          </a:xfrm>
          <a:prstGeom prst="parallelogram">
            <a:avLst/>
          </a:prstGeom>
          <a:gradFill flip="none" rotWithShape="1">
            <a:gsLst>
              <a:gs pos="0">
                <a:srgbClr val="CAC8ED"/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/>
            <a:endParaRPr lang="en-PH" sz="2400" kern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C55DAEA-C011-C2FF-971D-84034E3212BD}"/>
              </a:ext>
            </a:extLst>
          </p:cNvPr>
          <p:cNvSpPr txBox="1"/>
          <p:nvPr/>
        </p:nvSpPr>
        <p:spPr>
          <a:xfrm>
            <a:off x="2995439" y="2456399"/>
            <a:ext cx="34490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100" dirty="0">
                <a:solidFill>
                  <a:schemeClr val="bg1"/>
                </a:solidFill>
                <a:latin typeface="Century Gothic" panose="020B0502020202020204" pitchFamily="34" charset="0"/>
              </a:rPr>
              <a:t>Description of theme</a:t>
            </a:r>
            <a:endParaRPr lang="en-PH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D570CE7-1132-A8FE-697D-55D2A67D30DD}"/>
              </a:ext>
            </a:extLst>
          </p:cNvPr>
          <p:cNvSpPr txBox="1"/>
          <p:nvPr/>
        </p:nvSpPr>
        <p:spPr>
          <a:xfrm>
            <a:off x="2811805" y="3167865"/>
            <a:ext cx="34490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100" dirty="0">
                <a:solidFill>
                  <a:schemeClr val="bg1"/>
                </a:solidFill>
                <a:latin typeface="Century Gothic" panose="020B0502020202020204" pitchFamily="34" charset="0"/>
              </a:rPr>
              <a:t>Description of theme</a:t>
            </a:r>
            <a:endParaRPr lang="en-PH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036A754E-E03A-1C2C-5072-47D92F83E0F1}"/>
              </a:ext>
            </a:extLst>
          </p:cNvPr>
          <p:cNvSpPr/>
          <p:nvPr/>
        </p:nvSpPr>
        <p:spPr>
          <a:xfrm>
            <a:off x="797293" y="2166083"/>
            <a:ext cx="254034" cy="143109"/>
          </a:xfrm>
          <a:custGeom>
            <a:avLst/>
            <a:gdLst>
              <a:gd name="connsiteX0" fmla="*/ 0 w 183451"/>
              <a:gd name="connsiteY0" fmla="*/ 0 h 103346"/>
              <a:gd name="connsiteX1" fmla="*/ 163068 w 183451"/>
              <a:gd name="connsiteY1" fmla="*/ 103346 h 103346"/>
              <a:gd name="connsiteX2" fmla="*/ 183452 w 183451"/>
              <a:gd name="connsiteY2" fmla="*/ 0 h 103346"/>
              <a:gd name="connsiteX3" fmla="*/ 0 w 183451"/>
              <a:gd name="connsiteY3" fmla="*/ 0 h 103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451" h="103346">
                <a:moveTo>
                  <a:pt x="0" y="0"/>
                </a:moveTo>
                <a:lnTo>
                  <a:pt x="163068" y="103346"/>
                </a:lnTo>
                <a:lnTo>
                  <a:pt x="18345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9000">
                <a:srgbClr val="605BCA"/>
              </a:gs>
              <a:gs pos="100000">
                <a:srgbClr val="CAC8ED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AA2AFEAC-7E31-EE00-1EEC-1067B971B99F}"/>
              </a:ext>
            </a:extLst>
          </p:cNvPr>
          <p:cNvSpPr/>
          <p:nvPr/>
        </p:nvSpPr>
        <p:spPr>
          <a:xfrm>
            <a:off x="631468" y="2887388"/>
            <a:ext cx="237366" cy="142142"/>
          </a:xfrm>
          <a:custGeom>
            <a:avLst/>
            <a:gdLst>
              <a:gd name="connsiteX0" fmla="*/ 0 w 173259"/>
              <a:gd name="connsiteY0" fmla="*/ 0 h 103441"/>
              <a:gd name="connsiteX1" fmla="*/ 154019 w 173259"/>
              <a:gd name="connsiteY1" fmla="*/ 103442 h 103441"/>
              <a:gd name="connsiteX2" fmla="*/ 173260 w 173259"/>
              <a:gd name="connsiteY2" fmla="*/ 0 h 103441"/>
              <a:gd name="connsiteX3" fmla="*/ 0 w 173259"/>
              <a:gd name="connsiteY3" fmla="*/ 0 h 103441"/>
              <a:gd name="connsiteX0" fmla="*/ 0 w 173260"/>
              <a:gd name="connsiteY0" fmla="*/ 0 h 96945"/>
              <a:gd name="connsiteX1" fmla="*/ 139402 w 173260"/>
              <a:gd name="connsiteY1" fmla="*/ 96945 h 96945"/>
              <a:gd name="connsiteX2" fmla="*/ 173260 w 173260"/>
              <a:gd name="connsiteY2" fmla="*/ 0 h 96945"/>
              <a:gd name="connsiteX3" fmla="*/ 0 w 173260"/>
              <a:gd name="connsiteY3" fmla="*/ 0 h 96945"/>
              <a:gd name="connsiteX0" fmla="*/ 0 w 171636"/>
              <a:gd name="connsiteY0" fmla="*/ 0 h 96945"/>
              <a:gd name="connsiteX1" fmla="*/ 139402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71636"/>
              <a:gd name="connsiteY0" fmla="*/ 0 h 96945"/>
              <a:gd name="connsiteX1" fmla="*/ 134529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61891"/>
              <a:gd name="connsiteY0" fmla="*/ 0 h 96945"/>
              <a:gd name="connsiteX1" fmla="*/ 134529 w 161891"/>
              <a:gd name="connsiteY1" fmla="*/ 96945 h 96945"/>
              <a:gd name="connsiteX2" fmla="*/ 161891 w 161891"/>
              <a:gd name="connsiteY2" fmla="*/ 1624 h 96945"/>
              <a:gd name="connsiteX3" fmla="*/ 0 w 161891"/>
              <a:gd name="connsiteY3" fmla="*/ 0 h 96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891" h="96945">
                <a:moveTo>
                  <a:pt x="0" y="0"/>
                </a:moveTo>
                <a:lnTo>
                  <a:pt x="134529" y="96945"/>
                </a:lnTo>
                <a:lnTo>
                  <a:pt x="161891" y="162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9000">
                <a:srgbClr val="605BCA"/>
              </a:gs>
              <a:gs pos="100000">
                <a:srgbClr val="CAC8ED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1218987"/>
            <a:endParaRPr lang="en-PH" sz="24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C887680E-018F-CA8E-6B84-D2B5F902692D}"/>
              </a:ext>
            </a:extLst>
          </p:cNvPr>
          <p:cNvSpPr/>
          <p:nvPr/>
        </p:nvSpPr>
        <p:spPr>
          <a:xfrm>
            <a:off x="471777" y="3775851"/>
            <a:ext cx="220842" cy="132247"/>
          </a:xfrm>
          <a:custGeom>
            <a:avLst/>
            <a:gdLst>
              <a:gd name="connsiteX0" fmla="*/ 0 w 173259"/>
              <a:gd name="connsiteY0" fmla="*/ 0 h 103441"/>
              <a:gd name="connsiteX1" fmla="*/ 154019 w 173259"/>
              <a:gd name="connsiteY1" fmla="*/ 103442 h 103441"/>
              <a:gd name="connsiteX2" fmla="*/ 173260 w 173259"/>
              <a:gd name="connsiteY2" fmla="*/ 0 h 103441"/>
              <a:gd name="connsiteX3" fmla="*/ 0 w 173259"/>
              <a:gd name="connsiteY3" fmla="*/ 0 h 103441"/>
              <a:gd name="connsiteX0" fmla="*/ 0 w 173260"/>
              <a:gd name="connsiteY0" fmla="*/ 0 h 96945"/>
              <a:gd name="connsiteX1" fmla="*/ 139402 w 173260"/>
              <a:gd name="connsiteY1" fmla="*/ 96945 h 96945"/>
              <a:gd name="connsiteX2" fmla="*/ 173260 w 173260"/>
              <a:gd name="connsiteY2" fmla="*/ 0 h 96945"/>
              <a:gd name="connsiteX3" fmla="*/ 0 w 173260"/>
              <a:gd name="connsiteY3" fmla="*/ 0 h 96945"/>
              <a:gd name="connsiteX0" fmla="*/ 0 w 171636"/>
              <a:gd name="connsiteY0" fmla="*/ 0 h 96945"/>
              <a:gd name="connsiteX1" fmla="*/ 139402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71636"/>
              <a:gd name="connsiteY0" fmla="*/ 0 h 96945"/>
              <a:gd name="connsiteX1" fmla="*/ 134529 w 171636"/>
              <a:gd name="connsiteY1" fmla="*/ 96945 h 96945"/>
              <a:gd name="connsiteX2" fmla="*/ 171636 w 171636"/>
              <a:gd name="connsiteY2" fmla="*/ 1624 h 96945"/>
              <a:gd name="connsiteX3" fmla="*/ 0 w 171636"/>
              <a:gd name="connsiteY3" fmla="*/ 0 h 96945"/>
              <a:gd name="connsiteX0" fmla="*/ 0 w 161891"/>
              <a:gd name="connsiteY0" fmla="*/ 0 h 96945"/>
              <a:gd name="connsiteX1" fmla="*/ 134529 w 161891"/>
              <a:gd name="connsiteY1" fmla="*/ 96945 h 96945"/>
              <a:gd name="connsiteX2" fmla="*/ 161891 w 161891"/>
              <a:gd name="connsiteY2" fmla="*/ 1624 h 96945"/>
              <a:gd name="connsiteX3" fmla="*/ 0 w 161891"/>
              <a:gd name="connsiteY3" fmla="*/ 0 h 96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891" h="96945">
                <a:moveTo>
                  <a:pt x="0" y="0"/>
                </a:moveTo>
                <a:lnTo>
                  <a:pt x="134529" y="96945"/>
                </a:lnTo>
                <a:lnTo>
                  <a:pt x="161891" y="162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9000">
                <a:srgbClr val="605BCA"/>
              </a:gs>
              <a:gs pos="100000">
                <a:srgbClr val="CAC8ED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defTabSz="1218987"/>
            <a:endParaRPr lang="en-PH" sz="24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6B69448-1E2E-03F4-2B19-42E747A8BC8D}"/>
              </a:ext>
            </a:extLst>
          </p:cNvPr>
          <p:cNvSpPr/>
          <p:nvPr/>
        </p:nvSpPr>
        <p:spPr>
          <a:xfrm>
            <a:off x="7366170" y="981401"/>
            <a:ext cx="4515439" cy="2440790"/>
          </a:xfrm>
          <a:prstGeom prst="rect">
            <a:avLst/>
          </a:prstGeom>
          <a:noFill/>
          <a:ln w="25400" cap="flat" cmpd="sng" algn="ctr">
            <a:solidFill>
              <a:srgbClr val="28246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DFBC77D-E4D8-2DE9-A178-1D822481C1BF}"/>
              </a:ext>
            </a:extLst>
          </p:cNvPr>
          <p:cNvSpPr txBox="1"/>
          <p:nvPr/>
        </p:nvSpPr>
        <p:spPr>
          <a:xfrm>
            <a:off x="8077705" y="1088721"/>
            <a:ext cx="3719064" cy="338554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6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Theme 1 Gaps</a:t>
            </a:r>
            <a:endParaRPr lang="en-PH" sz="16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18B5981-1137-4CCD-6861-25D31CD34270}"/>
              </a:ext>
            </a:extLst>
          </p:cNvPr>
          <p:cNvSpPr txBox="1"/>
          <p:nvPr/>
        </p:nvSpPr>
        <p:spPr>
          <a:xfrm>
            <a:off x="8077705" y="1557818"/>
            <a:ext cx="371906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best quotes to support theme, ideally three quotes that best illustrate the points identified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72" name="Rectangle: Single Corner Snipped 71">
            <a:extLst>
              <a:ext uri="{FF2B5EF4-FFF2-40B4-BE49-F238E27FC236}">
                <a16:creationId xmlns:a16="http://schemas.microsoft.com/office/drawing/2014/main" id="{0EADE978-5A76-4738-FEE5-2FB29ABA6220}"/>
              </a:ext>
            </a:extLst>
          </p:cNvPr>
          <p:cNvSpPr/>
          <p:nvPr/>
        </p:nvSpPr>
        <p:spPr>
          <a:xfrm flipV="1">
            <a:off x="7366170" y="981401"/>
            <a:ext cx="609132" cy="565647"/>
          </a:xfrm>
          <a:prstGeom prst="snip1Rect">
            <a:avLst>
              <a:gd name="adj" fmla="val 34180"/>
            </a:avLst>
          </a:prstGeom>
          <a:solidFill>
            <a:srgbClr val="28246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3141056-A0EF-05E6-7716-55FF91FB36E8}"/>
              </a:ext>
            </a:extLst>
          </p:cNvPr>
          <p:cNvSpPr txBox="1"/>
          <p:nvPr/>
        </p:nvSpPr>
        <p:spPr>
          <a:xfrm>
            <a:off x="976899" y="1724120"/>
            <a:ext cx="2047902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218987"/>
            <a:r>
              <a:rPr lang="en-US" sz="1400" b="1" dirty="0">
                <a:solidFill>
                  <a:srgbClr val="28246F"/>
                </a:solidFill>
                <a:latin typeface="Century Gothic"/>
              </a:rPr>
              <a:t>Theme 1 (with n-size)</a:t>
            </a:r>
            <a:endParaRPr lang="en-PH" sz="1400" b="1">
              <a:solidFill>
                <a:srgbClr val="28246F"/>
              </a:solidFill>
              <a:latin typeface="Century Gothic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06F8CE9-769B-E51A-20F1-B09F3DF2CCE8}"/>
              </a:ext>
            </a:extLst>
          </p:cNvPr>
          <p:cNvSpPr txBox="1"/>
          <p:nvPr/>
        </p:nvSpPr>
        <p:spPr>
          <a:xfrm>
            <a:off x="830780" y="2409964"/>
            <a:ext cx="20479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8246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heme 2 (with n-size)</a:t>
            </a:r>
            <a:endParaRPr kumimoji="0" lang="en-PH" sz="1400" b="1" i="0" u="none" strike="noStrike" kern="1200" cap="none" spc="0" normalizeH="0" baseline="0" noProof="0" dirty="0">
              <a:ln>
                <a:noFill/>
              </a:ln>
              <a:solidFill>
                <a:srgbClr val="2824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B1C6E04-03DF-AB75-BB97-4578C8B7AF77}"/>
              </a:ext>
            </a:extLst>
          </p:cNvPr>
          <p:cNvSpPr txBox="1"/>
          <p:nvPr/>
        </p:nvSpPr>
        <p:spPr>
          <a:xfrm>
            <a:off x="699012" y="3134650"/>
            <a:ext cx="20479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8246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heme 3 (with n-size)</a:t>
            </a:r>
            <a:endParaRPr kumimoji="0" lang="en-PH" sz="1400" b="1" i="0" u="none" strike="noStrike" kern="1200" cap="none" spc="0" normalizeH="0" baseline="0" noProof="0" dirty="0">
              <a:ln>
                <a:noFill/>
              </a:ln>
              <a:solidFill>
                <a:srgbClr val="2824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BCBB59B-4C62-45BC-A246-B91F1ED21274}"/>
              </a:ext>
            </a:extLst>
          </p:cNvPr>
          <p:cNvSpPr txBox="1"/>
          <p:nvPr/>
        </p:nvSpPr>
        <p:spPr>
          <a:xfrm>
            <a:off x="7533882" y="1079558"/>
            <a:ext cx="273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 dirty="0">
                <a:solidFill>
                  <a:prstClr val="white"/>
                </a:solidFill>
                <a:latin typeface="Century Gothic" panose="020B0502020202020204" pitchFamily="34" charset="0"/>
              </a:rPr>
              <a:t>1</a:t>
            </a:r>
            <a:endParaRPr lang="en-PH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7" name="Graphic 76" descr="Circle with left arrow with solid fill">
            <a:extLst>
              <a:ext uri="{FF2B5EF4-FFF2-40B4-BE49-F238E27FC236}">
                <a16:creationId xmlns:a16="http://schemas.microsoft.com/office/drawing/2014/main" id="{66911CC9-1334-A2D1-BC02-105736DF624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3883" y="1590242"/>
            <a:ext cx="273707" cy="273707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E50BEA72-7A22-F052-9C83-E0AEAD9F0018}"/>
              </a:ext>
            </a:extLst>
          </p:cNvPr>
          <p:cNvSpPr txBox="1"/>
          <p:nvPr/>
        </p:nvSpPr>
        <p:spPr>
          <a:xfrm>
            <a:off x="8080156" y="2448502"/>
            <a:ext cx="3716613" cy="24622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0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Root Cause Questions &amp; Considerations (AI Generated)</a:t>
            </a:r>
            <a:endParaRPr lang="en-PH" sz="10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A96B6D9-0675-797D-59CB-0C3332C65739}"/>
              </a:ext>
            </a:extLst>
          </p:cNvPr>
          <p:cNvSpPr txBox="1"/>
          <p:nvPr/>
        </p:nvSpPr>
        <p:spPr>
          <a:xfrm>
            <a:off x="8080156" y="2688030"/>
            <a:ext cx="371906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LLM recommended next steps based on aggregated insights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0" name="Graphic 79" descr="Circle with left arrow with solid fill">
            <a:extLst>
              <a:ext uri="{FF2B5EF4-FFF2-40B4-BE49-F238E27FC236}">
                <a16:creationId xmlns:a16="http://schemas.microsoft.com/office/drawing/2014/main" id="{9B316470-3CCB-7DBC-4558-641AE2930C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3883" y="2505071"/>
            <a:ext cx="273707" cy="273707"/>
          </a:xfrm>
          <a:prstGeom prst="rect">
            <a:avLst/>
          </a:pr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4C9915B7-ECFA-6C70-5407-D8239C2C884F}"/>
              </a:ext>
            </a:extLst>
          </p:cNvPr>
          <p:cNvSpPr/>
          <p:nvPr/>
        </p:nvSpPr>
        <p:spPr>
          <a:xfrm>
            <a:off x="7363719" y="3740218"/>
            <a:ext cx="4515439" cy="2440790"/>
          </a:xfrm>
          <a:prstGeom prst="rect">
            <a:avLst/>
          </a:prstGeom>
          <a:noFill/>
          <a:ln w="25400" cap="flat" cmpd="sng" algn="ctr">
            <a:solidFill>
              <a:srgbClr val="28246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2D7126A-4DFB-B349-5CF0-114B3394C48A}"/>
              </a:ext>
            </a:extLst>
          </p:cNvPr>
          <p:cNvSpPr txBox="1"/>
          <p:nvPr/>
        </p:nvSpPr>
        <p:spPr>
          <a:xfrm>
            <a:off x="8075254" y="3847538"/>
            <a:ext cx="3719064" cy="338554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6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Theme 2 Gaps</a:t>
            </a:r>
            <a:endParaRPr lang="en-PH" sz="16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9161B1E-134F-69D6-1281-F4C59AC0EF08}"/>
              </a:ext>
            </a:extLst>
          </p:cNvPr>
          <p:cNvSpPr txBox="1"/>
          <p:nvPr/>
        </p:nvSpPr>
        <p:spPr>
          <a:xfrm>
            <a:off x="8075254" y="4364873"/>
            <a:ext cx="371906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best quotes to support theme, ideally three quotes that best illustrate the points identified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84" name="Rectangle: Single Corner Snipped 83">
            <a:extLst>
              <a:ext uri="{FF2B5EF4-FFF2-40B4-BE49-F238E27FC236}">
                <a16:creationId xmlns:a16="http://schemas.microsoft.com/office/drawing/2014/main" id="{45A10A12-0E95-DD0A-7296-401577DBF183}"/>
              </a:ext>
            </a:extLst>
          </p:cNvPr>
          <p:cNvSpPr/>
          <p:nvPr/>
        </p:nvSpPr>
        <p:spPr>
          <a:xfrm flipV="1">
            <a:off x="7363719" y="3740218"/>
            <a:ext cx="609132" cy="565647"/>
          </a:xfrm>
          <a:prstGeom prst="snip1Rect">
            <a:avLst>
              <a:gd name="adj" fmla="val 34180"/>
            </a:avLst>
          </a:prstGeom>
          <a:solidFill>
            <a:srgbClr val="28246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6CAAEE4-35EA-13AA-5C88-B0CE12AAF264}"/>
              </a:ext>
            </a:extLst>
          </p:cNvPr>
          <p:cNvSpPr txBox="1"/>
          <p:nvPr/>
        </p:nvSpPr>
        <p:spPr>
          <a:xfrm>
            <a:off x="7531431" y="3838375"/>
            <a:ext cx="273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 dirty="0">
                <a:solidFill>
                  <a:prstClr val="white"/>
                </a:solidFill>
                <a:latin typeface="Century Gothic" panose="020B0502020202020204" pitchFamily="34" charset="0"/>
              </a:rPr>
              <a:t>2</a:t>
            </a:r>
            <a:endParaRPr lang="en-PH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6" name="Graphic 85" descr="Circle with left arrow with solid fill">
            <a:extLst>
              <a:ext uri="{FF2B5EF4-FFF2-40B4-BE49-F238E27FC236}">
                <a16:creationId xmlns:a16="http://schemas.microsoft.com/office/drawing/2014/main" id="{BF33EAB9-DEB2-4737-D1FC-D924568798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1432" y="4397297"/>
            <a:ext cx="273707" cy="273707"/>
          </a:xfrm>
          <a:prstGeom prst="rect">
            <a:avLst/>
          </a:prstGeom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58C388D4-4762-1252-0032-5BEA58C106F3}"/>
              </a:ext>
            </a:extLst>
          </p:cNvPr>
          <p:cNvSpPr txBox="1"/>
          <p:nvPr/>
        </p:nvSpPr>
        <p:spPr>
          <a:xfrm>
            <a:off x="8077705" y="5207319"/>
            <a:ext cx="3716613" cy="24622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sng" strike="noStrike" kern="1200" cap="none" spc="0" normalizeH="0" baseline="0" noProof="0" dirty="0">
                <a:ln>
                  <a:noFill/>
                </a:ln>
                <a:solidFill>
                  <a:srgbClr val="28246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oot Cause Questions &amp; Considerations (AI Generated)</a:t>
            </a:r>
            <a:endParaRPr kumimoji="0" lang="en-PH" sz="1000" b="1" i="0" u="sng" strike="noStrike" kern="1200" cap="none" spc="0" normalizeH="0" baseline="0" noProof="0" dirty="0">
              <a:ln>
                <a:noFill/>
              </a:ln>
              <a:solidFill>
                <a:srgbClr val="28246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643B013B-DE2E-635D-A51C-DB9A25EFCD3F}"/>
              </a:ext>
            </a:extLst>
          </p:cNvPr>
          <p:cNvSpPr txBox="1"/>
          <p:nvPr/>
        </p:nvSpPr>
        <p:spPr>
          <a:xfrm>
            <a:off x="8077705" y="5438143"/>
            <a:ext cx="371906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LLM recommended next steps based on aggregated insights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9" name="Graphic 88" descr="Circle with left arrow with solid fill">
            <a:extLst>
              <a:ext uri="{FF2B5EF4-FFF2-40B4-BE49-F238E27FC236}">
                <a16:creationId xmlns:a16="http://schemas.microsoft.com/office/drawing/2014/main" id="{8122C38F-B783-ED6E-416D-9ED68E620D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531432" y="5297914"/>
            <a:ext cx="273707" cy="273707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D1542FF1-DAAE-7238-4894-CF78B4499225}"/>
              </a:ext>
            </a:extLst>
          </p:cNvPr>
          <p:cNvSpPr/>
          <p:nvPr/>
        </p:nvSpPr>
        <p:spPr>
          <a:xfrm>
            <a:off x="304799" y="3906725"/>
            <a:ext cx="6876786" cy="2263239"/>
          </a:xfrm>
          <a:prstGeom prst="rect">
            <a:avLst/>
          </a:prstGeom>
          <a:noFill/>
          <a:ln w="25400" cap="flat" cmpd="sng" algn="ctr">
            <a:solidFill>
              <a:srgbClr val="28246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1664712-16D4-9381-375B-19F56583D514}"/>
              </a:ext>
            </a:extLst>
          </p:cNvPr>
          <p:cNvSpPr txBox="1"/>
          <p:nvPr/>
        </p:nvSpPr>
        <p:spPr>
          <a:xfrm>
            <a:off x="1016333" y="4025088"/>
            <a:ext cx="6034915" cy="338554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6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Theme 3 Gaps</a:t>
            </a:r>
            <a:endParaRPr lang="en-PH" sz="16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F6DAB01-FECF-F016-2EB8-40E545CDF9A4}"/>
              </a:ext>
            </a:extLst>
          </p:cNvPr>
          <p:cNvSpPr txBox="1"/>
          <p:nvPr/>
        </p:nvSpPr>
        <p:spPr>
          <a:xfrm>
            <a:off x="1027376" y="4375657"/>
            <a:ext cx="6034915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best quotes to support theme, ideally three quotes that best illustrate the points identified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93" name="Rectangle: Single Corner Snipped 92">
            <a:extLst>
              <a:ext uri="{FF2B5EF4-FFF2-40B4-BE49-F238E27FC236}">
                <a16:creationId xmlns:a16="http://schemas.microsoft.com/office/drawing/2014/main" id="{E1D439FE-ABC2-FE1F-C8AC-F2DDD100E7A9}"/>
              </a:ext>
            </a:extLst>
          </p:cNvPr>
          <p:cNvSpPr/>
          <p:nvPr/>
        </p:nvSpPr>
        <p:spPr>
          <a:xfrm flipV="1">
            <a:off x="304799" y="3917768"/>
            <a:ext cx="609132" cy="565647"/>
          </a:xfrm>
          <a:prstGeom prst="snip1Rect">
            <a:avLst>
              <a:gd name="adj" fmla="val 34180"/>
            </a:avLst>
          </a:prstGeom>
          <a:solidFill>
            <a:srgbClr val="28246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2400" b="0" i="0" u="non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CF699D81-632A-4FAE-5376-FE8C574CAE2A}"/>
              </a:ext>
            </a:extLst>
          </p:cNvPr>
          <p:cNvSpPr txBox="1"/>
          <p:nvPr/>
        </p:nvSpPr>
        <p:spPr>
          <a:xfrm>
            <a:off x="472511" y="4015925"/>
            <a:ext cx="273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 dirty="0">
                <a:solidFill>
                  <a:prstClr val="white"/>
                </a:solidFill>
                <a:latin typeface="Century Gothic" panose="020B0502020202020204" pitchFamily="34" charset="0"/>
              </a:rPr>
              <a:t>3</a:t>
            </a:r>
            <a:endParaRPr lang="en-PH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5" name="Graphic 94" descr="Circle with left arrow with solid fill">
            <a:extLst>
              <a:ext uri="{FF2B5EF4-FFF2-40B4-BE49-F238E27FC236}">
                <a16:creationId xmlns:a16="http://schemas.microsoft.com/office/drawing/2014/main" id="{FBB68D7E-77B3-21F8-0815-BFBC8414ACA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72511" y="4523222"/>
            <a:ext cx="273707" cy="273707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F97BFC43-C1B4-E77E-0081-D01DA0060704}"/>
              </a:ext>
            </a:extLst>
          </p:cNvPr>
          <p:cNvSpPr txBox="1"/>
          <p:nvPr/>
        </p:nvSpPr>
        <p:spPr>
          <a:xfrm>
            <a:off x="1018785" y="5240449"/>
            <a:ext cx="6030938" cy="26161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defTabSz="1218987"/>
            <a:r>
              <a:rPr lang="en-US" sz="1100" b="1" u="sng" dirty="0">
                <a:solidFill>
                  <a:srgbClr val="28246F"/>
                </a:solidFill>
                <a:latin typeface="Century Gothic" panose="020B0502020202020204" pitchFamily="34" charset="0"/>
              </a:rPr>
              <a:t>Root Cause Questions &amp; Considerations (AI Generated)</a:t>
            </a:r>
            <a:endParaRPr lang="en-PH" sz="1100" b="1" u="sng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8573C1C-310A-9EA5-69A9-0649B5228BD2}"/>
              </a:ext>
            </a:extLst>
          </p:cNvPr>
          <p:cNvSpPr txBox="1"/>
          <p:nvPr/>
        </p:nvSpPr>
        <p:spPr>
          <a:xfrm>
            <a:off x="1018784" y="5471273"/>
            <a:ext cx="6034915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987"/>
            <a:r>
              <a:rPr lang="en-US" sz="800" dirty="0">
                <a:solidFill>
                  <a:srgbClr val="28246F"/>
                </a:solidFill>
                <a:latin typeface="Century Gothic" panose="020B0502020202020204" pitchFamily="34" charset="0"/>
              </a:rPr>
              <a:t>Insert LLM recommended next steps based on aggregated insights</a:t>
            </a:r>
            <a:endParaRPr lang="en-PH" sz="800" dirty="0">
              <a:solidFill>
                <a:srgbClr val="28246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8" name="Graphic 97" descr="Circle with left arrow with solid fill">
            <a:extLst>
              <a:ext uri="{FF2B5EF4-FFF2-40B4-BE49-F238E27FC236}">
                <a16:creationId xmlns:a16="http://schemas.microsoft.com/office/drawing/2014/main" id="{B4F45FED-D61B-4041-0C0E-8A13474034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72511" y="5326771"/>
            <a:ext cx="273707" cy="27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7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3BA6BE-8A07-6750-6D1E-AB323E5C6C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B2F1F0CF-9A3B-4FEB-8D90-C177C1DB2C64}"/>
              </a:ext>
            </a:extLst>
          </p:cNvPr>
          <p:cNvSpPr txBox="1"/>
          <p:nvPr/>
        </p:nvSpPr>
        <p:spPr>
          <a:xfrm>
            <a:off x="0" y="274526"/>
            <a:ext cx="1218882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300" normalizeH="0" baseline="0" noProof="0" dirty="0">
                <a:ln>
                  <a:noFill/>
                </a:ln>
                <a:solidFill>
                  <a:srgbClr val="3469B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ference slide</a:t>
            </a:r>
            <a:endParaRPr kumimoji="0" lang="en-US" sz="2300" b="1" i="1" u="none" strike="noStrike" kern="1200" cap="none" spc="300" normalizeH="0" baseline="0" noProof="0" dirty="0">
              <a:ln>
                <a:noFill/>
              </a:ln>
              <a:solidFill>
                <a:srgbClr val="2383C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Freeform 12">
            <a:extLst>
              <a:ext uri="{FF2B5EF4-FFF2-40B4-BE49-F238E27FC236}">
                <a16:creationId xmlns:a16="http://schemas.microsoft.com/office/drawing/2014/main" id="{1CB5523D-713C-4B7B-9F78-50284D970D37}"/>
              </a:ext>
            </a:extLst>
          </p:cNvPr>
          <p:cNvSpPr/>
          <p:nvPr/>
        </p:nvSpPr>
        <p:spPr>
          <a:xfrm>
            <a:off x="1255941" y="6484518"/>
            <a:ext cx="910610" cy="258609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100" b="1" spc="219" dirty="0">
                <a:solidFill>
                  <a:srgbClr val="FFFFFF"/>
                </a:solidFill>
                <a:latin typeface="Century Gothic" panose="020B0502020202020204" pitchFamily="34" charset="0"/>
                <a:sym typeface="Source Sans Pro 1"/>
              </a:rPr>
              <a:t>AGENTIC</a:t>
            </a:r>
            <a:endParaRPr lang="en-US" sz="1100" b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FCE5F4B6-8A49-4EFA-A672-A8EB0713A9B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-270525" y="3253625"/>
          <a:ext cx="10451966" cy="31626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03BBD5B6-0677-4F27-BAB0-5D7B15AAB747}"/>
              </a:ext>
            </a:extLst>
          </p:cNvPr>
          <p:cNvSpPr txBox="1"/>
          <p:nvPr/>
        </p:nvSpPr>
        <p:spPr>
          <a:xfrm>
            <a:off x="6147502" y="4789599"/>
            <a:ext cx="5400000" cy="144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/>
          <a:p>
            <a:pPr marL="54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Es emphasized the importance of investigating biomarkers for sequencing studies to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nderstand drug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A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and to identify patients who are likely to benefit from treatm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4F1EA0F-237F-4A02-B445-F61E58F34906}"/>
              </a:ext>
            </a:extLst>
          </p:cNvPr>
          <p:cNvGrpSpPr/>
          <p:nvPr/>
        </p:nvGrpSpPr>
        <p:grpSpPr>
          <a:xfrm>
            <a:off x="5512406" y="2952004"/>
            <a:ext cx="6035097" cy="1440000"/>
            <a:chOff x="5512406" y="2728162"/>
            <a:chExt cx="6035097" cy="1440000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605729A-D8E4-4937-BB35-17F781DD61ED}"/>
                </a:ext>
              </a:extLst>
            </p:cNvPr>
            <p:cNvSpPr txBox="1"/>
            <p:nvPr/>
          </p:nvSpPr>
          <p:spPr>
            <a:xfrm>
              <a:off x="6147503" y="2728162"/>
              <a:ext cx="5400000" cy="1440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anchor="ctr">
              <a:noAutofit/>
            </a:bodyPr>
            <a:lstStyle/>
            <a:p>
              <a:pPr marL="5400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EEs also highlighted the MoA of the ADC payload, with questions about the efficacy of sequencing ADCs with the same TOPO1i payload 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7DBAC5C-4F74-4E63-80C7-C33367BAB5AE}"/>
                </a:ext>
              </a:extLst>
            </p:cNvPr>
            <p:cNvSpPr>
              <a:spLocks/>
            </p:cNvSpPr>
            <p:nvPr/>
          </p:nvSpPr>
          <p:spPr>
            <a:xfrm>
              <a:off x="5512406" y="2904606"/>
              <a:ext cx="1080000" cy="108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6B8FF992-9751-4037-B88A-2BC532FF1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627213" y="3039938"/>
              <a:ext cx="850385" cy="850385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19715AC-8CF9-4108-81B0-12EE169C351F}"/>
              </a:ext>
            </a:extLst>
          </p:cNvPr>
          <p:cNvGrpSpPr/>
          <p:nvPr/>
        </p:nvGrpSpPr>
        <p:grpSpPr>
          <a:xfrm>
            <a:off x="5513494" y="1117599"/>
            <a:ext cx="6034008" cy="1436810"/>
            <a:chOff x="5513494" y="1117599"/>
            <a:chExt cx="6034008" cy="1436810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582387E-748B-4B5B-9C9F-268992C234A2}"/>
                </a:ext>
              </a:extLst>
            </p:cNvPr>
            <p:cNvSpPr txBox="1"/>
            <p:nvPr/>
          </p:nvSpPr>
          <p:spPr>
            <a:xfrm>
              <a:off x="6147502" y="1117599"/>
              <a:ext cx="5400000" cy="143681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anchor="ctr">
              <a:noAutofit/>
            </a:bodyPr>
            <a:lstStyle/>
            <a:p>
              <a:pPr marL="5400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ultiple factors are important for HCPs in guiding their decisions on ADC sequencing, with 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ata from prospective studies considered most important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BB3B969-5E9C-459F-B3EB-9723768DCFC1}"/>
                </a:ext>
              </a:extLst>
            </p:cNvPr>
            <p:cNvSpPr>
              <a:spLocks/>
            </p:cNvSpPr>
            <p:nvPr/>
          </p:nvSpPr>
          <p:spPr>
            <a:xfrm>
              <a:off x="5513494" y="1272666"/>
              <a:ext cx="1080000" cy="108000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1678BC34-6D6B-4984-9879-C92B19A0FC25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659777" y="1407510"/>
              <a:ext cx="737322" cy="752475"/>
            </a:xfrm>
            <a:prstGeom prst="rect">
              <a:avLst/>
            </a:prstGeom>
          </p:spPr>
        </p:pic>
      </p:grpSp>
      <p:pic>
        <p:nvPicPr>
          <p:cNvPr id="40" name="Graphic 39">
            <a:extLst>
              <a:ext uri="{FF2B5EF4-FFF2-40B4-BE49-F238E27FC236}">
                <a16:creationId xmlns:a16="http://schemas.microsoft.com/office/drawing/2014/main" id="{2903CBE3-6A8B-4228-905A-388AD75232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693548" y="5122785"/>
            <a:ext cx="804904" cy="804904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8F5B48CF-36B3-456B-83EF-5817490EA5E7}"/>
              </a:ext>
            </a:extLst>
          </p:cNvPr>
          <p:cNvGrpSpPr/>
          <p:nvPr/>
        </p:nvGrpSpPr>
        <p:grpSpPr>
          <a:xfrm>
            <a:off x="443025" y="1417140"/>
            <a:ext cx="4592168" cy="1442430"/>
            <a:chOff x="443025" y="1417140"/>
            <a:chExt cx="4592168" cy="1442430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D22E932-2341-49F2-8EAE-DE53C958339C}"/>
                </a:ext>
              </a:extLst>
            </p:cNvPr>
            <p:cNvSpPr/>
            <p:nvPr/>
          </p:nvSpPr>
          <p:spPr>
            <a:xfrm>
              <a:off x="1075193" y="1422760"/>
              <a:ext cx="3960000" cy="143681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ased on your HCP interactions both during and after SABCS, what data/factors will impact the decision to sequence ADC treatment upon discontinuation on a first ADC? 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FC860CA-48DD-405A-815C-DC5871B4CD42}"/>
                </a:ext>
              </a:extLst>
            </p:cNvPr>
            <p:cNvSpPr>
              <a:spLocks/>
            </p:cNvSpPr>
            <p:nvPr/>
          </p:nvSpPr>
          <p:spPr>
            <a:xfrm>
              <a:off x="443025" y="1417140"/>
              <a:ext cx="1080000" cy="1080000"/>
            </a:xfrm>
            <a:prstGeom prst="ellipse">
              <a:avLst/>
            </a:prstGeom>
            <a:solidFill>
              <a:schemeClr val="accent5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IQ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2247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C952105E-161E-4CCD-BE35-EB7690B1FD09}"/>
              </a:ext>
            </a:extLst>
          </p:cNvPr>
          <p:cNvSpPr txBox="1"/>
          <p:nvPr/>
        </p:nvSpPr>
        <p:spPr>
          <a:xfrm>
            <a:off x="0" y="274526"/>
            <a:ext cx="12188825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300" normalizeH="0" baseline="0" noProof="0" dirty="0">
                <a:ln>
                  <a:noFill/>
                </a:ln>
                <a:solidFill>
                  <a:srgbClr val="3469B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HO WE ARE</a:t>
            </a:r>
            <a:br>
              <a:rPr kumimoji="0" lang="en-US" sz="3200" b="1" i="0" u="none" strike="noStrike" kern="1200" cap="none" spc="30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br>
              <a:rPr kumimoji="0" lang="en-US" sz="500" b="1" i="0" u="none" strike="noStrike" kern="1200" cap="none" spc="30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en-US" b="1" i="1" u="none" strike="noStrike" kern="1200" cap="none" spc="30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CQUIS IS DIFFERENT KIND OF CONSULTANCY THAT </a:t>
            </a:r>
            <a:r>
              <a:rPr kumimoji="0" lang="en-US" b="1" i="1" u="sng" strike="noStrike" kern="1200" cap="none" spc="30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RIDGES</a:t>
            </a:r>
            <a:r>
              <a:rPr kumimoji="0" lang="en-US" b="1" i="1" u="none" strike="noStrike" kern="1200" cap="none" spc="30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br>
              <a:rPr kumimoji="0" lang="en-US" b="1" i="1" u="none" strike="noStrike" kern="1200" cap="none" spc="30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en-US" b="1" i="1" u="none" strike="noStrike" kern="1200" cap="none" spc="30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ULTI-DOMAIN EXPERTISE TO HELP </a:t>
            </a:r>
            <a:r>
              <a:rPr kumimoji="0" lang="en-US" b="1" i="1" u="sng" strike="noStrike" kern="1200" cap="none" spc="30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UILD</a:t>
            </a:r>
            <a:r>
              <a:rPr kumimoji="0" lang="en-US" b="1" i="1" u="none" strike="noStrike" kern="1200" cap="none" spc="30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NEXT-GEN LS FUNCTIONS</a:t>
            </a:r>
            <a:endParaRPr kumimoji="0" lang="en-US" sz="2300" b="1" i="1" u="none" strike="noStrike" kern="1200" cap="none" spc="300" normalizeH="0" baseline="0" noProof="0" dirty="0">
              <a:ln>
                <a:noFill/>
              </a:ln>
              <a:solidFill>
                <a:srgbClr val="2383C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 7">
            <a:extLst>
              <a:ext uri="{FF2B5EF4-FFF2-40B4-BE49-F238E27FC236}">
                <a16:creationId xmlns:a16="http://schemas.microsoft.com/office/drawing/2014/main" id="{7881689E-5D63-4353-B6B1-EBD516142D38}"/>
              </a:ext>
            </a:extLst>
          </p:cNvPr>
          <p:cNvSpPr>
            <a:spLocks/>
          </p:cNvSpPr>
          <p:nvPr/>
        </p:nvSpPr>
        <p:spPr bwMode="auto">
          <a:xfrm>
            <a:off x="3514867" y="5157728"/>
            <a:ext cx="4660900" cy="820738"/>
          </a:xfrm>
          <a:custGeom>
            <a:avLst/>
            <a:gdLst>
              <a:gd name="T0" fmla="*/ 1468 w 2936"/>
              <a:gd name="T1" fmla="*/ 0 h 517"/>
              <a:gd name="T2" fmla="*/ 873 w 2936"/>
              <a:gd name="T3" fmla="*/ 0 h 517"/>
              <a:gd name="T4" fmla="*/ 0 w 2936"/>
              <a:gd name="T5" fmla="*/ 517 h 517"/>
              <a:gd name="T6" fmla="*/ 1464 w 2936"/>
              <a:gd name="T7" fmla="*/ 517 h 517"/>
              <a:gd name="T8" fmla="*/ 2936 w 2936"/>
              <a:gd name="T9" fmla="*/ 517 h 517"/>
              <a:gd name="T10" fmla="*/ 2055 w 2936"/>
              <a:gd name="T11" fmla="*/ 0 h 517"/>
              <a:gd name="T12" fmla="*/ 1468 w 2936"/>
              <a:gd name="T13" fmla="*/ 0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36" h="517">
                <a:moveTo>
                  <a:pt x="1468" y="0"/>
                </a:moveTo>
                <a:lnTo>
                  <a:pt x="873" y="0"/>
                </a:lnTo>
                <a:lnTo>
                  <a:pt x="0" y="517"/>
                </a:lnTo>
                <a:lnTo>
                  <a:pt x="1464" y="517"/>
                </a:lnTo>
                <a:lnTo>
                  <a:pt x="2936" y="517"/>
                </a:lnTo>
                <a:lnTo>
                  <a:pt x="2055" y="0"/>
                </a:lnTo>
                <a:lnTo>
                  <a:pt x="1468" y="0"/>
                </a:lnTo>
                <a:close/>
              </a:path>
            </a:pathLst>
          </a:custGeom>
          <a:solidFill>
            <a:srgbClr val="2383C1"/>
          </a:solidFill>
          <a:ln>
            <a:solidFill>
              <a:srgbClr val="2383C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8E366FDA-D163-420E-9DC4-A1BC60CA9586}"/>
              </a:ext>
            </a:extLst>
          </p:cNvPr>
          <p:cNvSpPr>
            <a:spLocks/>
          </p:cNvSpPr>
          <p:nvPr/>
        </p:nvSpPr>
        <p:spPr bwMode="auto">
          <a:xfrm rot="14400000">
            <a:off x="3455818" y="1817626"/>
            <a:ext cx="2312988" cy="4037013"/>
          </a:xfrm>
          <a:custGeom>
            <a:avLst/>
            <a:gdLst>
              <a:gd name="T0" fmla="*/ 289 w 1457"/>
              <a:gd name="T1" fmla="*/ 1513 h 2523"/>
              <a:gd name="T2" fmla="*/ 573 w 1457"/>
              <a:gd name="T3" fmla="*/ 2005 h 2523"/>
              <a:gd name="T4" fmla="*/ 1457 w 1457"/>
              <a:gd name="T5" fmla="*/ 2523 h 2523"/>
              <a:gd name="T6" fmla="*/ 728 w 1457"/>
              <a:gd name="T7" fmla="*/ 1262 h 2523"/>
              <a:gd name="T8" fmla="*/ 0 w 1457"/>
              <a:gd name="T9" fmla="*/ 0 h 2523"/>
              <a:gd name="T10" fmla="*/ 0 w 1457"/>
              <a:gd name="T11" fmla="*/ 1013 h 2523"/>
              <a:gd name="T12" fmla="*/ 289 w 1457"/>
              <a:gd name="T13" fmla="*/ 1513 h 2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57" h="2523">
                <a:moveTo>
                  <a:pt x="289" y="1513"/>
                </a:moveTo>
                <a:lnTo>
                  <a:pt x="573" y="2005"/>
                </a:lnTo>
                <a:lnTo>
                  <a:pt x="1457" y="2523"/>
                </a:lnTo>
                <a:lnTo>
                  <a:pt x="728" y="1262"/>
                </a:lnTo>
                <a:lnTo>
                  <a:pt x="0" y="0"/>
                </a:lnTo>
                <a:lnTo>
                  <a:pt x="0" y="1013"/>
                </a:lnTo>
                <a:lnTo>
                  <a:pt x="289" y="1513"/>
                </a:lnTo>
                <a:close/>
              </a:path>
            </a:pathLst>
          </a:custGeom>
          <a:solidFill>
            <a:srgbClr val="104EA3"/>
          </a:solidFill>
          <a:ln>
            <a:solidFill>
              <a:srgbClr val="104EA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reeform 7">
            <a:extLst>
              <a:ext uri="{FF2B5EF4-FFF2-40B4-BE49-F238E27FC236}">
                <a16:creationId xmlns:a16="http://schemas.microsoft.com/office/drawing/2014/main" id="{031D4613-3FEB-4067-805B-E3576086B013}"/>
              </a:ext>
            </a:extLst>
          </p:cNvPr>
          <p:cNvSpPr>
            <a:spLocks/>
          </p:cNvSpPr>
          <p:nvPr/>
        </p:nvSpPr>
        <p:spPr bwMode="auto">
          <a:xfrm rot="14400000">
            <a:off x="4398287" y="3627597"/>
            <a:ext cx="4660900" cy="820738"/>
          </a:xfrm>
          <a:custGeom>
            <a:avLst/>
            <a:gdLst>
              <a:gd name="T0" fmla="*/ 1468 w 2936"/>
              <a:gd name="T1" fmla="*/ 0 h 517"/>
              <a:gd name="T2" fmla="*/ 873 w 2936"/>
              <a:gd name="T3" fmla="*/ 0 h 517"/>
              <a:gd name="T4" fmla="*/ 0 w 2936"/>
              <a:gd name="T5" fmla="*/ 517 h 517"/>
              <a:gd name="T6" fmla="*/ 1464 w 2936"/>
              <a:gd name="T7" fmla="*/ 517 h 517"/>
              <a:gd name="T8" fmla="*/ 2936 w 2936"/>
              <a:gd name="T9" fmla="*/ 517 h 517"/>
              <a:gd name="T10" fmla="*/ 2055 w 2936"/>
              <a:gd name="T11" fmla="*/ 0 h 517"/>
              <a:gd name="T12" fmla="*/ 1468 w 2936"/>
              <a:gd name="T13" fmla="*/ 0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36" h="517">
                <a:moveTo>
                  <a:pt x="1468" y="0"/>
                </a:moveTo>
                <a:lnTo>
                  <a:pt x="873" y="0"/>
                </a:lnTo>
                <a:lnTo>
                  <a:pt x="0" y="517"/>
                </a:lnTo>
                <a:lnTo>
                  <a:pt x="1464" y="517"/>
                </a:lnTo>
                <a:lnTo>
                  <a:pt x="2936" y="517"/>
                </a:lnTo>
                <a:lnTo>
                  <a:pt x="2055" y="0"/>
                </a:lnTo>
                <a:lnTo>
                  <a:pt x="1468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04EA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8133384-C96C-41B9-8691-0AB422B539E9}"/>
              </a:ext>
            </a:extLst>
          </p:cNvPr>
          <p:cNvSpPr txBox="1"/>
          <p:nvPr/>
        </p:nvSpPr>
        <p:spPr>
          <a:xfrm>
            <a:off x="4438810" y="5263303"/>
            <a:ext cx="2813015" cy="5909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TECHNICAL CAPABILITIES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TO BUILD AND INTEGRATE TOOLS, AUTOMATIONS, AND AI SOLUTION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2AD8069-981D-4555-A924-10C8B3D26B95}"/>
              </a:ext>
            </a:extLst>
          </p:cNvPr>
          <p:cNvSpPr txBox="1"/>
          <p:nvPr/>
        </p:nvSpPr>
        <p:spPr>
          <a:xfrm rot="18000000">
            <a:off x="3383621" y="3820803"/>
            <a:ext cx="3039966" cy="4247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LIFE SCIENCE EXPERTISE ACROSS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&amp;D x MEDICAL x COMMERC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8C5429-AF90-485D-935C-D19CF4B6B751}"/>
              </a:ext>
            </a:extLst>
          </p:cNvPr>
          <p:cNvSpPr txBox="1"/>
          <p:nvPr/>
        </p:nvSpPr>
        <p:spPr>
          <a:xfrm rot="3600000">
            <a:off x="4855445" y="3822453"/>
            <a:ext cx="3823347" cy="4247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BUSINESS ACUMEN IN BUILDING OPERATING MODELS, FUNCTIONS &amp; COMPANIE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309FDED-3C99-4DC4-B55F-F62009ECAF9A}"/>
              </a:ext>
            </a:extLst>
          </p:cNvPr>
          <p:cNvSpPr txBox="1"/>
          <p:nvPr/>
        </p:nvSpPr>
        <p:spPr>
          <a:xfrm>
            <a:off x="466867" y="1746438"/>
            <a:ext cx="4398773" cy="782060"/>
          </a:xfrm>
          <a:prstGeom prst="rect">
            <a:avLst/>
          </a:prstGeom>
          <a:solidFill>
            <a:srgbClr val="104EA3"/>
          </a:solidFill>
        </p:spPr>
        <p:txBody>
          <a:bodyPr wrap="square" anchor="ctr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ep therapeutic expertise across R&amp;D, Medical, and Commercial functions – we understand the science, the patients, and the business drivers behind every decision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E5ED5F5-C4C2-46B1-BC36-DD587FA1018E}"/>
              </a:ext>
            </a:extLst>
          </p:cNvPr>
          <p:cNvSpPr txBox="1"/>
          <p:nvPr/>
        </p:nvSpPr>
        <p:spPr>
          <a:xfrm>
            <a:off x="3395337" y="6029168"/>
            <a:ext cx="48999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sign, build, and integrate technology solutions + agentic AI workflows that don’t just streamline tasks, but work as dynamic teammates automating core activities inside core LS function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680B173-6A93-4415-9549-B5EFDC45BE1C}"/>
              </a:ext>
            </a:extLst>
          </p:cNvPr>
          <p:cNvSpPr txBox="1"/>
          <p:nvPr/>
        </p:nvSpPr>
        <p:spPr>
          <a:xfrm>
            <a:off x="6938638" y="1746438"/>
            <a:ext cx="5127160" cy="782060"/>
          </a:xfrm>
          <a:prstGeom prst="rect">
            <a:avLst/>
          </a:prstGeom>
          <a:noFill/>
          <a:ln>
            <a:solidFill>
              <a:srgbClr val="104EA3"/>
            </a:solidFill>
          </a:ln>
        </p:spPr>
        <p:txBody>
          <a:bodyPr wrap="square" anchor="ctr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cades of proven success in shaping life science organizations, aligning strategy with execution, and building scalable operating models in complex operating environments.</a:t>
            </a:r>
          </a:p>
        </p:txBody>
      </p:sp>
      <p:pic>
        <p:nvPicPr>
          <p:cNvPr id="77" name="Picture 76" descr="A close up of a sign&#10;&#10;Description automatically generated">
            <a:extLst>
              <a:ext uri="{FF2B5EF4-FFF2-40B4-BE49-F238E27FC236}">
                <a16:creationId xmlns:a16="http://schemas.microsoft.com/office/drawing/2014/main" id="{F7F69485-B7E4-4EB2-81BC-3D9757535A6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4786" y="4141607"/>
            <a:ext cx="881062" cy="372164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406FAB16-7443-4885-8F73-457FC12F773A}"/>
              </a:ext>
            </a:extLst>
          </p:cNvPr>
          <p:cNvSpPr txBox="1"/>
          <p:nvPr/>
        </p:nvSpPr>
        <p:spPr>
          <a:xfrm>
            <a:off x="5152911" y="4554251"/>
            <a:ext cx="154957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0" u="none" strike="noStrike" kern="1200" cap="none" spc="600" normalizeH="0" baseline="0" noProof="0" dirty="0">
                <a:ln>
                  <a:noFill/>
                </a:ln>
                <a:solidFill>
                  <a:srgbClr val="3469B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GENTIC</a:t>
            </a:r>
            <a:br>
              <a:rPr kumimoji="0" lang="en-US" sz="1050" i="0" u="none" strike="noStrike" kern="1200" cap="none" spc="600" normalizeH="0" baseline="0" noProof="0" dirty="0">
                <a:ln>
                  <a:noFill/>
                </a:ln>
                <a:solidFill>
                  <a:srgbClr val="3469B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endParaRPr kumimoji="0" lang="en-US" sz="200" i="0" u="none" strike="noStrike" kern="1200" cap="none" spc="600" normalizeH="0" baseline="0" noProof="0" dirty="0">
              <a:ln>
                <a:noFill/>
              </a:ln>
              <a:solidFill>
                <a:srgbClr val="3469B1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800" normalizeH="0" noProof="0" dirty="0">
                <a:ln>
                  <a:noFill/>
                </a:ln>
                <a:solidFill>
                  <a:srgbClr val="3469B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YRAMID</a:t>
            </a:r>
            <a:endParaRPr kumimoji="0" lang="en-US" sz="1050" b="1" i="0" u="none" strike="noStrike" kern="1200" cap="none" spc="800" normalizeH="0" noProof="0" dirty="0">
              <a:ln>
                <a:noFill/>
              </a:ln>
              <a:solidFill>
                <a:srgbClr val="3469B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83" name="Group 582">
            <a:extLst>
              <a:ext uri="{FF2B5EF4-FFF2-40B4-BE49-F238E27FC236}">
                <a16:creationId xmlns:a16="http://schemas.microsoft.com/office/drawing/2014/main" id="{46C025BF-A631-4BFE-9E61-7DF4CB6FEB57}"/>
              </a:ext>
            </a:extLst>
          </p:cNvPr>
          <p:cNvGrpSpPr/>
          <p:nvPr/>
        </p:nvGrpSpPr>
        <p:grpSpPr>
          <a:xfrm>
            <a:off x="7144293" y="3011945"/>
            <a:ext cx="853715" cy="901724"/>
            <a:chOff x="3513322" y="2486214"/>
            <a:chExt cx="954599" cy="1033484"/>
          </a:xfrm>
        </p:grpSpPr>
        <p:grpSp>
          <p:nvGrpSpPr>
            <p:cNvPr id="584" name="Group 583">
              <a:extLst>
                <a:ext uri="{FF2B5EF4-FFF2-40B4-BE49-F238E27FC236}">
                  <a16:creationId xmlns:a16="http://schemas.microsoft.com/office/drawing/2014/main" id="{80D8DF86-4E1E-48B4-A470-94495A2EE73F}"/>
                </a:ext>
              </a:extLst>
            </p:cNvPr>
            <p:cNvGrpSpPr/>
            <p:nvPr/>
          </p:nvGrpSpPr>
          <p:grpSpPr>
            <a:xfrm>
              <a:off x="3881733" y="2974193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1056" name="Freeform 948">
                <a:extLst>
                  <a:ext uri="{FF2B5EF4-FFF2-40B4-BE49-F238E27FC236}">
                    <a16:creationId xmlns:a16="http://schemas.microsoft.com/office/drawing/2014/main" id="{BB63B83B-51CE-4FD3-A08A-B130D050C833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7" name="Freeform 949">
                <a:extLst>
                  <a:ext uri="{FF2B5EF4-FFF2-40B4-BE49-F238E27FC236}">
                    <a16:creationId xmlns:a16="http://schemas.microsoft.com/office/drawing/2014/main" id="{A4FDF619-7C1C-40B8-A5F2-1E583AF105FD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8" name="Freeform 950">
                <a:extLst>
                  <a:ext uri="{FF2B5EF4-FFF2-40B4-BE49-F238E27FC236}">
                    <a16:creationId xmlns:a16="http://schemas.microsoft.com/office/drawing/2014/main" id="{F810B15F-4636-4C00-8CC4-C52E9564D86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85" name="Group 584">
              <a:extLst>
                <a:ext uri="{FF2B5EF4-FFF2-40B4-BE49-F238E27FC236}">
                  <a16:creationId xmlns:a16="http://schemas.microsoft.com/office/drawing/2014/main" id="{DAC2C9A0-5782-4BF5-8BE3-15FC2AAE6F5A}"/>
                </a:ext>
              </a:extLst>
            </p:cNvPr>
            <p:cNvGrpSpPr/>
            <p:nvPr/>
          </p:nvGrpSpPr>
          <p:grpSpPr>
            <a:xfrm>
              <a:off x="3978830" y="3016209"/>
              <a:ext cx="194194" cy="207487"/>
              <a:chOff x="6673854" y="2507796"/>
              <a:chExt cx="3493293" cy="3112296"/>
            </a:xfrm>
            <a:solidFill>
              <a:srgbClr val="2785BA">
                <a:alpha val="49804"/>
              </a:srgbClr>
            </a:solidFill>
          </p:grpSpPr>
          <p:sp>
            <p:nvSpPr>
              <p:cNvPr id="1053" name="Freeform 945">
                <a:extLst>
                  <a:ext uri="{FF2B5EF4-FFF2-40B4-BE49-F238E27FC236}">
                    <a16:creationId xmlns:a16="http://schemas.microsoft.com/office/drawing/2014/main" id="{9F3F9294-7174-422E-859D-72C12D825C89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4" name="Freeform 946">
                <a:extLst>
                  <a:ext uri="{FF2B5EF4-FFF2-40B4-BE49-F238E27FC236}">
                    <a16:creationId xmlns:a16="http://schemas.microsoft.com/office/drawing/2014/main" id="{8E575D42-CD57-44DB-A181-3F7FF418C404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5" name="Freeform 947">
                <a:extLst>
                  <a:ext uri="{FF2B5EF4-FFF2-40B4-BE49-F238E27FC236}">
                    <a16:creationId xmlns:a16="http://schemas.microsoft.com/office/drawing/2014/main" id="{C82EDEC9-5CB2-4617-B6A5-FD7A4E6852E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86" name="Group 585">
              <a:extLst>
                <a:ext uri="{FF2B5EF4-FFF2-40B4-BE49-F238E27FC236}">
                  <a16:creationId xmlns:a16="http://schemas.microsoft.com/office/drawing/2014/main" id="{7E0982BA-D0B8-481D-8D5D-A70CF251991A}"/>
                </a:ext>
              </a:extLst>
            </p:cNvPr>
            <p:cNvGrpSpPr/>
            <p:nvPr/>
          </p:nvGrpSpPr>
          <p:grpSpPr>
            <a:xfrm>
              <a:off x="4075927" y="3058226"/>
              <a:ext cx="194194" cy="207487"/>
              <a:chOff x="6673854" y="2507796"/>
              <a:chExt cx="3493293" cy="3112296"/>
            </a:xfrm>
            <a:solidFill>
              <a:srgbClr val="2785BA">
                <a:alpha val="49804"/>
              </a:srgbClr>
            </a:solidFill>
          </p:grpSpPr>
          <p:sp>
            <p:nvSpPr>
              <p:cNvPr id="1050" name="Freeform 942">
                <a:extLst>
                  <a:ext uri="{FF2B5EF4-FFF2-40B4-BE49-F238E27FC236}">
                    <a16:creationId xmlns:a16="http://schemas.microsoft.com/office/drawing/2014/main" id="{24C7EFF5-9E3C-4274-9C50-2A535E47D00C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1" name="Freeform 943">
                <a:extLst>
                  <a:ext uri="{FF2B5EF4-FFF2-40B4-BE49-F238E27FC236}">
                    <a16:creationId xmlns:a16="http://schemas.microsoft.com/office/drawing/2014/main" id="{B128999E-C852-406F-89FA-D6F38F71EF59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2" name="Freeform 944">
                <a:extLst>
                  <a:ext uri="{FF2B5EF4-FFF2-40B4-BE49-F238E27FC236}">
                    <a16:creationId xmlns:a16="http://schemas.microsoft.com/office/drawing/2014/main" id="{A3C796CE-2AC0-438B-83F7-57273104FDBE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87" name="Group 586">
              <a:extLst>
                <a:ext uri="{FF2B5EF4-FFF2-40B4-BE49-F238E27FC236}">
                  <a16:creationId xmlns:a16="http://schemas.microsoft.com/office/drawing/2014/main" id="{D01FB2C9-DD07-48BC-962E-2E8D3C2769EB}"/>
                </a:ext>
              </a:extLst>
            </p:cNvPr>
            <p:cNvGrpSpPr/>
            <p:nvPr/>
          </p:nvGrpSpPr>
          <p:grpSpPr>
            <a:xfrm>
              <a:off x="3881733" y="2851478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1047" name="Freeform 939">
                <a:extLst>
                  <a:ext uri="{FF2B5EF4-FFF2-40B4-BE49-F238E27FC236}">
                    <a16:creationId xmlns:a16="http://schemas.microsoft.com/office/drawing/2014/main" id="{ADCE8341-FE4B-4754-A00B-E930C2B0B61E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8" name="Freeform 940">
                <a:extLst>
                  <a:ext uri="{FF2B5EF4-FFF2-40B4-BE49-F238E27FC236}">
                    <a16:creationId xmlns:a16="http://schemas.microsoft.com/office/drawing/2014/main" id="{772E083B-6F5B-470A-88AD-CA93209B6911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9" name="Freeform 941">
                <a:extLst>
                  <a:ext uri="{FF2B5EF4-FFF2-40B4-BE49-F238E27FC236}">
                    <a16:creationId xmlns:a16="http://schemas.microsoft.com/office/drawing/2014/main" id="{C10FCD3D-36ED-4CBB-BD44-C89FC08640B3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88" name="Group 587">
              <a:extLst>
                <a:ext uri="{FF2B5EF4-FFF2-40B4-BE49-F238E27FC236}">
                  <a16:creationId xmlns:a16="http://schemas.microsoft.com/office/drawing/2014/main" id="{1A8ABF87-093E-4225-B20E-105E955F14CF}"/>
                </a:ext>
              </a:extLst>
            </p:cNvPr>
            <p:cNvGrpSpPr/>
            <p:nvPr/>
          </p:nvGrpSpPr>
          <p:grpSpPr>
            <a:xfrm>
              <a:off x="3978830" y="2893494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1044" name="Freeform 936">
                <a:extLst>
                  <a:ext uri="{FF2B5EF4-FFF2-40B4-BE49-F238E27FC236}">
                    <a16:creationId xmlns:a16="http://schemas.microsoft.com/office/drawing/2014/main" id="{62614486-4459-4C02-B2D3-9A015EF1513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5" name="Freeform 937">
                <a:extLst>
                  <a:ext uri="{FF2B5EF4-FFF2-40B4-BE49-F238E27FC236}">
                    <a16:creationId xmlns:a16="http://schemas.microsoft.com/office/drawing/2014/main" id="{5240CD72-AAD6-4FF8-9BBA-4A2D2BC5E413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6" name="Freeform 938">
                <a:extLst>
                  <a:ext uri="{FF2B5EF4-FFF2-40B4-BE49-F238E27FC236}">
                    <a16:creationId xmlns:a16="http://schemas.microsoft.com/office/drawing/2014/main" id="{03575D52-04B6-447E-BD0B-7F160632321E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8AEB3B86-22C2-4928-9B9C-7E0436813190}"/>
                </a:ext>
              </a:extLst>
            </p:cNvPr>
            <p:cNvGrpSpPr/>
            <p:nvPr/>
          </p:nvGrpSpPr>
          <p:grpSpPr>
            <a:xfrm>
              <a:off x="4075927" y="2935511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1041" name="Freeform 933">
                <a:extLst>
                  <a:ext uri="{FF2B5EF4-FFF2-40B4-BE49-F238E27FC236}">
                    <a16:creationId xmlns:a16="http://schemas.microsoft.com/office/drawing/2014/main" id="{1F1A9BDC-4660-43DC-9397-66DAB03D1EDB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2" name="Freeform 934">
                <a:extLst>
                  <a:ext uri="{FF2B5EF4-FFF2-40B4-BE49-F238E27FC236}">
                    <a16:creationId xmlns:a16="http://schemas.microsoft.com/office/drawing/2014/main" id="{4514CB83-DB7B-4F6D-89A6-6020599D9102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3" name="Freeform 935">
                <a:extLst>
                  <a:ext uri="{FF2B5EF4-FFF2-40B4-BE49-F238E27FC236}">
                    <a16:creationId xmlns:a16="http://schemas.microsoft.com/office/drawing/2014/main" id="{359AD381-5A23-4246-8B66-CEB951C72AB0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0" name="Group 589">
              <a:extLst>
                <a:ext uri="{FF2B5EF4-FFF2-40B4-BE49-F238E27FC236}">
                  <a16:creationId xmlns:a16="http://schemas.microsoft.com/office/drawing/2014/main" id="{02BDBE15-AE15-495B-960B-C709942B7743}"/>
                </a:ext>
              </a:extLst>
            </p:cNvPr>
            <p:cNvGrpSpPr/>
            <p:nvPr/>
          </p:nvGrpSpPr>
          <p:grpSpPr>
            <a:xfrm>
              <a:off x="3881733" y="2728764"/>
              <a:ext cx="194194" cy="207487"/>
              <a:chOff x="6673852" y="2507796"/>
              <a:chExt cx="3493295" cy="3112291"/>
            </a:xfrm>
            <a:solidFill>
              <a:srgbClr val="7F7BD4">
                <a:alpha val="50196"/>
              </a:srgbClr>
            </a:solidFill>
          </p:grpSpPr>
          <p:sp>
            <p:nvSpPr>
              <p:cNvPr id="1038" name="Freeform 930">
                <a:extLst>
                  <a:ext uri="{FF2B5EF4-FFF2-40B4-BE49-F238E27FC236}">
                    <a16:creationId xmlns:a16="http://schemas.microsoft.com/office/drawing/2014/main" id="{DC97591D-C9BE-4AAF-A9BC-E0D768D8D756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9" name="Freeform 931">
                <a:extLst>
                  <a:ext uri="{FF2B5EF4-FFF2-40B4-BE49-F238E27FC236}">
                    <a16:creationId xmlns:a16="http://schemas.microsoft.com/office/drawing/2014/main" id="{487333C4-A986-4572-AD15-96AC6737A219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0" name="Freeform 932">
                <a:extLst>
                  <a:ext uri="{FF2B5EF4-FFF2-40B4-BE49-F238E27FC236}">
                    <a16:creationId xmlns:a16="http://schemas.microsoft.com/office/drawing/2014/main" id="{7EDDF1FB-4858-4596-8F7F-92A61A660D5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1" name="Group 590">
              <a:extLst>
                <a:ext uri="{FF2B5EF4-FFF2-40B4-BE49-F238E27FC236}">
                  <a16:creationId xmlns:a16="http://schemas.microsoft.com/office/drawing/2014/main" id="{7569A345-F2C0-4C57-8D67-5C5A756A41EE}"/>
                </a:ext>
              </a:extLst>
            </p:cNvPr>
            <p:cNvGrpSpPr/>
            <p:nvPr/>
          </p:nvGrpSpPr>
          <p:grpSpPr>
            <a:xfrm>
              <a:off x="3978830" y="2770780"/>
              <a:ext cx="194194" cy="207487"/>
              <a:chOff x="6673854" y="2507796"/>
              <a:chExt cx="3493293" cy="3112296"/>
            </a:xfrm>
            <a:solidFill>
              <a:srgbClr val="7F7BD4">
                <a:alpha val="50196"/>
              </a:srgbClr>
            </a:solidFill>
          </p:grpSpPr>
          <p:sp>
            <p:nvSpPr>
              <p:cNvPr id="1035" name="Freeform 927">
                <a:extLst>
                  <a:ext uri="{FF2B5EF4-FFF2-40B4-BE49-F238E27FC236}">
                    <a16:creationId xmlns:a16="http://schemas.microsoft.com/office/drawing/2014/main" id="{94B4E26F-C6BB-4F3B-81B7-2EF129FCF26A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6" name="Freeform 928">
                <a:extLst>
                  <a:ext uri="{FF2B5EF4-FFF2-40B4-BE49-F238E27FC236}">
                    <a16:creationId xmlns:a16="http://schemas.microsoft.com/office/drawing/2014/main" id="{C39D751F-0251-436F-B5CF-790E16B7B062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7" name="Freeform 929">
                <a:extLst>
                  <a:ext uri="{FF2B5EF4-FFF2-40B4-BE49-F238E27FC236}">
                    <a16:creationId xmlns:a16="http://schemas.microsoft.com/office/drawing/2014/main" id="{124241BB-6CA6-4446-8C1E-D031BAC00C62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2" name="Group 591">
              <a:extLst>
                <a:ext uri="{FF2B5EF4-FFF2-40B4-BE49-F238E27FC236}">
                  <a16:creationId xmlns:a16="http://schemas.microsoft.com/office/drawing/2014/main" id="{0F90B1C7-93F6-4B98-89DD-234A9D2C0DA4}"/>
                </a:ext>
              </a:extLst>
            </p:cNvPr>
            <p:cNvGrpSpPr/>
            <p:nvPr/>
          </p:nvGrpSpPr>
          <p:grpSpPr>
            <a:xfrm>
              <a:off x="4075927" y="2812796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1032" name="Freeform 924">
                <a:extLst>
                  <a:ext uri="{FF2B5EF4-FFF2-40B4-BE49-F238E27FC236}">
                    <a16:creationId xmlns:a16="http://schemas.microsoft.com/office/drawing/2014/main" id="{50AEE528-DEC0-401E-A2D2-CDCC3193B09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3" name="Freeform 925">
                <a:extLst>
                  <a:ext uri="{FF2B5EF4-FFF2-40B4-BE49-F238E27FC236}">
                    <a16:creationId xmlns:a16="http://schemas.microsoft.com/office/drawing/2014/main" id="{1E836B46-1E9D-41EF-BF14-82D57F8DB779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4" name="Freeform 926">
                <a:extLst>
                  <a:ext uri="{FF2B5EF4-FFF2-40B4-BE49-F238E27FC236}">
                    <a16:creationId xmlns:a16="http://schemas.microsoft.com/office/drawing/2014/main" id="{C404D84F-8247-4864-A756-D78C3F1C2D16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3" name="Group 592">
              <a:extLst>
                <a:ext uri="{FF2B5EF4-FFF2-40B4-BE49-F238E27FC236}">
                  <a16:creationId xmlns:a16="http://schemas.microsoft.com/office/drawing/2014/main" id="{980493D6-E6B0-44D4-A45B-71C672C701CA}"/>
                </a:ext>
              </a:extLst>
            </p:cNvPr>
            <p:cNvGrpSpPr/>
            <p:nvPr/>
          </p:nvGrpSpPr>
          <p:grpSpPr>
            <a:xfrm>
              <a:off x="3881446" y="2606737"/>
              <a:ext cx="194195" cy="207488"/>
              <a:chOff x="6673852" y="2507796"/>
              <a:chExt cx="3493295" cy="3112292"/>
            </a:xfrm>
            <a:solidFill>
              <a:srgbClr val="36848A">
                <a:alpha val="50196"/>
              </a:srgbClr>
            </a:solidFill>
          </p:grpSpPr>
          <p:sp>
            <p:nvSpPr>
              <p:cNvPr id="1029" name="Freeform 921">
                <a:extLst>
                  <a:ext uri="{FF2B5EF4-FFF2-40B4-BE49-F238E27FC236}">
                    <a16:creationId xmlns:a16="http://schemas.microsoft.com/office/drawing/2014/main" id="{8BED7AA0-CC46-4ED4-AFD0-0771D21700D9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0" name="Freeform 922">
                <a:extLst>
                  <a:ext uri="{FF2B5EF4-FFF2-40B4-BE49-F238E27FC236}">
                    <a16:creationId xmlns:a16="http://schemas.microsoft.com/office/drawing/2014/main" id="{09357ADC-2F2F-4DE5-AC3E-630CE2EB378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1" name="Freeform 923">
                <a:extLst>
                  <a:ext uri="{FF2B5EF4-FFF2-40B4-BE49-F238E27FC236}">
                    <a16:creationId xmlns:a16="http://schemas.microsoft.com/office/drawing/2014/main" id="{64E3F940-2A1C-4C15-880F-80F339FF8961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4" name="Group 593">
              <a:extLst>
                <a:ext uri="{FF2B5EF4-FFF2-40B4-BE49-F238E27FC236}">
                  <a16:creationId xmlns:a16="http://schemas.microsoft.com/office/drawing/2014/main" id="{1DF35C75-177B-4CA1-97FB-54D585CB7DA3}"/>
                </a:ext>
              </a:extLst>
            </p:cNvPr>
            <p:cNvGrpSpPr/>
            <p:nvPr/>
          </p:nvGrpSpPr>
          <p:grpSpPr>
            <a:xfrm>
              <a:off x="3978542" y="2648753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1026" name="Freeform 918">
                <a:extLst>
                  <a:ext uri="{FF2B5EF4-FFF2-40B4-BE49-F238E27FC236}">
                    <a16:creationId xmlns:a16="http://schemas.microsoft.com/office/drawing/2014/main" id="{5F4494EF-B1F3-4FF2-9CF0-55928B0B96A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7" name="Freeform 919">
                <a:extLst>
                  <a:ext uri="{FF2B5EF4-FFF2-40B4-BE49-F238E27FC236}">
                    <a16:creationId xmlns:a16="http://schemas.microsoft.com/office/drawing/2014/main" id="{9C351747-4FE2-4FE0-A410-D1D30FC9090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8" name="Freeform 920">
                <a:extLst>
                  <a:ext uri="{FF2B5EF4-FFF2-40B4-BE49-F238E27FC236}">
                    <a16:creationId xmlns:a16="http://schemas.microsoft.com/office/drawing/2014/main" id="{B41B2052-D79C-47C8-9007-0310F08B6EB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5" name="Group 594">
              <a:extLst>
                <a:ext uri="{FF2B5EF4-FFF2-40B4-BE49-F238E27FC236}">
                  <a16:creationId xmlns:a16="http://schemas.microsoft.com/office/drawing/2014/main" id="{239B9D4F-C0BE-4EF5-96F4-D2DC7659CDDB}"/>
                </a:ext>
              </a:extLst>
            </p:cNvPr>
            <p:cNvGrpSpPr/>
            <p:nvPr/>
          </p:nvGrpSpPr>
          <p:grpSpPr>
            <a:xfrm>
              <a:off x="4075639" y="2690770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1023" name="Freeform 915">
                <a:extLst>
                  <a:ext uri="{FF2B5EF4-FFF2-40B4-BE49-F238E27FC236}">
                    <a16:creationId xmlns:a16="http://schemas.microsoft.com/office/drawing/2014/main" id="{4824E97A-69A9-483B-93C1-EEB15782CAB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4" name="Freeform 916">
                <a:extLst>
                  <a:ext uri="{FF2B5EF4-FFF2-40B4-BE49-F238E27FC236}">
                    <a16:creationId xmlns:a16="http://schemas.microsoft.com/office/drawing/2014/main" id="{2BE78817-88A7-4906-8F17-A11B097F3E8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5" name="Freeform 917">
                <a:extLst>
                  <a:ext uri="{FF2B5EF4-FFF2-40B4-BE49-F238E27FC236}">
                    <a16:creationId xmlns:a16="http://schemas.microsoft.com/office/drawing/2014/main" id="{229672E2-1658-49A7-AFC2-9506C00ECFF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6" name="Group 595">
              <a:extLst>
                <a:ext uri="{FF2B5EF4-FFF2-40B4-BE49-F238E27FC236}">
                  <a16:creationId xmlns:a16="http://schemas.microsoft.com/office/drawing/2014/main" id="{0D1D1542-F098-42F3-B12A-F3BD6D40C02F}"/>
                </a:ext>
              </a:extLst>
            </p:cNvPr>
            <p:cNvGrpSpPr/>
            <p:nvPr/>
          </p:nvGrpSpPr>
          <p:grpSpPr>
            <a:xfrm>
              <a:off x="4174496" y="3100486"/>
              <a:ext cx="194194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1020" name="Freeform 912">
                <a:extLst>
                  <a:ext uri="{FF2B5EF4-FFF2-40B4-BE49-F238E27FC236}">
                    <a16:creationId xmlns:a16="http://schemas.microsoft.com/office/drawing/2014/main" id="{75B418FD-3941-4C39-9425-AA3EEE0C3C8D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1" name="Freeform 913">
                <a:extLst>
                  <a:ext uri="{FF2B5EF4-FFF2-40B4-BE49-F238E27FC236}">
                    <a16:creationId xmlns:a16="http://schemas.microsoft.com/office/drawing/2014/main" id="{2914F8D5-A476-4EBB-84BF-FD9D852377E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2" name="Freeform 914">
                <a:extLst>
                  <a:ext uri="{FF2B5EF4-FFF2-40B4-BE49-F238E27FC236}">
                    <a16:creationId xmlns:a16="http://schemas.microsoft.com/office/drawing/2014/main" id="{8C855A40-C072-4400-BE16-CB4CFF694EC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FF014847-DCFD-470B-BF86-430FDAFD705F}"/>
                </a:ext>
              </a:extLst>
            </p:cNvPr>
            <p:cNvGrpSpPr/>
            <p:nvPr/>
          </p:nvGrpSpPr>
          <p:grpSpPr>
            <a:xfrm>
              <a:off x="4174496" y="2977771"/>
              <a:ext cx="194194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1017" name="Freeform 909">
                <a:extLst>
                  <a:ext uri="{FF2B5EF4-FFF2-40B4-BE49-F238E27FC236}">
                    <a16:creationId xmlns:a16="http://schemas.microsoft.com/office/drawing/2014/main" id="{45863C33-0A24-4A39-978D-F7CCFC8D0B2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8" name="Freeform 910">
                <a:extLst>
                  <a:ext uri="{FF2B5EF4-FFF2-40B4-BE49-F238E27FC236}">
                    <a16:creationId xmlns:a16="http://schemas.microsoft.com/office/drawing/2014/main" id="{FCB79339-82C0-48A8-B0DC-D347D35AB4D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9" name="Freeform 911">
                <a:extLst>
                  <a:ext uri="{FF2B5EF4-FFF2-40B4-BE49-F238E27FC236}">
                    <a16:creationId xmlns:a16="http://schemas.microsoft.com/office/drawing/2014/main" id="{A689A429-AE09-4AF9-A750-C3336EEEC20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8" name="Group 597">
              <a:extLst>
                <a:ext uri="{FF2B5EF4-FFF2-40B4-BE49-F238E27FC236}">
                  <a16:creationId xmlns:a16="http://schemas.microsoft.com/office/drawing/2014/main" id="{8569B8B9-DA57-49AD-89FF-31C45900EC41}"/>
                </a:ext>
              </a:extLst>
            </p:cNvPr>
            <p:cNvGrpSpPr/>
            <p:nvPr/>
          </p:nvGrpSpPr>
          <p:grpSpPr>
            <a:xfrm>
              <a:off x="4174496" y="2855056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1014" name="Freeform 906">
                <a:extLst>
                  <a:ext uri="{FF2B5EF4-FFF2-40B4-BE49-F238E27FC236}">
                    <a16:creationId xmlns:a16="http://schemas.microsoft.com/office/drawing/2014/main" id="{27F8C3B0-DA16-4F7F-8DE1-B222AFE6B953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5" name="Freeform 907">
                <a:extLst>
                  <a:ext uri="{FF2B5EF4-FFF2-40B4-BE49-F238E27FC236}">
                    <a16:creationId xmlns:a16="http://schemas.microsoft.com/office/drawing/2014/main" id="{D70C526E-68C0-489C-9080-36E0905CF65F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6" name="Freeform 908">
                <a:extLst>
                  <a:ext uri="{FF2B5EF4-FFF2-40B4-BE49-F238E27FC236}">
                    <a16:creationId xmlns:a16="http://schemas.microsoft.com/office/drawing/2014/main" id="{1DF3B13D-B4F8-4779-A3B7-FF68692D63A9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1C248236-691D-4ADB-B2B7-C3DB55961C39}"/>
                </a:ext>
              </a:extLst>
            </p:cNvPr>
            <p:cNvGrpSpPr/>
            <p:nvPr/>
          </p:nvGrpSpPr>
          <p:grpSpPr>
            <a:xfrm>
              <a:off x="4174210" y="2733030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1011" name="Freeform 903">
                <a:extLst>
                  <a:ext uri="{FF2B5EF4-FFF2-40B4-BE49-F238E27FC236}">
                    <a16:creationId xmlns:a16="http://schemas.microsoft.com/office/drawing/2014/main" id="{DC1AB030-7DCC-4CCA-928D-0E505587431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2" name="Freeform 904">
                <a:extLst>
                  <a:ext uri="{FF2B5EF4-FFF2-40B4-BE49-F238E27FC236}">
                    <a16:creationId xmlns:a16="http://schemas.microsoft.com/office/drawing/2014/main" id="{76D4AD3C-F37C-47C0-B15F-A2FF1D728359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3" name="Freeform 905">
                <a:extLst>
                  <a:ext uri="{FF2B5EF4-FFF2-40B4-BE49-F238E27FC236}">
                    <a16:creationId xmlns:a16="http://schemas.microsoft.com/office/drawing/2014/main" id="{FC99B6ED-36A0-48B1-A857-D66E24C3087F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1E757613-F536-4AAD-AB3F-91052C166AB7}"/>
                </a:ext>
              </a:extLst>
            </p:cNvPr>
            <p:cNvGrpSpPr/>
            <p:nvPr/>
          </p:nvGrpSpPr>
          <p:grpSpPr>
            <a:xfrm>
              <a:off x="4273726" y="3144597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1008" name="Freeform 900">
                <a:extLst>
                  <a:ext uri="{FF2B5EF4-FFF2-40B4-BE49-F238E27FC236}">
                    <a16:creationId xmlns:a16="http://schemas.microsoft.com/office/drawing/2014/main" id="{E898CDF4-3B58-40D1-8D26-EF77A634A4C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9" name="Freeform 901">
                <a:extLst>
                  <a:ext uri="{FF2B5EF4-FFF2-40B4-BE49-F238E27FC236}">
                    <a16:creationId xmlns:a16="http://schemas.microsoft.com/office/drawing/2014/main" id="{5A53273B-8816-4E08-B395-80AED58B3E2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0" name="Freeform 902">
                <a:extLst>
                  <a:ext uri="{FF2B5EF4-FFF2-40B4-BE49-F238E27FC236}">
                    <a16:creationId xmlns:a16="http://schemas.microsoft.com/office/drawing/2014/main" id="{EC7B839C-C2C7-4328-A48C-E8965C66DBF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1" name="Group 600">
              <a:extLst>
                <a:ext uri="{FF2B5EF4-FFF2-40B4-BE49-F238E27FC236}">
                  <a16:creationId xmlns:a16="http://schemas.microsoft.com/office/drawing/2014/main" id="{710EC729-2E82-41D4-BD13-8318397B539E}"/>
                </a:ext>
              </a:extLst>
            </p:cNvPr>
            <p:cNvGrpSpPr/>
            <p:nvPr/>
          </p:nvGrpSpPr>
          <p:grpSpPr>
            <a:xfrm>
              <a:off x="4273726" y="3021881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1005" name="Freeform 897">
                <a:extLst>
                  <a:ext uri="{FF2B5EF4-FFF2-40B4-BE49-F238E27FC236}">
                    <a16:creationId xmlns:a16="http://schemas.microsoft.com/office/drawing/2014/main" id="{57D1EFF9-FC50-4E1F-ACE3-56466514985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6" name="Freeform 898">
                <a:extLst>
                  <a:ext uri="{FF2B5EF4-FFF2-40B4-BE49-F238E27FC236}">
                    <a16:creationId xmlns:a16="http://schemas.microsoft.com/office/drawing/2014/main" id="{FEF4FF5A-C315-46D0-A1F2-B83021D7769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7" name="Freeform 899">
                <a:extLst>
                  <a:ext uri="{FF2B5EF4-FFF2-40B4-BE49-F238E27FC236}">
                    <a16:creationId xmlns:a16="http://schemas.microsoft.com/office/drawing/2014/main" id="{598EFE8F-0FD8-427B-9679-CC4893FC91B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2" name="Group 601">
              <a:extLst>
                <a:ext uri="{FF2B5EF4-FFF2-40B4-BE49-F238E27FC236}">
                  <a16:creationId xmlns:a16="http://schemas.microsoft.com/office/drawing/2014/main" id="{35516F11-FB30-4A9A-8241-CCD060A5292A}"/>
                </a:ext>
              </a:extLst>
            </p:cNvPr>
            <p:cNvGrpSpPr/>
            <p:nvPr/>
          </p:nvGrpSpPr>
          <p:grpSpPr>
            <a:xfrm>
              <a:off x="4273726" y="2899166"/>
              <a:ext cx="194195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1002" name="Freeform 894">
                <a:extLst>
                  <a:ext uri="{FF2B5EF4-FFF2-40B4-BE49-F238E27FC236}">
                    <a16:creationId xmlns:a16="http://schemas.microsoft.com/office/drawing/2014/main" id="{FC2DF043-8B55-4604-9810-771B01B53A8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3" name="Freeform 895">
                <a:extLst>
                  <a:ext uri="{FF2B5EF4-FFF2-40B4-BE49-F238E27FC236}">
                    <a16:creationId xmlns:a16="http://schemas.microsoft.com/office/drawing/2014/main" id="{33D5B619-6211-4A14-AED9-CC931D27D97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4" name="Freeform 896">
                <a:extLst>
                  <a:ext uri="{FF2B5EF4-FFF2-40B4-BE49-F238E27FC236}">
                    <a16:creationId xmlns:a16="http://schemas.microsoft.com/office/drawing/2014/main" id="{5A37FA91-47B3-4E81-98DA-1C32B04F5B0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3" name="Group 602">
              <a:extLst>
                <a:ext uri="{FF2B5EF4-FFF2-40B4-BE49-F238E27FC236}">
                  <a16:creationId xmlns:a16="http://schemas.microsoft.com/office/drawing/2014/main" id="{4268B532-16D7-4F70-86B7-8E4486E21326}"/>
                </a:ext>
              </a:extLst>
            </p:cNvPr>
            <p:cNvGrpSpPr/>
            <p:nvPr/>
          </p:nvGrpSpPr>
          <p:grpSpPr>
            <a:xfrm>
              <a:off x="4273440" y="2777140"/>
              <a:ext cx="194195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99" name="Freeform 891">
                <a:extLst>
                  <a:ext uri="{FF2B5EF4-FFF2-40B4-BE49-F238E27FC236}">
                    <a16:creationId xmlns:a16="http://schemas.microsoft.com/office/drawing/2014/main" id="{3CACDB1F-C780-458D-B329-E089D005E2B3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0" name="Freeform 892">
                <a:extLst>
                  <a:ext uri="{FF2B5EF4-FFF2-40B4-BE49-F238E27FC236}">
                    <a16:creationId xmlns:a16="http://schemas.microsoft.com/office/drawing/2014/main" id="{D8F40297-AD1F-47AD-801F-F4FC470C716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1" name="Freeform 893">
                <a:extLst>
                  <a:ext uri="{FF2B5EF4-FFF2-40B4-BE49-F238E27FC236}">
                    <a16:creationId xmlns:a16="http://schemas.microsoft.com/office/drawing/2014/main" id="{8058C4BA-42D2-4D40-9137-88DFB414974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4" name="Group 603">
              <a:extLst>
                <a:ext uri="{FF2B5EF4-FFF2-40B4-BE49-F238E27FC236}">
                  <a16:creationId xmlns:a16="http://schemas.microsoft.com/office/drawing/2014/main" id="{060786CD-9430-4463-BD7A-B377432879FA}"/>
                </a:ext>
              </a:extLst>
            </p:cNvPr>
            <p:cNvGrpSpPr/>
            <p:nvPr/>
          </p:nvGrpSpPr>
          <p:grpSpPr>
            <a:xfrm>
              <a:off x="3879847" y="2486214"/>
              <a:ext cx="194195" cy="207488"/>
              <a:chOff x="6673852" y="2507796"/>
              <a:chExt cx="3493295" cy="3112292"/>
            </a:xfrm>
            <a:solidFill>
              <a:srgbClr val="36848A">
                <a:alpha val="50196"/>
              </a:srgbClr>
            </a:solidFill>
          </p:grpSpPr>
          <p:sp>
            <p:nvSpPr>
              <p:cNvPr id="996" name="Freeform 888">
                <a:extLst>
                  <a:ext uri="{FF2B5EF4-FFF2-40B4-BE49-F238E27FC236}">
                    <a16:creationId xmlns:a16="http://schemas.microsoft.com/office/drawing/2014/main" id="{C19852DF-1730-4DBA-88A3-FF723AB6AEF8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7" name="Freeform 889">
                <a:extLst>
                  <a:ext uri="{FF2B5EF4-FFF2-40B4-BE49-F238E27FC236}">
                    <a16:creationId xmlns:a16="http://schemas.microsoft.com/office/drawing/2014/main" id="{FC862684-415C-4E5C-8A3C-2ADFA3A94A59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8" name="Freeform 890">
                <a:extLst>
                  <a:ext uri="{FF2B5EF4-FFF2-40B4-BE49-F238E27FC236}">
                    <a16:creationId xmlns:a16="http://schemas.microsoft.com/office/drawing/2014/main" id="{07EBFCBA-E9A6-4E41-82F7-2E40392112FE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5" name="Group 604">
              <a:extLst>
                <a:ext uri="{FF2B5EF4-FFF2-40B4-BE49-F238E27FC236}">
                  <a16:creationId xmlns:a16="http://schemas.microsoft.com/office/drawing/2014/main" id="{1836089F-4F35-4E32-9B65-6BEA4D8460D0}"/>
                </a:ext>
              </a:extLst>
            </p:cNvPr>
            <p:cNvGrpSpPr/>
            <p:nvPr/>
          </p:nvGrpSpPr>
          <p:grpSpPr>
            <a:xfrm>
              <a:off x="3976943" y="2528230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93" name="Freeform 885">
                <a:extLst>
                  <a:ext uri="{FF2B5EF4-FFF2-40B4-BE49-F238E27FC236}">
                    <a16:creationId xmlns:a16="http://schemas.microsoft.com/office/drawing/2014/main" id="{21520B72-2860-40F9-AD44-AC5BFD938CE5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4" name="Freeform 886">
                <a:extLst>
                  <a:ext uri="{FF2B5EF4-FFF2-40B4-BE49-F238E27FC236}">
                    <a16:creationId xmlns:a16="http://schemas.microsoft.com/office/drawing/2014/main" id="{44EB347A-C99F-4274-BE2A-F9A036E50B4F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5" name="Freeform 887">
                <a:extLst>
                  <a:ext uri="{FF2B5EF4-FFF2-40B4-BE49-F238E27FC236}">
                    <a16:creationId xmlns:a16="http://schemas.microsoft.com/office/drawing/2014/main" id="{E9CB6982-1C95-47F2-880E-AEE83926997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6" name="Group 605">
              <a:extLst>
                <a:ext uri="{FF2B5EF4-FFF2-40B4-BE49-F238E27FC236}">
                  <a16:creationId xmlns:a16="http://schemas.microsoft.com/office/drawing/2014/main" id="{97A632CC-E742-4ACF-8856-967C0D1B64A6}"/>
                </a:ext>
              </a:extLst>
            </p:cNvPr>
            <p:cNvGrpSpPr/>
            <p:nvPr/>
          </p:nvGrpSpPr>
          <p:grpSpPr>
            <a:xfrm>
              <a:off x="4074041" y="2570247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90" name="Freeform 882">
                <a:extLst>
                  <a:ext uri="{FF2B5EF4-FFF2-40B4-BE49-F238E27FC236}">
                    <a16:creationId xmlns:a16="http://schemas.microsoft.com/office/drawing/2014/main" id="{65BA96BA-D035-4519-B2DE-AB8E040BC088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1" name="Freeform 883">
                <a:extLst>
                  <a:ext uri="{FF2B5EF4-FFF2-40B4-BE49-F238E27FC236}">
                    <a16:creationId xmlns:a16="http://schemas.microsoft.com/office/drawing/2014/main" id="{A1BB6B37-6100-4375-952F-3C5F700ED7F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2" name="Freeform 884">
                <a:extLst>
                  <a:ext uri="{FF2B5EF4-FFF2-40B4-BE49-F238E27FC236}">
                    <a16:creationId xmlns:a16="http://schemas.microsoft.com/office/drawing/2014/main" id="{6ED0F911-FDCD-4F15-8ACB-4440C4441B50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7" name="Group 606">
              <a:extLst>
                <a:ext uri="{FF2B5EF4-FFF2-40B4-BE49-F238E27FC236}">
                  <a16:creationId xmlns:a16="http://schemas.microsoft.com/office/drawing/2014/main" id="{6B823F40-3FAF-46D7-87A9-5FF340911FAD}"/>
                </a:ext>
              </a:extLst>
            </p:cNvPr>
            <p:cNvGrpSpPr/>
            <p:nvPr/>
          </p:nvGrpSpPr>
          <p:grpSpPr>
            <a:xfrm>
              <a:off x="4172611" y="2612507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87" name="Freeform 879">
                <a:extLst>
                  <a:ext uri="{FF2B5EF4-FFF2-40B4-BE49-F238E27FC236}">
                    <a16:creationId xmlns:a16="http://schemas.microsoft.com/office/drawing/2014/main" id="{4280F684-A644-4A2B-BD70-D65A15C5E563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8" name="Freeform 880">
                <a:extLst>
                  <a:ext uri="{FF2B5EF4-FFF2-40B4-BE49-F238E27FC236}">
                    <a16:creationId xmlns:a16="http://schemas.microsoft.com/office/drawing/2014/main" id="{79DF7D9E-55B2-4EE9-BD34-D76C67455D34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9" name="Freeform 881">
                <a:extLst>
                  <a:ext uri="{FF2B5EF4-FFF2-40B4-BE49-F238E27FC236}">
                    <a16:creationId xmlns:a16="http://schemas.microsoft.com/office/drawing/2014/main" id="{FCAF8721-2628-4B37-80B7-821B25CCC44F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8" name="Group 607">
              <a:extLst>
                <a:ext uri="{FF2B5EF4-FFF2-40B4-BE49-F238E27FC236}">
                  <a16:creationId xmlns:a16="http://schemas.microsoft.com/office/drawing/2014/main" id="{DBD1135A-CBE0-418A-A0A5-A2DB49B252CF}"/>
                </a:ext>
              </a:extLst>
            </p:cNvPr>
            <p:cNvGrpSpPr/>
            <p:nvPr/>
          </p:nvGrpSpPr>
          <p:grpSpPr>
            <a:xfrm>
              <a:off x="4271841" y="2656617"/>
              <a:ext cx="194195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84" name="Freeform 876">
                <a:extLst>
                  <a:ext uri="{FF2B5EF4-FFF2-40B4-BE49-F238E27FC236}">
                    <a16:creationId xmlns:a16="http://schemas.microsoft.com/office/drawing/2014/main" id="{9A712033-18B2-45B9-A85C-BB5E5276F47F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5" name="Freeform 877">
                <a:extLst>
                  <a:ext uri="{FF2B5EF4-FFF2-40B4-BE49-F238E27FC236}">
                    <a16:creationId xmlns:a16="http://schemas.microsoft.com/office/drawing/2014/main" id="{CEAB1C4B-CC57-4377-9E10-848970B2F07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6" name="Freeform 878">
                <a:extLst>
                  <a:ext uri="{FF2B5EF4-FFF2-40B4-BE49-F238E27FC236}">
                    <a16:creationId xmlns:a16="http://schemas.microsoft.com/office/drawing/2014/main" id="{0FB951CA-1F76-4A1E-9F35-32686CD9E98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09" name="Group 608">
              <a:extLst>
                <a:ext uri="{FF2B5EF4-FFF2-40B4-BE49-F238E27FC236}">
                  <a16:creationId xmlns:a16="http://schemas.microsoft.com/office/drawing/2014/main" id="{462062AA-DC67-43C0-A047-04F62DCD0BD3}"/>
                </a:ext>
              </a:extLst>
            </p:cNvPr>
            <p:cNvGrpSpPr/>
            <p:nvPr/>
          </p:nvGrpSpPr>
          <p:grpSpPr>
            <a:xfrm>
              <a:off x="3790100" y="3016096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981" name="Freeform 1049">
                <a:extLst>
                  <a:ext uri="{FF2B5EF4-FFF2-40B4-BE49-F238E27FC236}">
                    <a16:creationId xmlns:a16="http://schemas.microsoft.com/office/drawing/2014/main" id="{B0747DFA-9338-4B4B-AA35-CE2E12BFEF9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2" name="Freeform 1050">
                <a:extLst>
                  <a:ext uri="{FF2B5EF4-FFF2-40B4-BE49-F238E27FC236}">
                    <a16:creationId xmlns:a16="http://schemas.microsoft.com/office/drawing/2014/main" id="{91BA7715-6962-4660-9BA4-C4993B9C2DBC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3" name="Freeform 1051">
                <a:extLst>
                  <a:ext uri="{FF2B5EF4-FFF2-40B4-BE49-F238E27FC236}">
                    <a16:creationId xmlns:a16="http://schemas.microsoft.com/office/drawing/2014/main" id="{002DD602-97B3-4635-B44F-ABC72A314254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0" name="Group 609">
              <a:extLst>
                <a:ext uri="{FF2B5EF4-FFF2-40B4-BE49-F238E27FC236}">
                  <a16:creationId xmlns:a16="http://schemas.microsoft.com/office/drawing/2014/main" id="{63AA011E-6C03-41E7-B093-9B97202BD13B}"/>
                </a:ext>
              </a:extLst>
            </p:cNvPr>
            <p:cNvGrpSpPr/>
            <p:nvPr/>
          </p:nvGrpSpPr>
          <p:grpSpPr>
            <a:xfrm>
              <a:off x="3887198" y="3058112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978" name="Freeform 1046">
                <a:extLst>
                  <a:ext uri="{FF2B5EF4-FFF2-40B4-BE49-F238E27FC236}">
                    <a16:creationId xmlns:a16="http://schemas.microsoft.com/office/drawing/2014/main" id="{6A6CC8CF-7AC9-4DE3-A723-52CB7D1C0E1E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9" name="Freeform 1047">
                <a:extLst>
                  <a:ext uri="{FF2B5EF4-FFF2-40B4-BE49-F238E27FC236}">
                    <a16:creationId xmlns:a16="http://schemas.microsoft.com/office/drawing/2014/main" id="{DEF591F5-C3E4-40AB-B0BA-6844F7891B06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0" name="Freeform 1048">
                <a:extLst>
                  <a:ext uri="{FF2B5EF4-FFF2-40B4-BE49-F238E27FC236}">
                    <a16:creationId xmlns:a16="http://schemas.microsoft.com/office/drawing/2014/main" id="{5D2A1516-DF39-44CA-8DAA-8742BE4F7E52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1" name="Group 610">
              <a:extLst>
                <a:ext uri="{FF2B5EF4-FFF2-40B4-BE49-F238E27FC236}">
                  <a16:creationId xmlns:a16="http://schemas.microsoft.com/office/drawing/2014/main" id="{EFC1CF26-BA5B-4D64-9034-69D3394DC6BC}"/>
                </a:ext>
              </a:extLst>
            </p:cNvPr>
            <p:cNvGrpSpPr/>
            <p:nvPr/>
          </p:nvGrpSpPr>
          <p:grpSpPr>
            <a:xfrm>
              <a:off x="3984295" y="3100129"/>
              <a:ext cx="194194" cy="207487"/>
              <a:chOff x="6673854" y="2507796"/>
              <a:chExt cx="3493293" cy="3112296"/>
            </a:xfrm>
            <a:solidFill>
              <a:srgbClr val="2785BA">
                <a:alpha val="49804"/>
              </a:srgbClr>
            </a:solidFill>
          </p:grpSpPr>
          <p:sp>
            <p:nvSpPr>
              <p:cNvPr id="975" name="Freeform 1043">
                <a:extLst>
                  <a:ext uri="{FF2B5EF4-FFF2-40B4-BE49-F238E27FC236}">
                    <a16:creationId xmlns:a16="http://schemas.microsoft.com/office/drawing/2014/main" id="{880AADD3-801C-4FD2-9C37-1FD17062B5DA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6" name="Freeform 1044">
                <a:extLst>
                  <a:ext uri="{FF2B5EF4-FFF2-40B4-BE49-F238E27FC236}">
                    <a16:creationId xmlns:a16="http://schemas.microsoft.com/office/drawing/2014/main" id="{907929C9-5394-43F4-8684-0B3AB02F6DC5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7" name="Freeform 1045">
                <a:extLst>
                  <a:ext uri="{FF2B5EF4-FFF2-40B4-BE49-F238E27FC236}">
                    <a16:creationId xmlns:a16="http://schemas.microsoft.com/office/drawing/2014/main" id="{3AFD068D-6804-4D92-B308-89BF7C57C55C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2" name="Group 611">
              <a:extLst>
                <a:ext uri="{FF2B5EF4-FFF2-40B4-BE49-F238E27FC236}">
                  <a16:creationId xmlns:a16="http://schemas.microsoft.com/office/drawing/2014/main" id="{3C687DA9-084D-46F8-ADD6-57AAAAA95E3A}"/>
                </a:ext>
              </a:extLst>
            </p:cNvPr>
            <p:cNvGrpSpPr/>
            <p:nvPr/>
          </p:nvGrpSpPr>
          <p:grpSpPr>
            <a:xfrm>
              <a:off x="3790100" y="2893382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972" name="Freeform 1040">
                <a:extLst>
                  <a:ext uri="{FF2B5EF4-FFF2-40B4-BE49-F238E27FC236}">
                    <a16:creationId xmlns:a16="http://schemas.microsoft.com/office/drawing/2014/main" id="{BB17FA87-B4A3-435F-A60D-3661CCCB8A9B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3" name="Freeform 1041">
                <a:extLst>
                  <a:ext uri="{FF2B5EF4-FFF2-40B4-BE49-F238E27FC236}">
                    <a16:creationId xmlns:a16="http://schemas.microsoft.com/office/drawing/2014/main" id="{32561EC1-0F25-4ABE-B0AA-7E49B650E739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4" name="Freeform 1042">
                <a:extLst>
                  <a:ext uri="{FF2B5EF4-FFF2-40B4-BE49-F238E27FC236}">
                    <a16:creationId xmlns:a16="http://schemas.microsoft.com/office/drawing/2014/main" id="{5E725ADD-FE9C-45D8-B767-770B11599E9E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3" name="Group 612">
              <a:extLst>
                <a:ext uri="{FF2B5EF4-FFF2-40B4-BE49-F238E27FC236}">
                  <a16:creationId xmlns:a16="http://schemas.microsoft.com/office/drawing/2014/main" id="{E2D0A292-32D7-43F5-94A9-9BEF2DD9C29D}"/>
                </a:ext>
              </a:extLst>
            </p:cNvPr>
            <p:cNvGrpSpPr/>
            <p:nvPr/>
          </p:nvGrpSpPr>
          <p:grpSpPr>
            <a:xfrm>
              <a:off x="3887198" y="2935398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969" name="Freeform 1037">
                <a:extLst>
                  <a:ext uri="{FF2B5EF4-FFF2-40B4-BE49-F238E27FC236}">
                    <a16:creationId xmlns:a16="http://schemas.microsoft.com/office/drawing/2014/main" id="{3953EAE4-A805-4D22-BCDE-88DEB04ADDB6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0" name="Freeform 1038">
                <a:extLst>
                  <a:ext uri="{FF2B5EF4-FFF2-40B4-BE49-F238E27FC236}">
                    <a16:creationId xmlns:a16="http://schemas.microsoft.com/office/drawing/2014/main" id="{1672BEC1-451F-4395-A9D9-1BD2D6160870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1" name="Freeform 1039">
                <a:extLst>
                  <a:ext uri="{FF2B5EF4-FFF2-40B4-BE49-F238E27FC236}">
                    <a16:creationId xmlns:a16="http://schemas.microsoft.com/office/drawing/2014/main" id="{6F74D6BC-91E3-416E-8EA2-1EDA647C9473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4" name="Group 613">
              <a:extLst>
                <a:ext uri="{FF2B5EF4-FFF2-40B4-BE49-F238E27FC236}">
                  <a16:creationId xmlns:a16="http://schemas.microsoft.com/office/drawing/2014/main" id="{6EA3B770-6E64-4304-835F-2B22E69F4ECE}"/>
                </a:ext>
              </a:extLst>
            </p:cNvPr>
            <p:cNvGrpSpPr/>
            <p:nvPr/>
          </p:nvGrpSpPr>
          <p:grpSpPr>
            <a:xfrm>
              <a:off x="3984295" y="2977415"/>
              <a:ext cx="194194" cy="207487"/>
              <a:chOff x="6673854" y="2507796"/>
              <a:chExt cx="3493293" cy="3112296"/>
            </a:xfrm>
            <a:solidFill>
              <a:srgbClr val="2785BA">
                <a:alpha val="49804"/>
              </a:srgbClr>
            </a:solidFill>
          </p:grpSpPr>
          <p:sp>
            <p:nvSpPr>
              <p:cNvPr id="966" name="Freeform 1034">
                <a:extLst>
                  <a:ext uri="{FF2B5EF4-FFF2-40B4-BE49-F238E27FC236}">
                    <a16:creationId xmlns:a16="http://schemas.microsoft.com/office/drawing/2014/main" id="{E4C3326B-5D9B-47D8-A0EF-85135F2840F4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7" name="Freeform 1035">
                <a:extLst>
                  <a:ext uri="{FF2B5EF4-FFF2-40B4-BE49-F238E27FC236}">
                    <a16:creationId xmlns:a16="http://schemas.microsoft.com/office/drawing/2014/main" id="{B420FE08-4390-4762-93D6-8C90451221DA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8" name="Freeform 1036">
                <a:extLst>
                  <a:ext uri="{FF2B5EF4-FFF2-40B4-BE49-F238E27FC236}">
                    <a16:creationId xmlns:a16="http://schemas.microsoft.com/office/drawing/2014/main" id="{1A9C4336-5C59-46E3-A295-5D7ADFDC002C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5" name="Group 614">
              <a:extLst>
                <a:ext uri="{FF2B5EF4-FFF2-40B4-BE49-F238E27FC236}">
                  <a16:creationId xmlns:a16="http://schemas.microsoft.com/office/drawing/2014/main" id="{B68B0536-3C60-4715-B34C-3C168820987C}"/>
                </a:ext>
              </a:extLst>
            </p:cNvPr>
            <p:cNvGrpSpPr/>
            <p:nvPr/>
          </p:nvGrpSpPr>
          <p:grpSpPr>
            <a:xfrm>
              <a:off x="3790100" y="2770668"/>
              <a:ext cx="194194" cy="207487"/>
              <a:chOff x="6673852" y="2507796"/>
              <a:chExt cx="3493295" cy="3112291"/>
            </a:xfrm>
            <a:solidFill>
              <a:srgbClr val="7F7BD4">
                <a:alpha val="50196"/>
              </a:srgbClr>
            </a:solidFill>
          </p:grpSpPr>
          <p:sp>
            <p:nvSpPr>
              <p:cNvPr id="963" name="Freeform 1031">
                <a:extLst>
                  <a:ext uri="{FF2B5EF4-FFF2-40B4-BE49-F238E27FC236}">
                    <a16:creationId xmlns:a16="http://schemas.microsoft.com/office/drawing/2014/main" id="{CC57E31E-0489-4ECE-B8DD-D3CF4714DC4A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4" name="Freeform 1032">
                <a:extLst>
                  <a:ext uri="{FF2B5EF4-FFF2-40B4-BE49-F238E27FC236}">
                    <a16:creationId xmlns:a16="http://schemas.microsoft.com/office/drawing/2014/main" id="{3445B585-B99D-4D65-AC05-020697D19E68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5" name="Freeform 1033">
                <a:extLst>
                  <a:ext uri="{FF2B5EF4-FFF2-40B4-BE49-F238E27FC236}">
                    <a16:creationId xmlns:a16="http://schemas.microsoft.com/office/drawing/2014/main" id="{5B2F9543-F9EB-43E2-9CF0-A117F1BC518A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6" name="Group 615">
              <a:extLst>
                <a:ext uri="{FF2B5EF4-FFF2-40B4-BE49-F238E27FC236}">
                  <a16:creationId xmlns:a16="http://schemas.microsoft.com/office/drawing/2014/main" id="{15E26F18-4E74-443A-86A3-A67F2CB96C44}"/>
                </a:ext>
              </a:extLst>
            </p:cNvPr>
            <p:cNvGrpSpPr/>
            <p:nvPr/>
          </p:nvGrpSpPr>
          <p:grpSpPr>
            <a:xfrm>
              <a:off x="3887198" y="2812684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960" name="Freeform 1028">
                <a:extLst>
                  <a:ext uri="{FF2B5EF4-FFF2-40B4-BE49-F238E27FC236}">
                    <a16:creationId xmlns:a16="http://schemas.microsoft.com/office/drawing/2014/main" id="{070A26CE-9A6E-46AF-9B85-BA4BFF69599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1" name="Freeform 1029">
                <a:extLst>
                  <a:ext uri="{FF2B5EF4-FFF2-40B4-BE49-F238E27FC236}">
                    <a16:creationId xmlns:a16="http://schemas.microsoft.com/office/drawing/2014/main" id="{541B939D-BC4D-4932-B784-909C1A235CAB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2" name="Freeform 1030">
                <a:extLst>
                  <a:ext uri="{FF2B5EF4-FFF2-40B4-BE49-F238E27FC236}">
                    <a16:creationId xmlns:a16="http://schemas.microsoft.com/office/drawing/2014/main" id="{E1ED6A1B-C671-4C98-93DF-5B63DA7D1AEE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7" name="Group 616">
              <a:extLst>
                <a:ext uri="{FF2B5EF4-FFF2-40B4-BE49-F238E27FC236}">
                  <a16:creationId xmlns:a16="http://schemas.microsoft.com/office/drawing/2014/main" id="{57FFF868-2608-4E6D-84EE-59DBF0DDBC8C}"/>
                </a:ext>
              </a:extLst>
            </p:cNvPr>
            <p:cNvGrpSpPr/>
            <p:nvPr/>
          </p:nvGrpSpPr>
          <p:grpSpPr>
            <a:xfrm>
              <a:off x="3984295" y="2854700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957" name="Freeform 1025">
                <a:extLst>
                  <a:ext uri="{FF2B5EF4-FFF2-40B4-BE49-F238E27FC236}">
                    <a16:creationId xmlns:a16="http://schemas.microsoft.com/office/drawing/2014/main" id="{7887E4C1-2E3B-4A76-BAFA-3E051C4E0CFF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8" name="Freeform 1026">
                <a:extLst>
                  <a:ext uri="{FF2B5EF4-FFF2-40B4-BE49-F238E27FC236}">
                    <a16:creationId xmlns:a16="http://schemas.microsoft.com/office/drawing/2014/main" id="{F6E68C9C-6691-4C51-A45E-C79CD63B404C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9" name="Freeform 1027">
                <a:extLst>
                  <a:ext uri="{FF2B5EF4-FFF2-40B4-BE49-F238E27FC236}">
                    <a16:creationId xmlns:a16="http://schemas.microsoft.com/office/drawing/2014/main" id="{78393D7D-4D27-47BA-ADCC-94C4E95090F4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8" name="Group 617">
              <a:extLst>
                <a:ext uri="{FF2B5EF4-FFF2-40B4-BE49-F238E27FC236}">
                  <a16:creationId xmlns:a16="http://schemas.microsoft.com/office/drawing/2014/main" id="{4A8262BE-6CDD-4886-AC91-914ADDC83578}"/>
                </a:ext>
              </a:extLst>
            </p:cNvPr>
            <p:cNvGrpSpPr/>
            <p:nvPr/>
          </p:nvGrpSpPr>
          <p:grpSpPr>
            <a:xfrm>
              <a:off x="3789814" y="2648640"/>
              <a:ext cx="194195" cy="207488"/>
              <a:chOff x="6673852" y="2507796"/>
              <a:chExt cx="3493295" cy="3112292"/>
            </a:xfrm>
            <a:solidFill>
              <a:srgbClr val="36848A">
                <a:alpha val="50196"/>
              </a:srgbClr>
            </a:solidFill>
          </p:grpSpPr>
          <p:sp>
            <p:nvSpPr>
              <p:cNvPr id="954" name="Freeform 1022">
                <a:extLst>
                  <a:ext uri="{FF2B5EF4-FFF2-40B4-BE49-F238E27FC236}">
                    <a16:creationId xmlns:a16="http://schemas.microsoft.com/office/drawing/2014/main" id="{043FFD0D-9809-4A97-A892-FA8D1661D8B6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5" name="Freeform 1023">
                <a:extLst>
                  <a:ext uri="{FF2B5EF4-FFF2-40B4-BE49-F238E27FC236}">
                    <a16:creationId xmlns:a16="http://schemas.microsoft.com/office/drawing/2014/main" id="{725C198F-33D5-41F8-9481-ED5005680C24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6" name="Freeform 1024">
                <a:extLst>
                  <a:ext uri="{FF2B5EF4-FFF2-40B4-BE49-F238E27FC236}">
                    <a16:creationId xmlns:a16="http://schemas.microsoft.com/office/drawing/2014/main" id="{EED04000-E4A4-4D9E-BF30-1563BB395771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9" name="Group 618">
              <a:extLst>
                <a:ext uri="{FF2B5EF4-FFF2-40B4-BE49-F238E27FC236}">
                  <a16:creationId xmlns:a16="http://schemas.microsoft.com/office/drawing/2014/main" id="{B57A7FEF-0E22-4DA5-9C3E-58E722C09224}"/>
                </a:ext>
              </a:extLst>
            </p:cNvPr>
            <p:cNvGrpSpPr/>
            <p:nvPr/>
          </p:nvGrpSpPr>
          <p:grpSpPr>
            <a:xfrm>
              <a:off x="3886910" y="2690656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51" name="Freeform 1019">
                <a:extLst>
                  <a:ext uri="{FF2B5EF4-FFF2-40B4-BE49-F238E27FC236}">
                    <a16:creationId xmlns:a16="http://schemas.microsoft.com/office/drawing/2014/main" id="{6274BEC2-D0E8-4687-A492-AA1DE0AAA60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2" name="Freeform 1020">
                <a:extLst>
                  <a:ext uri="{FF2B5EF4-FFF2-40B4-BE49-F238E27FC236}">
                    <a16:creationId xmlns:a16="http://schemas.microsoft.com/office/drawing/2014/main" id="{1451BB60-210A-49C9-9C71-5437034F62D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3" name="Freeform 1021">
                <a:extLst>
                  <a:ext uri="{FF2B5EF4-FFF2-40B4-BE49-F238E27FC236}">
                    <a16:creationId xmlns:a16="http://schemas.microsoft.com/office/drawing/2014/main" id="{4714B8B9-35EF-4DE5-9428-681FE92E184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0" name="Group 619">
              <a:extLst>
                <a:ext uri="{FF2B5EF4-FFF2-40B4-BE49-F238E27FC236}">
                  <a16:creationId xmlns:a16="http://schemas.microsoft.com/office/drawing/2014/main" id="{6615C536-AF44-4056-97AC-34063E6F3BBE}"/>
                </a:ext>
              </a:extLst>
            </p:cNvPr>
            <p:cNvGrpSpPr/>
            <p:nvPr/>
          </p:nvGrpSpPr>
          <p:grpSpPr>
            <a:xfrm>
              <a:off x="3984007" y="2732673"/>
              <a:ext cx="194194" cy="207488"/>
              <a:chOff x="6673854" y="2507796"/>
              <a:chExt cx="3493293" cy="3112295"/>
            </a:xfrm>
            <a:solidFill>
              <a:srgbClr val="7F7BD4">
                <a:alpha val="50196"/>
              </a:srgbClr>
            </a:solidFill>
          </p:grpSpPr>
          <p:sp>
            <p:nvSpPr>
              <p:cNvPr id="948" name="Freeform 1016">
                <a:extLst>
                  <a:ext uri="{FF2B5EF4-FFF2-40B4-BE49-F238E27FC236}">
                    <a16:creationId xmlns:a16="http://schemas.microsoft.com/office/drawing/2014/main" id="{45EE2E8B-C4F1-4B68-992F-2AB920B5B16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9" name="Freeform 1017">
                <a:extLst>
                  <a:ext uri="{FF2B5EF4-FFF2-40B4-BE49-F238E27FC236}">
                    <a16:creationId xmlns:a16="http://schemas.microsoft.com/office/drawing/2014/main" id="{9F0C5811-7BEA-432F-8B57-3849012E5E7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0" name="Freeform 1018">
                <a:extLst>
                  <a:ext uri="{FF2B5EF4-FFF2-40B4-BE49-F238E27FC236}">
                    <a16:creationId xmlns:a16="http://schemas.microsoft.com/office/drawing/2014/main" id="{AF7C3DD3-396C-457E-B40F-1D3C77FC0B0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1" name="Group 620">
              <a:extLst>
                <a:ext uri="{FF2B5EF4-FFF2-40B4-BE49-F238E27FC236}">
                  <a16:creationId xmlns:a16="http://schemas.microsoft.com/office/drawing/2014/main" id="{FCB97483-235F-4D01-8BF1-5AC8B8CFB3BD}"/>
                </a:ext>
              </a:extLst>
            </p:cNvPr>
            <p:cNvGrpSpPr/>
            <p:nvPr/>
          </p:nvGrpSpPr>
          <p:grpSpPr>
            <a:xfrm>
              <a:off x="4082864" y="3142389"/>
              <a:ext cx="194194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945" name="Freeform 1013">
                <a:extLst>
                  <a:ext uri="{FF2B5EF4-FFF2-40B4-BE49-F238E27FC236}">
                    <a16:creationId xmlns:a16="http://schemas.microsoft.com/office/drawing/2014/main" id="{A6129813-069E-4059-9D9A-C7759917D86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6" name="Freeform 1014">
                <a:extLst>
                  <a:ext uri="{FF2B5EF4-FFF2-40B4-BE49-F238E27FC236}">
                    <a16:creationId xmlns:a16="http://schemas.microsoft.com/office/drawing/2014/main" id="{A839224F-9232-4EB3-985A-8B8FB86CDBF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7" name="Freeform 1015">
                <a:extLst>
                  <a:ext uri="{FF2B5EF4-FFF2-40B4-BE49-F238E27FC236}">
                    <a16:creationId xmlns:a16="http://schemas.microsoft.com/office/drawing/2014/main" id="{82D3A977-E17A-49A9-9AB7-8FA2807DECD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2" name="Group 621">
              <a:extLst>
                <a:ext uri="{FF2B5EF4-FFF2-40B4-BE49-F238E27FC236}">
                  <a16:creationId xmlns:a16="http://schemas.microsoft.com/office/drawing/2014/main" id="{BC0246AB-F4F7-4930-9255-ABFA7A27B3BA}"/>
                </a:ext>
              </a:extLst>
            </p:cNvPr>
            <p:cNvGrpSpPr/>
            <p:nvPr/>
          </p:nvGrpSpPr>
          <p:grpSpPr>
            <a:xfrm>
              <a:off x="4082864" y="3019675"/>
              <a:ext cx="194194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942" name="Freeform 1010">
                <a:extLst>
                  <a:ext uri="{FF2B5EF4-FFF2-40B4-BE49-F238E27FC236}">
                    <a16:creationId xmlns:a16="http://schemas.microsoft.com/office/drawing/2014/main" id="{6091D32B-7DDC-4E2A-AF34-B0768A5C9C4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3" name="Freeform 1011">
                <a:extLst>
                  <a:ext uri="{FF2B5EF4-FFF2-40B4-BE49-F238E27FC236}">
                    <a16:creationId xmlns:a16="http://schemas.microsoft.com/office/drawing/2014/main" id="{B88A8B30-07DF-4A2E-B985-1F433952F7D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4" name="Freeform 1012">
                <a:extLst>
                  <a:ext uri="{FF2B5EF4-FFF2-40B4-BE49-F238E27FC236}">
                    <a16:creationId xmlns:a16="http://schemas.microsoft.com/office/drawing/2014/main" id="{27A5DA48-B112-4167-B178-59AEDACFF5C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3" name="Group 622">
              <a:extLst>
                <a:ext uri="{FF2B5EF4-FFF2-40B4-BE49-F238E27FC236}">
                  <a16:creationId xmlns:a16="http://schemas.microsoft.com/office/drawing/2014/main" id="{545B452A-9FBA-441E-A773-D0B51E8896C2}"/>
                </a:ext>
              </a:extLst>
            </p:cNvPr>
            <p:cNvGrpSpPr/>
            <p:nvPr/>
          </p:nvGrpSpPr>
          <p:grpSpPr>
            <a:xfrm>
              <a:off x="4082864" y="2896960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39" name="Freeform 1007">
                <a:extLst>
                  <a:ext uri="{FF2B5EF4-FFF2-40B4-BE49-F238E27FC236}">
                    <a16:creationId xmlns:a16="http://schemas.microsoft.com/office/drawing/2014/main" id="{9E0F9AD6-04BD-43C9-B453-FD5B8B6EDF8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0" name="Freeform 1008">
                <a:extLst>
                  <a:ext uri="{FF2B5EF4-FFF2-40B4-BE49-F238E27FC236}">
                    <a16:creationId xmlns:a16="http://schemas.microsoft.com/office/drawing/2014/main" id="{00E53883-374D-45A9-B039-E8AA6096AAE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1" name="Freeform 1009">
                <a:extLst>
                  <a:ext uri="{FF2B5EF4-FFF2-40B4-BE49-F238E27FC236}">
                    <a16:creationId xmlns:a16="http://schemas.microsoft.com/office/drawing/2014/main" id="{2766BAF5-AFA7-4F66-9AF5-D5687FF4BE9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4" name="Group 623">
              <a:extLst>
                <a:ext uri="{FF2B5EF4-FFF2-40B4-BE49-F238E27FC236}">
                  <a16:creationId xmlns:a16="http://schemas.microsoft.com/office/drawing/2014/main" id="{087849EF-5192-4271-B0C3-5FD02F9DEDEA}"/>
                </a:ext>
              </a:extLst>
            </p:cNvPr>
            <p:cNvGrpSpPr/>
            <p:nvPr/>
          </p:nvGrpSpPr>
          <p:grpSpPr>
            <a:xfrm>
              <a:off x="4082578" y="2774933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36" name="Freeform 1004">
                <a:extLst>
                  <a:ext uri="{FF2B5EF4-FFF2-40B4-BE49-F238E27FC236}">
                    <a16:creationId xmlns:a16="http://schemas.microsoft.com/office/drawing/2014/main" id="{6A91443E-F64D-4E6C-84AE-18D28D3CE30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7" name="Freeform 1005">
                <a:extLst>
                  <a:ext uri="{FF2B5EF4-FFF2-40B4-BE49-F238E27FC236}">
                    <a16:creationId xmlns:a16="http://schemas.microsoft.com/office/drawing/2014/main" id="{8C109989-C37D-490C-AB41-E11ACDA91A6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8" name="Freeform 1006">
                <a:extLst>
                  <a:ext uri="{FF2B5EF4-FFF2-40B4-BE49-F238E27FC236}">
                    <a16:creationId xmlns:a16="http://schemas.microsoft.com/office/drawing/2014/main" id="{11A21EC0-85C8-46EC-9B21-B2FCF94CEB51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5" name="Group 624">
              <a:extLst>
                <a:ext uri="{FF2B5EF4-FFF2-40B4-BE49-F238E27FC236}">
                  <a16:creationId xmlns:a16="http://schemas.microsoft.com/office/drawing/2014/main" id="{C69C3CA5-90EF-405B-95E8-CB00D0C2A1D0}"/>
                </a:ext>
              </a:extLst>
            </p:cNvPr>
            <p:cNvGrpSpPr/>
            <p:nvPr/>
          </p:nvGrpSpPr>
          <p:grpSpPr>
            <a:xfrm>
              <a:off x="4182094" y="3186500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933" name="Freeform 1001">
                <a:extLst>
                  <a:ext uri="{FF2B5EF4-FFF2-40B4-BE49-F238E27FC236}">
                    <a16:creationId xmlns:a16="http://schemas.microsoft.com/office/drawing/2014/main" id="{E5CFAE0C-0261-448C-9B1E-7673689F6FC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4" name="Freeform 1002">
                <a:extLst>
                  <a:ext uri="{FF2B5EF4-FFF2-40B4-BE49-F238E27FC236}">
                    <a16:creationId xmlns:a16="http://schemas.microsoft.com/office/drawing/2014/main" id="{17A51212-E886-4613-B0E0-A18603E44A14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5" name="Freeform 1003">
                <a:extLst>
                  <a:ext uri="{FF2B5EF4-FFF2-40B4-BE49-F238E27FC236}">
                    <a16:creationId xmlns:a16="http://schemas.microsoft.com/office/drawing/2014/main" id="{68514D46-815F-41AB-B1CE-55D332FD0F60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6" name="Group 625">
              <a:extLst>
                <a:ext uri="{FF2B5EF4-FFF2-40B4-BE49-F238E27FC236}">
                  <a16:creationId xmlns:a16="http://schemas.microsoft.com/office/drawing/2014/main" id="{92A2445C-CB5D-4ED8-9F3E-73D7DF2B01A7}"/>
                </a:ext>
              </a:extLst>
            </p:cNvPr>
            <p:cNvGrpSpPr/>
            <p:nvPr/>
          </p:nvGrpSpPr>
          <p:grpSpPr>
            <a:xfrm>
              <a:off x="4182094" y="3063785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930" name="Freeform 998">
                <a:extLst>
                  <a:ext uri="{FF2B5EF4-FFF2-40B4-BE49-F238E27FC236}">
                    <a16:creationId xmlns:a16="http://schemas.microsoft.com/office/drawing/2014/main" id="{E41F8FD6-6AEA-4A12-9718-84BDDC258405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1" name="Freeform 999">
                <a:extLst>
                  <a:ext uri="{FF2B5EF4-FFF2-40B4-BE49-F238E27FC236}">
                    <a16:creationId xmlns:a16="http://schemas.microsoft.com/office/drawing/2014/main" id="{9F0E55B7-8A62-472C-B376-883CD0DE8EA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2" name="Freeform 1000">
                <a:extLst>
                  <a:ext uri="{FF2B5EF4-FFF2-40B4-BE49-F238E27FC236}">
                    <a16:creationId xmlns:a16="http://schemas.microsoft.com/office/drawing/2014/main" id="{AD3C10D7-3DFA-48E3-B246-37927B7ABF6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7" name="Group 626">
              <a:extLst>
                <a:ext uri="{FF2B5EF4-FFF2-40B4-BE49-F238E27FC236}">
                  <a16:creationId xmlns:a16="http://schemas.microsoft.com/office/drawing/2014/main" id="{2BA81F6C-72A6-4331-B419-608ADEDE0BC4}"/>
                </a:ext>
              </a:extLst>
            </p:cNvPr>
            <p:cNvGrpSpPr/>
            <p:nvPr/>
          </p:nvGrpSpPr>
          <p:grpSpPr>
            <a:xfrm>
              <a:off x="4182094" y="2941070"/>
              <a:ext cx="194195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27" name="Freeform 995">
                <a:extLst>
                  <a:ext uri="{FF2B5EF4-FFF2-40B4-BE49-F238E27FC236}">
                    <a16:creationId xmlns:a16="http://schemas.microsoft.com/office/drawing/2014/main" id="{782FE2B9-D7C8-497A-AA59-E06CF42E60C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8" name="Freeform 996">
                <a:extLst>
                  <a:ext uri="{FF2B5EF4-FFF2-40B4-BE49-F238E27FC236}">
                    <a16:creationId xmlns:a16="http://schemas.microsoft.com/office/drawing/2014/main" id="{220C1CC8-E5C1-4A44-AAA9-AEB24FEB223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9" name="Freeform 997">
                <a:extLst>
                  <a:ext uri="{FF2B5EF4-FFF2-40B4-BE49-F238E27FC236}">
                    <a16:creationId xmlns:a16="http://schemas.microsoft.com/office/drawing/2014/main" id="{4B13967E-1B83-4D20-AF88-34522942160C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8" name="Group 627">
              <a:extLst>
                <a:ext uri="{FF2B5EF4-FFF2-40B4-BE49-F238E27FC236}">
                  <a16:creationId xmlns:a16="http://schemas.microsoft.com/office/drawing/2014/main" id="{47BEDF07-ECC0-42DC-8681-815CBADBCC13}"/>
                </a:ext>
              </a:extLst>
            </p:cNvPr>
            <p:cNvGrpSpPr/>
            <p:nvPr/>
          </p:nvGrpSpPr>
          <p:grpSpPr>
            <a:xfrm>
              <a:off x="4181808" y="2819043"/>
              <a:ext cx="194195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24" name="Freeform 992">
                <a:extLst>
                  <a:ext uri="{FF2B5EF4-FFF2-40B4-BE49-F238E27FC236}">
                    <a16:creationId xmlns:a16="http://schemas.microsoft.com/office/drawing/2014/main" id="{15FFD061-B1E3-4A95-8191-77CC4C37C61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5" name="Freeform 993">
                <a:extLst>
                  <a:ext uri="{FF2B5EF4-FFF2-40B4-BE49-F238E27FC236}">
                    <a16:creationId xmlns:a16="http://schemas.microsoft.com/office/drawing/2014/main" id="{5D56BE7B-B073-4327-B929-ECD7CF8D3BF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6" name="Freeform 994">
                <a:extLst>
                  <a:ext uri="{FF2B5EF4-FFF2-40B4-BE49-F238E27FC236}">
                    <a16:creationId xmlns:a16="http://schemas.microsoft.com/office/drawing/2014/main" id="{5973A8CC-8285-413A-9D29-F97FF15EFA8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29" name="Group 628">
              <a:extLst>
                <a:ext uri="{FF2B5EF4-FFF2-40B4-BE49-F238E27FC236}">
                  <a16:creationId xmlns:a16="http://schemas.microsoft.com/office/drawing/2014/main" id="{749A5525-E481-49B2-B298-43254AD93639}"/>
                </a:ext>
              </a:extLst>
            </p:cNvPr>
            <p:cNvGrpSpPr/>
            <p:nvPr/>
          </p:nvGrpSpPr>
          <p:grpSpPr>
            <a:xfrm>
              <a:off x="3788215" y="2528118"/>
              <a:ext cx="194195" cy="207488"/>
              <a:chOff x="6673852" y="2507796"/>
              <a:chExt cx="3493295" cy="3112292"/>
            </a:xfrm>
            <a:solidFill>
              <a:srgbClr val="36848A">
                <a:alpha val="50196"/>
              </a:srgbClr>
            </a:solidFill>
          </p:grpSpPr>
          <p:sp>
            <p:nvSpPr>
              <p:cNvPr id="921" name="Freeform 989">
                <a:extLst>
                  <a:ext uri="{FF2B5EF4-FFF2-40B4-BE49-F238E27FC236}">
                    <a16:creationId xmlns:a16="http://schemas.microsoft.com/office/drawing/2014/main" id="{02307F33-8687-4A81-8A96-22B18D6BCDFF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2" name="Freeform 990">
                <a:extLst>
                  <a:ext uri="{FF2B5EF4-FFF2-40B4-BE49-F238E27FC236}">
                    <a16:creationId xmlns:a16="http://schemas.microsoft.com/office/drawing/2014/main" id="{202DBB97-B09F-42FF-BD0C-D26361AAC8F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3" name="Freeform 991">
                <a:extLst>
                  <a:ext uri="{FF2B5EF4-FFF2-40B4-BE49-F238E27FC236}">
                    <a16:creationId xmlns:a16="http://schemas.microsoft.com/office/drawing/2014/main" id="{3A09FC76-5268-4D57-9038-2DD2BCA7C06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0" name="Group 629">
              <a:extLst>
                <a:ext uri="{FF2B5EF4-FFF2-40B4-BE49-F238E27FC236}">
                  <a16:creationId xmlns:a16="http://schemas.microsoft.com/office/drawing/2014/main" id="{DF709DD3-BFA4-4CB2-8354-25A6A3D7C927}"/>
                </a:ext>
              </a:extLst>
            </p:cNvPr>
            <p:cNvGrpSpPr/>
            <p:nvPr/>
          </p:nvGrpSpPr>
          <p:grpSpPr>
            <a:xfrm>
              <a:off x="3885311" y="2570134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18" name="Freeform 986">
                <a:extLst>
                  <a:ext uri="{FF2B5EF4-FFF2-40B4-BE49-F238E27FC236}">
                    <a16:creationId xmlns:a16="http://schemas.microsoft.com/office/drawing/2014/main" id="{A83A95EA-756F-43B7-85CF-397833FCC76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9" name="Freeform 987">
                <a:extLst>
                  <a:ext uri="{FF2B5EF4-FFF2-40B4-BE49-F238E27FC236}">
                    <a16:creationId xmlns:a16="http://schemas.microsoft.com/office/drawing/2014/main" id="{99BE78C3-3EDF-42C5-AA6D-92F0ADED63C9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0" name="Freeform 988">
                <a:extLst>
                  <a:ext uri="{FF2B5EF4-FFF2-40B4-BE49-F238E27FC236}">
                    <a16:creationId xmlns:a16="http://schemas.microsoft.com/office/drawing/2014/main" id="{257B7BAA-5041-4ABB-897A-E8B27C5B12B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8BC9CF83-2660-4CF9-A492-BB6B8275EBAC}"/>
                </a:ext>
              </a:extLst>
            </p:cNvPr>
            <p:cNvGrpSpPr/>
            <p:nvPr/>
          </p:nvGrpSpPr>
          <p:grpSpPr>
            <a:xfrm>
              <a:off x="3982409" y="2612151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15" name="Freeform 983">
                <a:extLst>
                  <a:ext uri="{FF2B5EF4-FFF2-40B4-BE49-F238E27FC236}">
                    <a16:creationId xmlns:a16="http://schemas.microsoft.com/office/drawing/2014/main" id="{72CDF3C2-BE0A-4558-AAD9-FF39F349A819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6" name="Freeform 984">
                <a:extLst>
                  <a:ext uri="{FF2B5EF4-FFF2-40B4-BE49-F238E27FC236}">
                    <a16:creationId xmlns:a16="http://schemas.microsoft.com/office/drawing/2014/main" id="{98ECC4A8-6ED3-4EA0-9523-C800AB1F755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7" name="Freeform 985">
                <a:extLst>
                  <a:ext uri="{FF2B5EF4-FFF2-40B4-BE49-F238E27FC236}">
                    <a16:creationId xmlns:a16="http://schemas.microsoft.com/office/drawing/2014/main" id="{20F957AA-EC05-421A-A2F9-D788B1E4C1E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2" name="Group 631">
              <a:extLst>
                <a:ext uri="{FF2B5EF4-FFF2-40B4-BE49-F238E27FC236}">
                  <a16:creationId xmlns:a16="http://schemas.microsoft.com/office/drawing/2014/main" id="{521EA19F-BD37-48F7-8E7E-F4CE5C3BD541}"/>
                </a:ext>
              </a:extLst>
            </p:cNvPr>
            <p:cNvGrpSpPr/>
            <p:nvPr/>
          </p:nvGrpSpPr>
          <p:grpSpPr>
            <a:xfrm>
              <a:off x="4080979" y="2654411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12" name="Freeform 980">
                <a:extLst>
                  <a:ext uri="{FF2B5EF4-FFF2-40B4-BE49-F238E27FC236}">
                    <a16:creationId xmlns:a16="http://schemas.microsoft.com/office/drawing/2014/main" id="{51BDD7F0-B131-4862-AEC3-3424F10483B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3" name="Freeform 981">
                <a:extLst>
                  <a:ext uri="{FF2B5EF4-FFF2-40B4-BE49-F238E27FC236}">
                    <a16:creationId xmlns:a16="http://schemas.microsoft.com/office/drawing/2014/main" id="{E8C23090-79B1-423F-A5BD-A00013F5582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4" name="Freeform 982">
                <a:extLst>
                  <a:ext uri="{FF2B5EF4-FFF2-40B4-BE49-F238E27FC236}">
                    <a16:creationId xmlns:a16="http://schemas.microsoft.com/office/drawing/2014/main" id="{82A460E8-9BB8-433B-932D-E14BF6BE37BE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3" name="Group 632">
              <a:extLst>
                <a:ext uri="{FF2B5EF4-FFF2-40B4-BE49-F238E27FC236}">
                  <a16:creationId xmlns:a16="http://schemas.microsoft.com/office/drawing/2014/main" id="{06F430ED-9824-4C7E-BDF3-DF34624FB422}"/>
                </a:ext>
              </a:extLst>
            </p:cNvPr>
            <p:cNvGrpSpPr/>
            <p:nvPr/>
          </p:nvGrpSpPr>
          <p:grpSpPr>
            <a:xfrm>
              <a:off x="4180209" y="2698521"/>
              <a:ext cx="194195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909" name="Freeform 977">
                <a:extLst>
                  <a:ext uri="{FF2B5EF4-FFF2-40B4-BE49-F238E27FC236}">
                    <a16:creationId xmlns:a16="http://schemas.microsoft.com/office/drawing/2014/main" id="{A75B1314-C508-42FD-A18B-BE707E49191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0" name="Freeform 978">
                <a:extLst>
                  <a:ext uri="{FF2B5EF4-FFF2-40B4-BE49-F238E27FC236}">
                    <a16:creationId xmlns:a16="http://schemas.microsoft.com/office/drawing/2014/main" id="{703E9BEB-87D6-40C0-83A5-7563089CDC1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1" name="Freeform 979">
                <a:extLst>
                  <a:ext uri="{FF2B5EF4-FFF2-40B4-BE49-F238E27FC236}">
                    <a16:creationId xmlns:a16="http://schemas.microsoft.com/office/drawing/2014/main" id="{8A786635-4840-4B07-BD4D-2223ED0FC70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4" name="Group 633">
              <a:extLst>
                <a:ext uri="{FF2B5EF4-FFF2-40B4-BE49-F238E27FC236}">
                  <a16:creationId xmlns:a16="http://schemas.microsoft.com/office/drawing/2014/main" id="{8B2738A2-3B63-405E-B748-9093E2A56BC8}"/>
                </a:ext>
              </a:extLst>
            </p:cNvPr>
            <p:cNvGrpSpPr/>
            <p:nvPr/>
          </p:nvGrpSpPr>
          <p:grpSpPr>
            <a:xfrm>
              <a:off x="3698470" y="3057999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906" name="Freeform 1150">
                <a:extLst>
                  <a:ext uri="{FF2B5EF4-FFF2-40B4-BE49-F238E27FC236}">
                    <a16:creationId xmlns:a16="http://schemas.microsoft.com/office/drawing/2014/main" id="{2F683984-3754-4F6C-B13D-0792B8B5B7B9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7" name="Freeform 1151">
                <a:extLst>
                  <a:ext uri="{FF2B5EF4-FFF2-40B4-BE49-F238E27FC236}">
                    <a16:creationId xmlns:a16="http://schemas.microsoft.com/office/drawing/2014/main" id="{22B130B8-0CAD-493B-808A-8A1740DAA5B1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8" name="Freeform 1152">
                <a:extLst>
                  <a:ext uri="{FF2B5EF4-FFF2-40B4-BE49-F238E27FC236}">
                    <a16:creationId xmlns:a16="http://schemas.microsoft.com/office/drawing/2014/main" id="{2DB65D4F-E1B6-4D95-9F8C-A5C9A7D8497E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5" name="Group 634">
              <a:extLst>
                <a:ext uri="{FF2B5EF4-FFF2-40B4-BE49-F238E27FC236}">
                  <a16:creationId xmlns:a16="http://schemas.microsoft.com/office/drawing/2014/main" id="{69F85BED-6A7D-4D3F-96FF-B353A1E303D8}"/>
                </a:ext>
              </a:extLst>
            </p:cNvPr>
            <p:cNvGrpSpPr/>
            <p:nvPr/>
          </p:nvGrpSpPr>
          <p:grpSpPr>
            <a:xfrm>
              <a:off x="3795567" y="3100015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903" name="Freeform 1147">
                <a:extLst>
                  <a:ext uri="{FF2B5EF4-FFF2-40B4-BE49-F238E27FC236}">
                    <a16:creationId xmlns:a16="http://schemas.microsoft.com/office/drawing/2014/main" id="{7C0D2154-E131-4ABE-9C4C-B64B357D533D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4" name="Freeform 1148">
                <a:extLst>
                  <a:ext uri="{FF2B5EF4-FFF2-40B4-BE49-F238E27FC236}">
                    <a16:creationId xmlns:a16="http://schemas.microsoft.com/office/drawing/2014/main" id="{1122D816-7722-4E9B-AC45-749BF79762EB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5" name="Freeform 1149">
                <a:extLst>
                  <a:ext uri="{FF2B5EF4-FFF2-40B4-BE49-F238E27FC236}">
                    <a16:creationId xmlns:a16="http://schemas.microsoft.com/office/drawing/2014/main" id="{9E689191-2EB6-4C60-90C8-ABD16C3013D8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6" name="Group 635">
              <a:extLst>
                <a:ext uri="{FF2B5EF4-FFF2-40B4-BE49-F238E27FC236}">
                  <a16:creationId xmlns:a16="http://schemas.microsoft.com/office/drawing/2014/main" id="{4B40A8B0-61E0-45C6-B870-40E72CB918C4}"/>
                </a:ext>
              </a:extLst>
            </p:cNvPr>
            <p:cNvGrpSpPr/>
            <p:nvPr/>
          </p:nvGrpSpPr>
          <p:grpSpPr>
            <a:xfrm>
              <a:off x="3892664" y="3142032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900" name="Freeform 1144">
                <a:extLst>
                  <a:ext uri="{FF2B5EF4-FFF2-40B4-BE49-F238E27FC236}">
                    <a16:creationId xmlns:a16="http://schemas.microsoft.com/office/drawing/2014/main" id="{B304E6AB-24C6-4E95-A611-796D99E5E3DD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1" name="Freeform 1145">
                <a:extLst>
                  <a:ext uri="{FF2B5EF4-FFF2-40B4-BE49-F238E27FC236}">
                    <a16:creationId xmlns:a16="http://schemas.microsoft.com/office/drawing/2014/main" id="{2B93FD7D-736E-4314-A319-2C7F8311FC57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2" name="Freeform 1146">
                <a:extLst>
                  <a:ext uri="{FF2B5EF4-FFF2-40B4-BE49-F238E27FC236}">
                    <a16:creationId xmlns:a16="http://schemas.microsoft.com/office/drawing/2014/main" id="{591DFB0B-9082-4E24-9101-96E157516DB4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7" name="Group 636">
              <a:extLst>
                <a:ext uri="{FF2B5EF4-FFF2-40B4-BE49-F238E27FC236}">
                  <a16:creationId xmlns:a16="http://schemas.microsoft.com/office/drawing/2014/main" id="{C1B3C4E7-33B7-4C68-B803-73CF9E6D3F22}"/>
                </a:ext>
              </a:extLst>
            </p:cNvPr>
            <p:cNvGrpSpPr/>
            <p:nvPr/>
          </p:nvGrpSpPr>
          <p:grpSpPr>
            <a:xfrm>
              <a:off x="3698470" y="2935285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97" name="Freeform 1141">
                <a:extLst>
                  <a:ext uri="{FF2B5EF4-FFF2-40B4-BE49-F238E27FC236}">
                    <a16:creationId xmlns:a16="http://schemas.microsoft.com/office/drawing/2014/main" id="{01CCE66E-07C7-4FF7-AA56-175A469ABBD1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8" name="Freeform 1142">
                <a:extLst>
                  <a:ext uri="{FF2B5EF4-FFF2-40B4-BE49-F238E27FC236}">
                    <a16:creationId xmlns:a16="http://schemas.microsoft.com/office/drawing/2014/main" id="{361C05FB-C533-41F4-A177-D32319521628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9" name="Freeform 1143">
                <a:extLst>
                  <a:ext uri="{FF2B5EF4-FFF2-40B4-BE49-F238E27FC236}">
                    <a16:creationId xmlns:a16="http://schemas.microsoft.com/office/drawing/2014/main" id="{0F7AAA2E-2DB0-4B5F-B839-F816494E2C6C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8" name="Group 637">
              <a:extLst>
                <a:ext uri="{FF2B5EF4-FFF2-40B4-BE49-F238E27FC236}">
                  <a16:creationId xmlns:a16="http://schemas.microsoft.com/office/drawing/2014/main" id="{D5C85C67-09A8-44E1-A7C3-499B28064BB9}"/>
                </a:ext>
              </a:extLst>
            </p:cNvPr>
            <p:cNvGrpSpPr/>
            <p:nvPr/>
          </p:nvGrpSpPr>
          <p:grpSpPr>
            <a:xfrm>
              <a:off x="3795567" y="2977301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94" name="Freeform 1138">
                <a:extLst>
                  <a:ext uri="{FF2B5EF4-FFF2-40B4-BE49-F238E27FC236}">
                    <a16:creationId xmlns:a16="http://schemas.microsoft.com/office/drawing/2014/main" id="{9D87467A-8F92-4355-A512-2BBC69CC7493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5" name="Freeform 1139">
                <a:extLst>
                  <a:ext uri="{FF2B5EF4-FFF2-40B4-BE49-F238E27FC236}">
                    <a16:creationId xmlns:a16="http://schemas.microsoft.com/office/drawing/2014/main" id="{8BB0BDAE-D5BB-4CB5-A3AA-621FCEF99F5A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6" name="Freeform 1140">
                <a:extLst>
                  <a:ext uri="{FF2B5EF4-FFF2-40B4-BE49-F238E27FC236}">
                    <a16:creationId xmlns:a16="http://schemas.microsoft.com/office/drawing/2014/main" id="{0A725516-314F-48F1-B470-9806DEAD1454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61EA7C1-1636-4A1D-85F0-66CD07081517}"/>
                </a:ext>
              </a:extLst>
            </p:cNvPr>
            <p:cNvGrpSpPr/>
            <p:nvPr/>
          </p:nvGrpSpPr>
          <p:grpSpPr>
            <a:xfrm>
              <a:off x="3892664" y="3019318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891" name="Freeform 1135">
                <a:extLst>
                  <a:ext uri="{FF2B5EF4-FFF2-40B4-BE49-F238E27FC236}">
                    <a16:creationId xmlns:a16="http://schemas.microsoft.com/office/drawing/2014/main" id="{5D24A2BC-B2CB-44AC-AC54-F9F3E1EA3D01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2" name="Freeform 1136">
                <a:extLst>
                  <a:ext uri="{FF2B5EF4-FFF2-40B4-BE49-F238E27FC236}">
                    <a16:creationId xmlns:a16="http://schemas.microsoft.com/office/drawing/2014/main" id="{6CC33789-D9AB-448C-956D-39C7F8B64C94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3" name="Freeform 1137">
                <a:extLst>
                  <a:ext uri="{FF2B5EF4-FFF2-40B4-BE49-F238E27FC236}">
                    <a16:creationId xmlns:a16="http://schemas.microsoft.com/office/drawing/2014/main" id="{A5EAF197-2D5F-4F38-BBB9-AC3959C8370F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0" name="Group 639">
              <a:extLst>
                <a:ext uri="{FF2B5EF4-FFF2-40B4-BE49-F238E27FC236}">
                  <a16:creationId xmlns:a16="http://schemas.microsoft.com/office/drawing/2014/main" id="{2026C333-F4E0-4001-AB35-652A4156E600}"/>
                </a:ext>
              </a:extLst>
            </p:cNvPr>
            <p:cNvGrpSpPr/>
            <p:nvPr/>
          </p:nvGrpSpPr>
          <p:grpSpPr>
            <a:xfrm>
              <a:off x="3698470" y="2812571"/>
              <a:ext cx="194194" cy="207487"/>
              <a:chOff x="6673852" y="2507796"/>
              <a:chExt cx="3493295" cy="3112291"/>
            </a:xfrm>
            <a:solidFill>
              <a:srgbClr val="36848A">
                <a:alpha val="50196"/>
              </a:srgbClr>
            </a:solidFill>
          </p:grpSpPr>
          <p:sp>
            <p:nvSpPr>
              <p:cNvPr id="888" name="Freeform 1132">
                <a:extLst>
                  <a:ext uri="{FF2B5EF4-FFF2-40B4-BE49-F238E27FC236}">
                    <a16:creationId xmlns:a16="http://schemas.microsoft.com/office/drawing/2014/main" id="{69D5BB04-B8C9-4296-9225-1C12E190A1E6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9" name="Freeform 1133">
                <a:extLst>
                  <a:ext uri="{FF2B5EF4-FFF2-40B4-BE49-F238E27FC236}">
                    <a16:creationId xmlns:a16="http://schemas.microsoft.com/office/drawing/2014/main" id="{858C7C31-85CE-48F6-9AD2-5F3FB1A7B26A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0" name="Freeform 1134">
                <a:extLst>
                  <a:ext uri="{FF2B5EF4-FFF2-40B4-BE49-F238E27FC236}">
                    <a16:creationId xmlns:a16="http://schemas.microsoft.com/office/drawing/2014/main" id="{8256DB17-F07C-4262-9822-4EAC361C79B9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1" name="Group 640">
              <a:extLst>
                <a:ext uri="{FF2B5EF4-FFF2-40B4-BE49-F238E27FC236}">
                  <a16:creationId xmlns:a16="http://schemas.microsoft.com/office/drawing/2014/main" id="{781709A2-02DC-43FE-8BFF-E8C437FB865C}"/>
                </a:ext>
              </a:extLst>
            </p:cNvPr>
            <p:cNvGrpSpPr/>
            <p:nvPr/>
          </p:nvGrpSpPr>
          <p:grpSpPr>
            <a:xfrm>
              <a:off x="3795567" y="2854587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85" name="Freeform 1129">
                <a:extLst>
                  <a:ext uri="{FF2B5EF4-FFF2-40B4-BE49-F238E27FC236}">
                    <a16:creationId xmlns:a16="http://schemas.microsoft.com/office/drawing/2014/main" id="{AED67BAF-8456-400B-BF2C-80304098383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6" name="Freeform 1130">
                <a:extLst>
                  <a:ext uri="{FF2B5EF4-FFF2-40B4-BE49-F238E27FC236}">
                    <a16:creationId xmlns:a16="http://schemas.microsoft.com/office/drawing/2014/main" id="{4310D1B1-F49E-4E4B-95DB-CECCC3EACCBA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7" name="Freeform 1131">
                <a:extLst>
                  <a:ext uri="{FF2B5EF4-FFF2-40B4-BE49-F238E27FC236}">
                    <a16:creationId xmlns:a16="http://schemas.microsoft.com/office/drawing/2014/main" id="{5BE3D20E-5510-4C16-A2F3-8148BA816807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2" name="Group 641">
              <a:extLst>
                <a:ext uri="{FF2B5EF4-FFF2-40B4-BE49-F238E27FC236}">
                  <a16:creationId xmlns:a16="http://schemas.microsoft.com/office/drawing/2014/main" id="{D152FEC4-6565-44A8-BD83-39778761AAA6}"/>
                </a:ext>
              </a:extLst>
            </p:cNvPr>
            <p:cNvGrpSpPr/>
            <p:nvPr/>
          </p:nvGrpSpPr>
          <p:grpSpPr>
            <a:xfrm>
              <a:off x="3892664" y="2896603"/>
              <a:ext cx="194194" cy="207487"/>
              <a:chOff x="6673854" y="2507796"/>
              <a:chExt cx="3493293" cy="3112296"/>
            </a:xfrm>
            <a:solidFill>
              <a:srgbClr val="36848A">
                <a:alpha val="50196"/>
              </a:srgbClr>
            </a:solidFill>
          </p:grpSpPr>
          <p:sp>
            <p:nvSpPr>
              <p:cNvPr id="882" name="Freeform 1126">
                <a:extLst>
                  <a:ext uri="{FF2B5EF4-FFF2-40B4-BE49-F238E27FC236}">
                    <a16:creationId xmlns:a16="http://schemas.microsoft.com/office/drawing/2014/main" id="{727E1BD8-C827-4197-B6E4-A2A4D78A0B11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3" name="Freeform 1127">
                <a:extLst>
                  <a:ext uri="{FF2B5EF4-FFF2-40B4-BE49-F238E27FC236}">
                    <a16:creationId xmlns:a16="http://schemas.microsoft.com/office/drawing/2014/main" id="{2FC9DC48-619F-4267-BCBF-85D931EF7601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4" name="Freeform 1128">
                <a:extLst>
                  <a:ext uri="{FF2B5EF4-FFF2-40B4-BE49-F238E27FC236}">
                    <a16:creationId xmlns:a16="http://schemas.microsoft.com/office/drawing/2014/main" id="{3E3A6E6C-B0F2-4ED4-B454-A448A2B0091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3" name="Group 642">
              <a:extLst>
                <a:ext uri="{FF2B5EF4-FFF2-40B4-BE49-F238E27FC236}">
                  <a16:creationId xmlns:a16="http://schemas.microsoft.com/office/drawing/2014/main" id="{6FBC3BF7-4F9A-444D-A6FB-6462F1F6A361}"/>
                </a:ext>
              </a:extLst>
            </p:cNvPr>
            <p:cNvGrpSpPr/>
            <p:nvPr/>
          </p:nvGrpSpPr>
          <p:grpSpPr>
            <a:xfrm>
              <a:off x="3698183" y="2690543"/>
              <a:ext cx="194195" cy="207488"/>
              <a:chOff x="6673852" y="2507796"/>
              <a:chExt cx="3493295" cy="3112292"/>
            </a:xfrm>
            <a:solidFill>
              <a:srgbClr val="36848A">
                <a:alpha val="50196"/>
              </a:srgbClr>
            </a:solidFill>
          </p:grpSpPr>
          <p:sp>
            <p:nvSpPr>
              <p:cNvPr id="879" name="Freeform 1123">
                <a:extLst>
                  <a:ext uri="{FF2B5EF4-FFF2-40B4-BE49-F238E27FC236}">
                    <a16:creationId xmlns:a16="http://schemas.microsoft.com/office/drawing/2014/main" id="{3B000C4C-B3A5-43C8-A90A-B4A358F1AA40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0" name="Freeform 1124">
                <a:extLst>
                  <a:ext uri="{FF2B5EF4-FFF2-40B4-BE49-F238E27FC236}">
                    <a16:creationId xmlns:a16="http://schemas.microsoft.com/office/drawing/2014/main" id="{55D44079-F63B-4FA9-AB39-C0EC066526F8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1" name="Freeform 1125">
                <a:extLst>
                  <a:ext uri="{FF2B5EF4-FFF2-40B4-BE49-F238E27FC236}">
                    <a16:creationId xmlns:a16="http://schemas.microsoft.com/office/drawing/2014/main" id="{322A20C7-DCDD-48F0-8FC8-09F06C118BD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4" name="Group 643">
              <a:extLst>
                <a:ext uri="{FF2B5EF4-FFF2-40B4-BE49-F238E27FC236}">
                  <a16:creationId xmlns:a16="http://schemas.microsoft.com/office/drawing/2014/main" id="{AEF9B9A4-26C1-4ECA-850B-107DC7030D61}"/>
                </a:ext>
              </a:extLst>
            </p:cNvPr>
            <p:cNvGrpSpPr/>
            <p:nvPr/>
          </p:nvGrpSpPr>
          <p:grpSpPr>
            <a:xfrm>
              <a:off x="3795279" y="2732559"/>
              <a:ext cx="194194" cy="207488"/>
              <a:chOff x="6673854" y="2507796"/>
              <a:chExt cx="3493293" cy="3112295"/>
            </a:xfrm>
            <a:solidFill>
              <a:srgbClr val="7F7BD4">
                <a:alpha val="50196"/>
              </a:srgbClr>
            </a:solidFill>
          </p:grpSpPr>
          <p:sp>
            <p:nvSpPr>
              <p:cNvPr id="876" name="Freeform 1120">
                <a:extLst>
                  <a:ext uri="{FF2B5EF4-FFF2-40B4-BE49-F238E27FC236}">
                    <a16:creationId xmlns:a16="http://schemas.microsoft.com/office/drawing/2014/main" id="{9EA7432C-B794-4869-8E75-8FF939B02AC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7" name="Freeform 1121">
                <a:extLst>
                  <a:ext uri="{FF2B5EF4-FFF2-40B4-BE49-F238E27FC236}">
                    <a16:creationId xmlns:a16="http://schemas.microsoft.com/office/drawing/2014/main" id="{72F35B8F-0027-401C-B45B-96D1CD0BAF9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8" name="Freeform 1122">
                <a:extLst>
                  <a:ext uri="{FF2B5EF4-FFF2-40B4-BE49-F238E27FC236}">
                    <a16:creationId xmlns:a16="http://schemas.microsoft.com/office/drawing/2014/main" id="{91F1C3E3-FFFF-4833-9F5E-4C321809099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5" name="Group 644">
              <a:extLst>
                <a:ext uri="{FF2B5EF4-FFF2-40B4-BE49-F238E27FC236}">
                  <a16:creationId xmlns:a16="http://schemas.microsoft.com/office/drawing/2014/main" id="{73EED847-6A52-488F-A704-91EA9FF0C28F}"/>
                </a:ext>
              </a:extLst>
            </p:cNvPr>
            <p:cNvGrpSpPr/>
            <p:nvPr/>
          </p:nvGrpSpPr>
          <p:grpSpPr>
            <a:xfrm>
              <a:off x="3892377" y="2774576"/>
              <a:ext cx="194194" cy="207488"/>
              <a:chOff x="6673854" y="2507796"/>
              <a:chExt cx="3493293" cy="3112295"/>
            </a:xfrm>
            <a:solidFill>
              <a:srgbClr val="7F7BD4">
                <a:alpha val="50196"/>
              </a:srgbClr>
            </a:solidFill>
          </p:grpSpPr>
          <p:sp>
            <p:nvSpPr>
              <p:cNvPr id="873" name="Freeform 1117">
                <a:extLst>
                  <a:ext uri="{FF2B5EF4-FFF2-40B4-BE49-F238E27FC236}">
                    <a16:creationId xmlns:a16="http://schemas.microsoft.com/office/drawing/2014/main" id="{804E7CEA-DF0A-4B5D-A0AA-121FF299B37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4" name="Freeform 1118">
                <a:extLst>
                  <a:ext uri="{FF2B5EF4-FFF2-40B4-BE49-F238E27FC236}">
                    <a16:creationId xmlns:a16="http://schemas.microsoft.com/office/drawing/2014/main" id="{22C360BD-16B3-4E33-A86F-80BABE7C336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5" name="Freeform 1119">
                <a:extLst>
                  <a:ext uri="{FF2B5EF4-FFF2-40B4-BE49-F238E27FC236}">
                    <a16:creationId xmlns:a16="http://schemas.microsoft.com/office/drawing/2014/main" id="{AB570485-7AC2-4E45-96A2-84C98D40132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6" name="Group 645">
              <a:extLst>
                <a:ext uri="{FF2B5EF4-FFF2-40B4-BE49-F238E27FC236}">
                  <a16:creationId xmlns:a16="http://schemas.microsoft.com/office/drawing/2014/main" id="{7D1F3A24-A11D-4CCD-A344-566C4B612DDB}"/>
                </a:ext>
              </a:extLst>
            </p:cNvPr>
            <p:cNvGrpSpPr/>
            <p:nvPr/>
          </p:nvGrpSpPr>
          <p:grpSpPr>
            <a:xfrm>
              <a:off x="3991233" y="3184292"/>
              <a:ext cx="194194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870" name="Freeform 1114">
                <a:extLst>
                  <a:ext uri="{FF2B5EF4-FFF2-40B4-BE49-F238E27FC236}">
                    <a16:creationId xmlns:a16="http://schemas.microsoft.com/office/drawing/2014/main" id="{92F931FC-60EA-4704-A962-8E83AFD57F6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1" name="Freeform 1115">
                <a:extLst>
                  <a:ext uri="{FF2B5EF4-FFF2-40B4-BE49-F238E27FC236}">
                    <a16:creationId xmlns:a16="http://schemas.microsoft.com/office/drawing/2014/main" id="{EE7327B0-4B24-4FC1-A513-42CE8BE2C73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2" name="Freeform 1116">
                <a:extLst>
                  <a:ext uri="{FF2B5EF4-FFF2-40B4-BE49-F238E27FC236}">
                    <a16:creationId xmlns:a16="http://schemas.microsoft.com/office/drawing/2014/main" id="{E13C0CBE-3A83-494F-8646-3E1A6870365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7" name="Group 646">
              <a:extLst>
                <a:ext uri="{FF2B5EF4-FFF2-40B4-BE49-F238E27FC236}">
                  <a16:creationId xmlns:a16="http://schemas.microsoft.com/office/drawing/2014/main" id="{89D43551-58FE-4311-9226-CD68EB7A2760}"/>
                </a:ext>
              </a:extLst>
            </p:cNvPr>
            <p:cNvGrpSpPr/>
            <p:nvPr/>
          </p:nvGrpSpPr>
          <p:grpSpPr>
            <a:xfrm>
              <a:off x="3991233" y="3061578"/>
              <a:ext cx="194194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867" name="Freeform 1111">
                <a:extLst>
                  <a:ext uri="{FF2B5EF4-FFF2-40B4-BE49-F238E27FC236}">
                    <a16:creationId xmlns:a16="http://schemas.microsoft.com/office/drawing/2014/main" id="{087A74E3-AD41-41CD-B5A5-A495295B75F0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8" name="Freeform 1112">
                <a:extLst>
                  <a:ext uri="{FF2B5EF4-FFF2-40B4-BE49-F238E27FC236}">
                    <a16:creationId xmlns:a16="http://schemas.microsoft.com/office/drawing/2014/main" id="{89DDA627-663E-4148-98E5-33F7D3F3A3E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9" name="Freeform 1113">
                <a:extLst>
                  <a:ext uri="{FF2B5EF4-FFF2-40B4-BE49-F238E27FC236}">
                    <a16:creationId xmlns:a16="http://schemas.microsoft.com/office/drawing/2014/main" id="{004298DE-D038-4F0A-99FF-EC1D7170D7FE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8" name="Group 647">
              <a:extLst>
                <a:ext uri="{FF2B5EF4-FFF2-40B4-BE49-F238E27FC236}">
                  <a16:creationId xmlns:a16="http://schemas.microsoft.com/office/drawing/2014/main" id="{1DCE3C73-92DE-4333-A3AF-8081E4CED03C}"/>
                </a:ext>
              </a:extLst>
            </p:cNvPr>
            <p:cNvGrpSpPr/>
            <p:nvPr/>
          </p:nvGrpSpPr>
          <p:grpSpPr>
            <a:xfrm>
              <a:off x="3991233" y="2938863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864" name="Freeform 1108">
                <a:extLst>
                  <a:ext uri="{FF2B5EF4-FFF2-40B4-BE49-F238E27FC236}">
                    <a16:creationId xmlns:a16="http://schemas.microsoft.com/office/drawing/2014/main" id="{A3E805C4-589C-41C2-8322-2D42924A861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5" name="Freeform 1109">
                <a:extLst>
                  <a:ext uri="{FF2B5EF4-FFF2-40B4-BE49-F238E27FC236}">
                    <a16:creationId xmlns:a16="http://schemas.microsoft.com/office/drawing/2014/main" id="{FC0BFA08-8481-4BFD-8F62-827A526F3D44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6" name="Freeform 1110">
                <a:extLst>
                  <a:ext uri="{FF2B5EF4-FFF2-40B4-BE49-F238E27FC236}">
                    <a16:creationId xmlns:a16="http://schemas.microsoft.com/office/drawing/2014/main" id="{0AB9D91B-EA97-400B-ACDB-0F47438A34CA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9" name="Group 648">
              <a:extLst>
                <a:ext uri="{FF2B5EF4-FFF2-40B4-BE49-F238E27FC236}">
                  <a16:creationId xmlns:a16="http://schemas.microsoft.com/office/drawing/2014/main" id="{B6793F94-2CDB-4E7C-BDC0-2649CC81A537}"/>
                </a:ext>
              </a:extLst>
            </p:cNvPr>
            <p:cNvGrpSpPr/>
            <p:nvPr/>
          </p:nvGrpSpPr>
          <p:grpSpPr>
            <a:xfrm>
              <a:off x="3990947" y="2816836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861" name="Freeform 1105">
                <a:extLst>
                  <a:ext uri="{FF2B5EF4-FFF2-40B4-BE49-F238E27FC236}">
                    <a16:creationId xmlns:a16="http://schemas.microsoft.com/office/drawing/2014/main" id="{188F8B3C-25C2-40A9-9949-D71C377C2EFB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2" name="Freeform 1106">
                <a:extLst>
                  <a:ext uri="{FF2B5EF4-FFF2-40B4-BE49-F238E27FC236}">
                    <a16:creationId xmlns:a16="http://schemas.microsoft.com/office/drawing/2014/main" id="{88DDBED3-B48F-4EE2-B63E-DDDECC7961F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3" name="Freeform 1107">
                <a:extLst>
                  <a:ext uri="{FF2B5EF4-FFF2-40B4-BE49-F238E27FC236}">
                    <a16:creationId xmlns:a16="http://schemas.microsoft.com/office/drawing/2014/main" id="{3EF1E994-0749-4861-B1D2-AF85EAA71A0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0" name="Group 649">
              <a:extLst>
                <a:ext uri="{FF2B5EF4-FFF2-40B4-BE49-F238E27FC236}">
                  <a16:creationId xmlns:a16="http://schemas.microsoft.com/office/drawing/2014/main" id="{43A6A8C8-FAEF-4E30-833E-0A7D42BCEA03}"/>
                </a:ext>
              </a:extLst>
            </p:cNvPr>
            <p:cNvGrpSpPr/>
            <p:nvPr/>
          </p:nvGrpSpPr>
          <p:grpSpPr>
            <a:xfrm>
              <a:off x="4090464" y="3228403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858" name="Freeform 1102">
                <a:extLst>
                  <a:ext uri="{FF2B5EF4-FFF2-40B4-BE49-F238E27FC236}">
                    <a16:creationId xmlns:a16="http://schemas.microsoft.com/office/drawing/2014/main" id="{72F74C92-F8BD-4B9D-ABCC-D4865F8B5823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9" name="Freeform 1103">
                <a:extLst>
                  <a:ext uri="{FF2B5EF4-FFF2-40B4-BE49-F238E27FC236}">
                    <a16:creationId xmlns:a16="http://schemas.microsoft.com/office/drawing/2014/main" id="{65F6C004-17B9-4B56-95EC-DC2460777949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0" name="Freeform 1104">
                <a:extLst>
                  <a:ext uri="{FF2B5EF4-FFF2-40B4-BE49-F238E27FC236}">
                    <a16:creationId xmlns:a16="http://schemas.microsoft.com/office/drawing/2014/main" id="{82AE86B9-87B3-478D-865A-0D06EF8A0CB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1" name="Group 650">
              <a:extLst>
                <a:ext uri="{FF2B5EF4-FFF2-40B4-BE49-F238E27FC236}">
                  <a16:creationId xmlns:a16="http://schemas.microsoft.com/office/drawing/2014/main" id="{3B18EBE6-2861-4E7D-A048-29B3A25C98CC}"/>
                </a:ext>
              </a:extLst>
            </p:cNvPr>
            <p:cNvGrpSpPr/>
            <p:nvPr/>
          </p:nvGrpSpPr>
          <p:grpSpPr>
            <a:xfrm>
              <a:off x="4090464" y="3105688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855" name="Freeform 1099">
                <a:extLst>
                  <a:ext uri="{FF2B5EF4-FFF2-40B4-BE49-F238E27FC236}">
                    <a16:creationId xmlns:a16="http://schemas.microsoft.com/office/drawing/2014/main" id="{4FE2D0EC-B53D-4D5B-9C56-CC8191D80EA8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6" name="Freeform 1100">
                <a:extLst>
                  <a:ext uri="{FF2B5EF4-FFF2-40B4-BE49-F238E27FC236}">
                    <a16:creationId xmlns:a16="http://schemas.microsoft.com/office/drawing/2014/main" id="{60B34DF7-9658-434B-90D5-5B296072566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7" name="Freeform 1101">
                <a:extLst>
                  <a:ext uri="{FF2B5EF4-FFF2-40B4-BE49-F238E27FC236}">
                    <a16:creationId xmlns:a16="http://schemas.microsoft.com/office/drawing/2014/main" id="{9CD41430-5112-4E58-B660-891CE4768B1C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2" name="Group 651">
              <a:extLst>
                <a:ext uri="{FF2B5EF4-FFF2-40B4-BE49-F238E27FC236}">
                  <a16:creationId xmlns:a16="http://schemas.microsoft.com/office/drawing/2014/main" id="{0DA2AFF8-17A0-4985-93B0-29D6BA0DD716}"/>
                </a:ext>
              </a:extLst>
            </p:cNvPr>
            <p:cNvGrpSpPr/>
            <p:nvPr/>
          </p:nvGrpSpPr>
          <p:grpSpPr>
            <a:xfrm>
              <a:off x="4090464" y="2982973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852" name="Freeform 1096">
                <a:extLst>
                  <a:ext uri="{FF2B5EF4-FFF2-40B4-BE49-F238E27FC236}">
                    <a16:creationId xmlns:a16="http://schemas.microsoft.com/office/drawing/2014/main" id="{53C48F56-CBC6-4C10-BAF4-0C8659F31D8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3" name="Freeform 1097">
                <a:extLst>
                  <a:ext uri="{FF2B5EF4-FFF2-40B4-BE49-F238E27FC236}">
                    <a16:creationId xmlns:a16="http://schemas.microsoft.com/office/drawing/2014/main" id="{AD08994F-B20C-4B7E-BC1F-845DBB6F1FE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4" name="Freeform 1098">
                <a:extLst>
                  <a:ext uri="{FF2B5EF4-FFF2-40B4-BE49-F238E27FC236}">
                    <a16:creationId xmlns:a16="http://schemas.microsoft.com/office/drawing/2014/main" id="{9CF1744E-27BC-4E5D-AD3C-6718E9ADC35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3" name="Group 652">
              <a:extLst>
                <a:ext uri="{FF2B5EF4-FFF2-40B4-BE49-F238E27FC236}">
                  <a16:creationId xmlns:a16="http://schemas.microsoft.com/office/drawing/2014/main" id="{57FE9663-A98D-4B9D-84CC-2AFAEA8885F3}"/>
                </a:ext>
              </a:extLst>
            </p:cNvPr>
            <p:cNvGrpSpPr/>
            <p:nvPr/>
          </p:nvGrpSpPr>
          <p:grpSpPr>
            <a:xfrm>
              <a:off x="4090177" y="2860946"/>
              <a:ext cx="194195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849" name="Freeform 1093">
                <a:extLst>
                  <a:ext uri="{FF2B5EF4-FFF2-40B4-BE49-F238E27FC236}">
                    <a16:creationId xmlns:a16="http://schemas.microsoft.com/office/drawing/2014/main" id="{B01FFE22-2389-426E-BAE6-A498470DB4A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0" name="Freeform 1094">
                <a:extLst>
                  <a:ext uri="{FF2B5EF4-FFF2-40B4-BE49-F238E27FC236}">
                    <a16:creationId xmlns:a16="http://schemas.microsoft.com/office/drawing/2014/main" id="{C3C2DC2F-E4D1-41E8-9CF0-B7D1684ED0B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1" name="Freeform 1095">
                <a:extLst>
                  <a:ext uri="{FF2B5EF4-FFF2-40B4-BE49-F238E27FC236}">
                    <a16:creationId xmlns:a16="http://schemas.microsoft.com/office/drawing/2014/main" id="{5BB1A6E1-24EA-463D-A8DD-86CF58F5F2F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4" name="Group 653">
              <a:extLst>
                <a:ext uri="{FF2B5EF4-FFF2-40B4-BE49-F238E27FC236}">
                  <a16:creationId xmlns:a16="http://schemas.microsoft.com/office/drawing/2014/main" id="{3BE221D0-5B74-4C8B-8E3B-669549E7FD48}"/>
                </a:ext>
              </a:extLst>
            </p:cNvPr>
            <p:cNvGrpSpPr/>
            <p:nvPr/>
          </p:nvGrpSpPr>
          <p:grpSpPr>
            <a:xfrm>
              <a:off x="3696585" y="2570021"/>
              <a:ext cx="194195" cy="207488"/>
              <a:chOff x="6673852" y="2507796"/>
              <a:chExt cx="3493295" cy="3112292"/>
            </a:xfrm>
            <a:solidFill>
              <a:srgbClr val="36848A">
                <a:alpha val="50196"/>
              </a:srgbClr>
            </a:solidFill>
          </p:grpSpPr>
          <p:sp>
            <p:nvSpPr>
              <p:cNvPr id="846" name="Freeform 1090">
                <a:extLst>
                  <a:ext uri="{FF2B5EF4-FFF2-40B4-BE49-F238E27FC236}">
                    <a16:creationId xmlns:a16="http://schemas.microsoft.com/office/drawing/2014/main" id="{E54DC3B2-F44E-4F13-A557-27DB63F43E2D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7" name="Freeform 1091">
                <a:extLst>
                  <a:ext uri="{FF2B5EF4-FFF2-40B4-BE49-F238E27FC236}">
                    <a16:creationId xmlns:a16="http://schemas.microsoft.com/office/drawing/2014/main" id="{4B3B17BA-9B48-4ADB-819B-38E29053491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8" name="Freeform 1092">
                <a:extLst>
                  <a:ext uri="{FF2B5EF4-FFF2-40B4-BE49-F238E27FC236}">
                    <a16:creationId xmlns:a16="http://schemas.microsoft.com/office/drawing/2014/main" id="{B2D24DA5-2014-4785-A29D-8631E4A043A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5" name="Group 654">
              <a:extLst>
                <a:ext uri="{FF2B5EF4-FFF2-40B4-BE49-F238E27FC236}">
                  <a16:creationId xmlns:a16="http://schemas.microsoft.com/office/drawing/2014/main" id="{678B3055-B7DF-4B0A-9735-E7E39D285896}"/>
                </a:ext>
              </a:extLst>
            </p:cNvPr>
            <p:cNvGrpSpPr/>
            <p:nvPr/>
          </p:nvGrpSpPr>
          <p:grpSpPr>
            <a:xfrm>
              <a:off x="3793681" y="2612037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843" name="Freeform 1087">
                <a:extLst>
                  <a:ext uri="{FF2B5EF4-FFF2-40B4-BE49-F238E27FC236}">
                    <a16:creationId xmlns:a16="http://schemas.microsoft.com/office/drawing/2014/main" id="{F3E0D14A-B839-4404-A910-EC40C4E6D695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4" name="Freeform 1088">
                <a:extLst>
                  <a:ext uri="{FF2B5EF4-FFF2-40B4-BE49-F238E27FC236}">
                    <a16:creationId xmlns:a16="http://schemas.microsoft.com/office/drawing/2014/main" id="{78DA6C65-12B9-436C-B7D9-ABC9DFAD6C79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5" name="Freeform 1089">
                <a:extLst>
                  <a:ext uri="{FF2B5EF4-FFF2-40B4-BE49-F238E27FC236}">
                    <a16:creationId xmlns:a16="http://schemas.microsoft.com/office/drawing/2014/main" id="{1D909041-58A7-4018-935E-441F87D4A1A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6" name="Group 655">
              <a:extLst>
                <a:ext uri="{FF2B5EF4-FFF2-40B4-BE49-F238E27FC236}">
                  <a16:creationId xmlns:a16="http://schemas.microsoft.com/office/drawing/2014/main" id="{EA962625-A2F5-4A49-A73D-6AD2E64E7B22}"/>
                </a:ext>
              </a:extLst>
            </p:cNvPr>
            <p:cNvGrpSpPr/>
            <p:nvPr/>
          </p:nvGrpSpPr>
          <p:grpSpPr>
            <a:xfrm>
              <a:off x="3890778" y="2654054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840" name="Freeform 1084">
                <a:extLst>
                  <a:ext uri="{FF2B5EF4-FFF2-40B4-BE49-F238E27FC236}">
                    <a16:creationId xmlns:a16="http://schemas.microsoft.com/office/drawing/2014/main" id="{3B2F62AC-B5EF-41EA-ACB3-DD05254DDDA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1" name="Freeform 1085">
                <a:extLst>
                  <a:ext uri="{FF2B5EF4-FFF2-40B4-BE49-F238E27FC236}">
                    <a16:creationId xmlns:a16="http://schemas.microsoft.com/office/drawing/2014/main" id="{23ED6438-0216-41A6-B922-0BAC195067E8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2" name="Freeform 1086">
                <a:extLst>
                  <a:ext uri="{FF2B5EF4-FFF2-40B4-BE49-F238E27FC236}">
                    <a16:creationId xmlns:a16="http://schemas.microsoft.com/office/drawing/2014/main" id="{E2683F92-FC66-4672-BB64-42EE5A09803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7" name="Group 656">
              <a:extLst>
                <a:ext uri="{FF2B5EF4-FFF2-40B4-BE49-F238E27FC236}">
                  <a16:creationId xmlns:a16="http://schemas.microsoft.com/office/drawing/2014/main" id="{5DEE2A1E-73E3-44A2-86A1-6125A8350D87}"/>
                </a:ext>
              </a:extLst>
            </p:cNvPr>
            <p:cNvGrpSpPr/>
            <p:nvPr/>
          </p:nvGrpSpPr>
          <p:grpSpPr>
            <a:xfrm>
              <a:off x="3989348" y="2696314"/>
              <a:ext cx="194194" cy="207487"/>
              <a:chOff x="6673854" y="2507796"/>
              <a:chExt cx="3493293" cy="3112295"/>
            </a:xfrm>
            <a:solidFill>
              <a:srgbClr val="7F7BD4">
                <a:alpha val="50196"/>
              </a:srgbClr>
            </a:solidFill>
          </p:grpSpPr>
          <p:sp>
            <p:nvSpPr>
              <p:cNvPr id="837" name="Freeform 1081">
                <a:extLst>
                  <a:ext uri="{FF2B5EF4-FFF2-40B4-BE49-F238E27FC236}">
                    <a16:creationId xmlns:a16="http://schemas.microsoft.com/office/drawing/2014/main" id="{B8D05DF2-CC7D-4C57-828B-243A9D125C85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8" name="Freeform 1082">
                <a:extLst>
                  <a:ext uri="{FF2B5EF4-FFF2-40B4-BE49-F238E27FC236}">
                    <a16:creationId xmlns:a16="http://schemas.microsoft.com/office/drawing/2014/main" id="{BE6A1E36-1563-4CEB-8680-8E0B1D00503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9" name="Freeform 1083">
                <a:extLst>
                  <a:ext uri="{FF2B5EF4-FFF2-40B4-BE49-F238E27FC236}">
                    <a16:creationId xmlns:a16="http://schemas.microsoft.com/office/drawing/2014/main" id="{FCD00BB4-921C-4E1B-BBAD-D4BEC8F034D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8" name="Group 657">
              <a:extLst>
                <a:ext uri="{FF2B5EF4-FFF2-40B4-BE49-F238E27FC236}">
                  <a16:creationId xmlns:a16="http://schemas.microsoft.com/office/drawing/2014/main" id="{45375E7E-CF0B-45E7-A481-EFFD6A999E02}"/>
                </a:ext>
              </a:extLst>
            </p:cNvPr>
            <p:cNvGrpSpPr/>
            <p:nvPr/>
          </p:nvGrpSpPr>
          <p:grpSpPr>
            <a:xfrm>
              <a:off x="4088578" y="2740424"/>
              <a:ext cx="194195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834" name="Freeform 1078">
                <a:extLst>
                  <a:ext uri="{FF2B5EF4-FFF2-40B4-BE49-F238E27FC236}">
                    <a16:creationId xmlns:a16="http://schemas.microsoft.com/office/drawing/2014/main" id="{A133594D-7895-4623-8886-B48E7ED2F33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5" name="Freeform 1079">
                <a:extLst>
                  <a:ext uri="{FF2B5EF4-FFF2-40B4-BE49-F238E27FC236}">
                    <a16:creationId xmlns:a16="http://schemas.microsoft.com/office/drawing/2014/main" id="{AEA11EE1-1A07-4B27-A38A-7D8D48D698C9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6" name="Freeform 1080">
                <a:extLst>
                  <a:ext uri="{FF2B5EF4-FFF2-40B4-BE49-F238E27FC236}">
                    <a16:creationId xmlns:a16="http://schemas.microsoft.com/office/drawing/2014/main" id="{8CC7D60B-5245-4CA8-8A44-1251621AC639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59" name="Group 658">
              <a:extLst>
                <a:ext uri="{FF2B5EF4-FFF2-40B4-BE49-F238E27FC236}">
                  <a16:creationId xmlns:a16="http://schemas.microsoft.com/office/drawing/2014/main" id="{7B250CEE-362C-4FB7-A902-C900B1929F2F}"/>
                </a:ext>
              </a:extLst>
            </p:cNvPr>
            <p:cNvGrpSpPr/>
            <p:nvPr/>
          </p:nvGrpSpPr>
          <p:grpSpPr>
            <a:xfrm>
              <a:off x="3606839" y="3099903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31" name="Freeform 479">
                <a:extLst>
                  <a:ext uri="{FF2B5EF4-FFF2-40B4-BE49-F238E27FC236}">
                    <a16:creationId xmlns:a16="http://schemas.microsoft.com/office/drawing/2014/main" id="{F2B4FCCC-70D1-4697-842E-6B5D04B55781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2" name="Freeform 480">
                <a:extLst>
                  <a:ext uri="{FF2B5EF4-FFF2-40B4-BE49-F238E27FC236}">
                    <a16:creationId xmlns:a16="http://schemas.microsoft.com/office/drawing/2014/main" id="{9C91D50B-14D9-410C-A658-152499CF630A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3" name="Freeform 481">
                <a:extLst>
                  <a:ext uri="{FF2B5EF4-FFF2-40B4-BE49-F238E27FC236}">
                    <a16:creationId xmlns:a16="http://schemas.microsoft.com/office/drawing/2014/main" id="{8E92BA60-17ED-48B3-9DD7-1B40603105DF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0" name="Group 659">
              <a:extLst>
                <a:ext uri="{FF2B5EF4-FFF2-40B4-BE49-F238E27FC236}">
                  <a16:creationId xmlns:a16="http://schemas.microsoft.com/office/drawing/2014/main" id="{645D819E-F80A-40CF-B247-22576F7D1274}"/>
                </a:ext>
              </a:extLst>
            </p:cNvPr>
            <p:cNvGrpSpPr/>
            <p:nvPr/>
          </p:nvGrpSpPr>
          <p:grpSpPr>
            <a:xfrm>
              <a:off x="3703936" y="3141919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28" name="Freeform 483">
                <a:extLst>
                  <a:ext uri="{FF2B5EF4-FFF2-40B4-BE49-F238E27FC236}">
                    <a16:creationId xmlns:a16="http://schemas.microsoft.com/office/drawing/2014/main" id="{D75A806C-B895-4E4F-BD35-5B1F937030DE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9" name="Freeform 484">
                <a:extLst>
                  <a:ext uri="{FF2B5EF4-FFF2-40B4-BE49-F238E27FC236}">
                    <a16:creationId xmlns:a16="http://schemas.microsoft.com/office/drawing/2014/main" id="{16516124-AD06-4470-A5EF-49BCE7D60A2D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0" name="Freeform 485">
                <a:extLst>
                  <a:ext uri="{FF2B5EF4-FFF2-40B4-BE49-F238E27FC236}">
                    <a16:creationId xmlns:a16="http://schemas.microsoft.com/office/drawing/2014/main" id="{887152C4-9BB6-4165-843A-747C351AB264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1" name="Group 660">
              <a:extLst>
                <a:ext uri="{FF2B5EF4-FFF2-40B4-BE49-F238E27FC236}">
                  <a16:creationId xmlns:a16="http://schemas.microsoft.com/office/drawing/2014/main" id="{FC8A9EA5-769F-4EE6-A08C-A0E00300A170}"/>
                </a:ext>
              </a:extLst>
            </p:cNvPr>
            <p:cNvGrpSpPr/>
            <p:nvPr/>
          </p:nvGrpSpPr>
          <p:grpSpPr>
            <a:xfrm>
              <a:off x="3801033" y="3183936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25" name="Freeform 487">
                <a:extLst>
                  <a:ext uri="{FF2B5EF4-FFF2-40B4-BE49-F238E27FC236}">
                    <a16:creationId xmlns:a16="http://schemas.microsoft.com/office/drawing/2014/main" id="{E286E4AC-F265-4319-97BE-057587072F7B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6" name="Freeform 488">
                <a:extLst>
                  <a:ext uri="{FF2B5EF4-FFF2-40B4-BE49-F238E27FC236}">
                    <a16:creationId xmlns:a16="http://schemas.microsoft.com/office/drawing/2014/main" id="{A702CDFE-9246-48A1-B10B-06989047CA6E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7" name="Freeform 489">
                <a:extLst>
                  <a:ext uri="{FF2B5EF4-FFF2-40B4-BE49-F238E27FC236}">
                    <a16:creationId xmlns:a16="http://schemas.microsoft.com/office/drawing/2014/main" id="{E33991B0-CA0B-483A-8642-649670FA07E6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2" name="Group 661">
              <a:extLst>
                <a:ext uri="{FF2B5EF4-FFF2-40B4-BE49-F238E27FC236}">
                  <a16:creationId xmlns:a16="http://schemas.microsoft.com/office/drawing/2014/main" id="{E4165503-2178-455E-831F-25493B2AD66E}"/>
                </a:ext>
              </a:extLst>
            </p:cNvPr>
            <p:cNvGrpSpPr/>
            <p:nvPr/>
          </p:nvGrpSpPr>
          <p:grpSpPr>
            <a:xfrm>
              <a:off x="3606839" y="2977188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22" name="Freeform 491">
                <a:extLst>
                  <a:ext uri="{FF2B5EF4-FFF2-40B4-BE49-F238E27FC236}">
                    <a16:creationId xmlns:a16="http://schemas.microsoft.com/office/drawing/2014/main" id="{3A3651F9-9606-4903-A203-6CDF0C62FDD7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3" name="Freeform 492">
                <a:extLst>
                  <a:ext uri="{FF2B5EF4-FFF2-40B4-BE49-F238E27FC236}">
                    <a16:creationId xmlns:a16="http://schemas.microsoft.com/office/drawing/2014/main" id="{B40B421D-475F-42B9-871D-F9C7D2434C3E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4" name="Freeform 493">
                <a:extLst>
                  <a:ext uri="{FF2B5EF4-FFF2-40B4-BE49-F238E27FC236}">
                    <a16:creationId xmlns:a16="http://schemas.microsoft.com/office/drawing/2014/main" id="{148DE1C4-2DC6-4BDE-97B2-B9068E6E346F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3" name="Group 662">
              <a:extLst>
                <a:ext uri="{FF2B5EF4-FFF2-40B4-BE49-F238E27FC236}">
                  <a16:creationId xmlns:a16="http://schemas.microsoft.com/office/drawing/2014/main" id="{A4CF83D7-3A3C-44CE-ABF8-E4FFF5FFCDB7}"/>
                </a:ext>
              </a:extLst>
            </p:cNvPr>
            <p:cNvGrpSpPr/>
            <p:nvPr/>
          </p:nvGrpSpPr>
          <p:grpSpPr>
            <a:xfrm>
              <a:off x="3703936" y="3019204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19" name="Freeform 495">
                <a:extLst>
                  <a:ext uri="{FF2B5EF4-FFF2-40B4-BE49-F238E27FC236}">
                    <a16:creationId xmlns:a16="http://schemas.microsoft.com/office/drawing/2014/main" id="{20E33388-2F84-4259-96BA-11988DCD1882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0" name="Freeform 496">
                <a:extLst>
                  <a:ext uri="{FF2B5EF4-FFF2-40B4-BE49-F238E27FC236}">
                    <a16:creationId xmlns:a16="http://schemas.microsoft.com/office/drawing/2014/main" id="{C809C0B1-6870-4E34-9F2C-B0A19BFC1F52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1" name="Freeform 497">
                <a:extLst>
                  <a:ext uri="{FF2B5EF4-FFF2-40B4-BE49-F238E27FC236}">
                    <a16:creationId xmlns:a16="http://schemas.microsoft.com/office/drawing/2014/main" id="{90BA6A94-8606-48CD-B474-535004141260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4" name="Group 663">
              <a:extLst>
                <a:ext uri="{FF2B5EF4-FFF2-40B4-BE49-F238E27FC236}">
                  <a16:creationId xmlns:a16="http://schemas.microsoft.com/office/drawing/2014/main" id="{94B85C68-E48E-4DF5-AE40-96B162FBBB51}"/>
                </a:ext>
              </a:extLst>
            </p:cNvPr>
            <p:cNvGrpSpPr/>
            <p:nvPr/>
          </p:nvGrpSpPr>
          <p:grpSpPr>
            <a:xfrm>
              <a:off x="3801033" y="3061221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16" name="Freeform 499">
                <a:extLst>
                  <a:ext uri="{FF2B5EF4-FFF2-40B4-BE49-F238E27FC236}">
                    <a16:creationId xmlns:a16="http://schemas.microsoft.com/office/drawing/2014/main" id="{2B67F966-91FB-4389-8C5D-37CC2805D25D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7" name="Freeform 500">
                <a:extLst>
                  <a:ext uri="{FF2B5EF4-FFF2-40B4-BE49-F238E27FC236}">
                    <a16:creationId xmlns:a16="http://schemas.microsoft.com/office/drawing/2014/main" id="{9A3BE8FB-9D6A-4874-90E0-E30FC0379A5A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8" name="Freeform 501">
                <a:extLst>
                  <a:ext uri="{FF2B5EF4-FFF2-40B4-BE49-F238E27FC236}">
                    <a16:creationId xmlns:a16="http://schemas.microsoft.com/office/drawing/2014/main" id="{225A4532-8984-49CB-B34B-385D462A96F4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5" name="Group 664">
              <a:extLst>
                <a:ext uri="{FF2B5EF4-FFF2-40B4-BE49-F238E27FC236}">
                  <a16:creationId xmlns:a16="http://schemas.microsoft.com/office/drawing/2014/main" id="{87976588-5C5E-458B-8747-B5B8C27BED2F}"/>
                </a:ext>
              </a:extLst>
            </p:cNvPr>
            <p:cNvGrpSpPr/>
            <p:nvPr/>
          </p:nvGrpSpPr>
          <p:grpSpPr>
            <a:xfrm>
              <a:off x="3606839" y="2854474"/>
              <a:ext cx="194194" cy="207487"/>
              <a:chOff x="6673852" y="2507796"/>
              <a:chExt cx="3493295" cy="3112291"/>
            </a:xfrm>
            <a:solidFill>
              <a:srgbClr val="C48C2D">
                <a:alpha val="50196"/>
              </a:srgbClr>
            </a:solidFill>
          </p:grpSpPr>
          <p:sp>
            <p:nvSpPr>
              <p:cNvPr id="813" name="Freeform 503">
                <a:extLst>
                  <a:ext uri="{FF2B5EF4-FFF2-40B4-BE49-F238E27FC236}">
                    <a16:creationId xmlns:a16="http://schemas.microsoft.com/office/drawing/2014/main" id="{CAE4F813-DA3F-4F3D-BE7B-47B0CD3627D1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4" name="Freeform 504">
                <a:extLst>
                  <a:ext uri="{FF2B5EF4-FFF2-40B4-BE49-F238E27FC236}">
                    <a16:creationId xmlns:a16="http://schemas.microsoft.com/office/drawing/2014/main" id="{2684023F-0B55-4C50-B018-2CE7657D7F51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5" name="Freeform 505">
                <a:extLst>
                  <a:ext uri="{FF2B5EF4-FFF2-40B4-BE49-F238E27FC236}">
                    <a16:creationId xmlns:a16="http://schemas.microsoft.com/office/drawing/2014/main" id="{69F1DAF5-707E-4019-8BC4-633A19612C7E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6" name="Group 665">
              <a:extLst>
                <a:ext uri="{FF2B5EF4-FFF2-40B4-BE49-F238E27FC236}">
                  <a16:creationId xmlns:a16="http://schemas.microsoft.com/office/drawing/2014/main" id="{04D17AA6-8AFD-4DB9-B857-3A0A1245FF37}"/>
                </a:ext>
              </a:extLst>
            </p:cNvPr>
            <p:cNvGrpSpPr/>
            <p:nvPr/>
          </p:nvGrpSpPr>
          <p:grpSpPr>
            <a:xfrm>
              <a:off x="3703936" y="2896490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10" name="Freeform 507">
                <a:extLst>
                  <a:ext uri="{FF2B5EF4-FFF2-40B4-BE49-F238E27FC236}">
                    <a16:creationId xmlns:a16="http://schemas.microsoft.com/office/drawing/2014/main" id="{BFB4E7C2-A043-430B-BECA-419B05D53F21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1" name="Freeform 508">
                <a:extLst>
                  <a:ext uri="{FF2B5EF4-FFF2-40B4-BE49-F238E27FC236}">
                    <a16:creationId xmlns:a16="http://schemas.microsoft.com/office/drawing/2014/main" id="{55DA27CA-6056-4024-944C-D45809424D8B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2" name="Freeform 509">
                <a:extLst>
                  <a:ext uri="{FF2B5EF4-FFF2-40B4-BE49-F238E27FC236}">
                    <a16:creationId xmlns:a16="http://schemas.microsoft.com/office/drawing/2014/main" id="{8FCD0AB8-1D10-405B-BE16-FB67FBCB3F1C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7" name="Group 666">
              <a:extLst>
                <a:ext uri="{FF2B5EF4-FFF2-40B4-BE49-F238E27FC236}">
                  <a16:creationId xmlns:a16="http://schemas.microsoft.com/office/drawing/2014/main" id="{D5B7300B-DAFD-4837-A58C-04FE394CC449}"/>
                </a:ext>
              </a:extLst>
            </p:cNvPr>
            <p:cNvGrpSpPr/>
            <p:nvPr/>
          </p:nvGrpSpPr>
          <p:grpSpPr>
            <a:xfrm>
              <a:off x="3801033" y="2938507"/>
              <a:ext cx="194194" cy="207487"/>
              <a:chOff x="6673854" y="2507796"/>
              <a:chExt cx="3493293" cy="3112296"/>
            </a:xfrm>
            <a:solidFill>
              <a:srgbClr val="C48C2D">
                <a:alpha val="50196"/>
              </a:srgbClr>
            </a:solidFill>
          </p:grpSpPr>
          <p:sp>
            <p:nvSpPr>
              <p:cNvPr id="807" name="Freeform 511">
                <a:extLst>
                  <a:ext uri="{FF2B5EF4-FFF2-40B4-BE49-F238E27FC236}">
                    <a16:creationId xmlns:a16="http://schemas.microsoft.com/office/drawing/2014/main" id="{1F9078D0-14D3-4F5F-B3A5-C5DA3C6D214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8" name="Freeform 512">
                <a:extLst>
                  <a:ext uri="{FF2B5EF4-FFF2-40B4-BE49-F238E27FC236}">
                    <a16:creationId xmlns:a16="http://schemas.microsoft.com/office/drawing/2014/main" id="{AC767ED8-E1E9-4480-A2C5-4AA05EF44D14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9" name="Freeform 513">
                <a:extLst>
                  <a:ext uri="{FF2B5EF4-FFF2-40B4-BE49-F238E27FC236}">
                    <a16:creationId xmlns:a16="http://schemas.microsoft.com/office/drawing/2014/main" id="{B8CB2770-2A3C-478E-94DE-2E0E0BF9BC95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8" name="Group 667">
              <a:extLst>
                <a:ext uri="{FF2B5EF4-FFF2-40B4-BE49-F238E27FC236}">
                  <a16:creationId xmlns:a16="http://schemas.microsoft.com/office/drawing/2014/main" id="{3297423E-9402-4891-8A15-9604A56BCFD4}"/>
                </a:ext>
              </a:extLst>
            </p:cNvPr>
            <p:cNvGrpSpPr/>
            <p:nvPr/>
          </p:nvGrpSpPr>
          <p:grpSpPr>
            <a:xfrm>
              <a:off x="3606552" y="2732447"/>
              <a:ext cx="194195" cy="207488"/>
              <a:chOff x="6673852" y="2507796"/>
              <a:chExt cx="3493295" cy="3112292"/>
            </a:xfrm>
            <a:solidFill>
              <a:srgbClr val="7F7BD4">
                <a:alpha val="50196"/>
              </a:srgbClr>
            </a:solidFill>
          </p:grpSpPr>
          <p:sp>
            <p:nvSpPr>
              <p:cNvPr id="804" name="Freeform 515">
                <a:extLst>
                  <a:ext uri="{FF2B5EF4-FFF2-40B4-BE49-F238E27FC236}">
                    <a16:creationId xmlns:a16="http://schemas.microsoft.com/office/drawing/2014/main" id="{A51A460C-AFA9-4BA5-B3E1-E4971AA60583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5" name="Freeform 516">
                <a:extLst>
                  <a:ext uri="{FF2B5EF4-FFF2-40B4-BE49-F238E27FC236}">
                    <a16:creationId xmlns:a16="http://schemas.microsoft.com/office/drawing/2014/main" id="{F5B2281D-124A-401D-8CC6-B31249AC2C6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6" name="Freeform 517">
                <a:extLst>
                  <a:ext uri="{FF2B5EF4-FFF2-40B4-BE49-F238E27FC236}">
                    <a16:creationId xmlns:a16="http://schemas.microsoft.com/office/drawing/2014/main" id="{6AEBFB45-E889-4D0D-B527-05903A15F06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69" name="Group 668">
              <a:extLst>
                <a:ext uri="{FF2B5EF4-FFF2-40B4-BE49-F238E27FC236}">
                  <a16:creationId xmlns:a16="http://schemas.microsoft.com/office/drawing/2014/main" id="{631BDA7A-7B8D-479B-A3EF-C85FCAA9E0FB}"/>
                </a:ext>
              </a:extLst>
            </p:cNvPr>
            <p:cNvGrpSpPr/>
            <p:nvPr/>
          </p:nvGrpSpPr>
          <p:grpSpPr>
            <a:xfrm>
              <a:off x="3703648" y="2774463"/>
              <a:ext cx="194194" cy="207488"/>
              <a:chOff x="6673854" y="2507796"/>
              <a:chExt cx="3493293" cy="3112295"/>
            </a:xfrm>
            <a:solidFill>
              <a:srgbClr val="7F7BD4">
                <a:alpha val="50196"/>
              </a:srgbClr>
            </a:solidFill>
          </p:grpSpPr>
          <p:sp>
            <p:nvSpPr>
              <p:cNvPr id="801" name="Freeform 519">
                <a:extLst>
                  <a:ext uri="{FF2B5EF4-FFF2-40B4-BE49-F238E27FC236}">
                    <a16:creationId xmlns:a16="http://schemas.microsoft.com/office/drawing/2014/main" id="{AA66EF2C-544A-4B6A-8CC0-DDDD762D8A18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2" name="Freeform 520">
                <a:extLst>
                  <a:ext uri="{FF2B5EF4-FFF2-40B4-BE49-F238E27FC236}">
                    <a16:creationId xmlns:a16="http://schemas.microsoft.com/office/drawing/2014/main" id="{8350E4D3-6D52-439D-AC2A-8CE77579FFA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3" name="Freeform 521">
                <a:extLst>
                  <a:ext uri="{FF2B5EF4-FFF2-40B4-BE49-F238E27FC236}">
                    <a16:creationId xmlns:a16="http://schemas.microsoft.com/office/drawing/2014/main" id="{A054BDDB-8839-4094-BAF5-A0E9078683FF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0" name="Group 669">
              <a:extLst>
                <a:ext uri="{FF2B5EF4-FFF2-40B4-BE49-F238E27FC236}">
                  <a16:creationId xmlns:a16="http://schemas.microsoft.com/office/drawing/2014/main" id="{B510B5F7-58FB-4078-ADA4-844633BF2A0C}"/>
                </a:ext>
              </a:extLst>
            </p:cNvPr>
            <p:cNvGrpSpPr/>
            <p:nvPr/>
          </p:nvGrpSpPr>
          <p:grpSpPr>
            <a:xfrm>
              <a:off x="3800745" y="2816480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798" name="Freeform 523">
                <a:extLst>
                  <a:ext uri="{FF2B5EF4-FFF2-40B4-BE49-F238E27FC236}">
                    <a16:creationId xmlns:a16="http://schemas.microsoft.com/office/drawing/2014/main" id="{92D24026-CE97-4FA0-9EF6-4DA8EE1CFA43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9" name="Freeform 524">
                <a:extLst>
                  <a:ext uri="{FF2B5EF4-FFF2-40B4-BE49-F238E27FC236}">
                    <a16:creationId xmlns:a16="http://schemas.microsoft.com/office/drawing/2014/main" id="{5C0FCDAB-895E-46CB-8B9F-4BFE6E3106D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0" name="Freeform 525">
                <a:extLst>
                  <a:ext uri="{FF2B5EF4-FFF2-40B4-BE49-F238E27FC236}">
                    <a16:creationId xmlns:a16="http://schemas.microsoft.com/office/drawing/2014/main" id="{57693D53-9C5B-48EB-B36B-3D37CAA3E96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1" name="Group 670">
              <a:extLst>
                <a:ext uri="{FF2B5EF4-FFF2-40B4-BE49-F238E27FC236}">
                  <a16:creationId xmlns:a16="http://schemas.microsoft.com/office/drawing/2014/main" id="{EBAEEF0D-E678-4A40-97EF-F582B55A35CE}"/>
                </a:ext>
              </a:extLst>
            </p:cNvPr>
            <p:cNvGrpSpPr/>
            <p:nvPr/>
          </p:nvGrpSpPr>
          <p:grpSpPr>
            <a:xfrm>
              <a:off x="3899602" y="3226196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795" name="Freeform 527">
                <a:extLst>
                  <a:ext uri="{FF2B5EF4-FFF2-40B4-BE49-F238E27FC236}">
                    <a16:creationId xmlns:a16="http://schemas.microsoft.com/office/drawing/2014/main" id="{4528B7D0-103C-426F-B1A5-823043B45FC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6" name="Freeform 528">
                <a:extLst>
                  <a:ext uri="{FF2B5EF4-FFF2-40B4-BE49-F238E27FC236}">
                    <a16:creationId xmlns:a16="http://schemas.microsoft.com/office/drawing/2014/main" id="{DAA3418D-7D8A-4138-A19F-6FD6C5980A74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7" name="Freeform 529">
                <a:extLst>
                  <a:ext uri="{FF2B5EF4-FFF2-40B4-BE49-F238E27FC236}">
                    <a16:creationId xmlns:a16="http://schemas.microsoft.com/office/drawing/2014/main" id="{7C76B369-768F-48E8-8584-A6D09EC0FBE9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2" name="Group 671">
              <a:extLst>
                <a:ext uri="{FF2B5EF4-FFF2-40B4-BE49-F238E27FC236}">
                  <a16:creationId xmlns:a16="http://schemas.microsoft.com/office/drawing/2014/main" id="{7AA501C8-B0B6-427E-9846-65662C39207D}"/>
                </a:ext>
              </a:extLst>
            </p:cNvPr>
            <p:cNvGrpSpPr/>
            <p:nvPr/>
          </p:nvGrpSpPr>
          <p:grpSpPr>
            <a:xfrm>
              <a:off x="3899602" y="3103481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792" name="Freeform 531">
                <a:extLst>
                  <a:ext uri="{FF2B5EF4-FFF2-40B4-BE49-F238E27FC236}">
                    <a16:creationId xmlns:a16="http://schemas.microsoft.com/office/drawing/2014/main" id="{6721A4E2-9ADE-426E-A045-36A8AA9D6090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3" name="Freeform 532">
                <a:extLst>
                  <a:ext uri="{FF2B5EF4-FFF2-40B4-BE49-F238E27FC236}">
                    <a16:creationId xmlns:a16="http://schemas.microsoft.com/office/drawing/2014/main" id="{63A5F4D4-6495-4A09-A71B-CBB3D2B52F5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4" name="Freeform 533">
                <a:extLst>
                  <a:ext uri="{FF2B5EF4-FFF2-40B4-BE49-F238E27FC236}">
                    <a16:creationId xmlns:a16="http://schemas.microsoft.com/office/drawing/2014/main" id="{EA295672-10D6-4FAE-BFB4-01AADFBD000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77EBA93C-2AAA-47C6-9AE6-87AAD4513363}"/>
                </a:ext>
              </a:extLst>
            </p:cNvPr>
            <p:cNvGrpSpPr/>
            <p:nvPr/>
          </p:nvGrpSpPr>
          <p:grpSpPr>
            <a:xfrm>
              <a:off x="3899602" y="2980767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789" name="Freeform 535">
                <a:extLst>
                  <a:ext uri="{FF2B5EF4-FFF2-40B4-BE49-F238E27FC236}">
                    <a16:creationId xmlns:a16="http://schemas.microsoft.com/office/drawing/2014/main" id="{0D26A545-1B40-4103-9650-96966DB96AA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0" name="Freeform 536">
                <a:extLst>
                  <a:ext uri="{FF2B5EF4-FFF2-40B4-BE49-F238E27FC236}">
                    <a16:creationId xmlns:a16="http://schemas.microsoft.com/office/drawing/2014/main" id="{DDF96839-B9B0-4CC4-9693-D0A4B1517E9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1" name="Freeform 537">
                <a:extLst>
                  <a:ext uri="{FF2B5EF4-FFF2-40B4-BE49-F238E27FC236}">
                    <a16:creationId xmlns:a16="http://schemas.microsoft.com/office/drawing/2014/main" id="{E0312959-8F7C-4901-860C-9BF23B2F2640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4" name="Group 673">
              <a:extLst>
                <a:ext uri="{FF2B5EF4-FFF2-40B4-BE49-F238E27FC236}">
                  <a16:creationId xmlns:a16="http://schemas.microsoft.com/office/drawing/2014/main" id="{3219E77D-B4C9-421A-B43C-FB9F3FD75ABD}"/>
                </a:ext>
              </a:extLst>
            </p:cNvPr>
            <p:cNvGrpSpPr/>
            <p:nvPr/>
          </p:nvGrpSpPr>
          <p:grpSpPr>
            <a:xfrm>
              <a:off x="3899316" y="2858740"/>
              <a:ext cx="194194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786" name="Freeform 539">
                <a:extLst>
                  <a:ext uri="{FF2B5EF4-FFF2-40B4-BE49-F238E27FC236}">
                    <a16:creationId xmlns:a16="http://schemas.microsoft.com/office/drawing/2014/main" id="{6A8BD197-1D48-4BE5-840B-FEB6ACAA9F7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7" name="Freeform 540">
                <a:extLst>
                  <a:ext uri="{FF2B5EF4-FFF2-40B4-BE49-F238E27FC236}">
                    <a16:creationId xmlns:a16="http://schemas.microsoft.com/office/drawing/2014/main" id="{0DD8BDB8-6C84-44F5-9E30-FACC16BDE0F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8" name="Freeform 541">
                <a:extLst>
                  <a:ext uri="{FF2B5EF4-FFF2-40B4-BE49-F238E27FC236}">
                    <a16:creationId xmlns:a16="http://schemas.microsoft.com/office/drawing/2014/main" id="{7BCA2311-A839-447E-AA16-2AFFFA69D9A6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5" name="Group 674">
              <a:extLst>
                <a:ext uri="{FF2B5EF4-FFF2-40B4-BE49-F238E27FC236}">
                  <a16:creationId xmlns:a16="http://schemas.microsoft.com/office/drawing/2014/main" id="{1EB47A4E-2161-43DF-A2F9-C0EC06FFAB08}"/>
                </a:ext>
              </a:extLst>
            </p:cNvPr>
            <p:cNvGrpSpPr/>
            <p:nvPr/>
          </p:nvGrpSpPr>
          <p:grpSpPr>
            <a:xfrm>
              <a:off x="3998832" y="3270307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783" name="Freeform 543">
                <a:extLst>
                  <a:ext uri="{FF2B5EF4-FFF2-40B4-BE49-F238E27FC236}">
                    <a16:creationId xmlns:a16="http://schemas.microsoft.com/office/drawing/2014/main" id="{C9CF0D46-8F15-4D2E-92A3-18ECEC1F9E3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4" name="Freeform 544">
                <a:extLst>
                  <a:ext uri="{FF2B5EF4-FFF2-40B4-BE49-F238E27FC236}">
                    <a16:creationId xmlns:a16="http://schemas.microsoft.com/office/drawing/2014/main" id="{1B522DDB-73DB-47DC-BB31-849CD2E7354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5" name="Freeform 545">
                <a:extLst>
                  <a:ext uri="{FF2B5EF4-FFF2-40B4-BE49-F238E27FC236}">
                    <a16:creationId xmlns:a16="http://schemas.microsoft.com/office/drawing/2014/main" id="{6A18D185-E6EE-4F47-A7B5-94A6417214A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6" name="Group 675">
              <a:extLst>
                <a:ext uri="{FF2B5EF4-FFF2-40B4-BE49-F238E27FC236}">
                  <a16:creationId xmlns:a16="http://schemas.microsoft.com/office/drawing/2014/main" id="{0629F08F-AD52-4EA9-9B4A-E7161C86B70C}"/>
                </a:ext>
              </a:extLst>
            </p:cNvPr>
            <p:cNvGrpSpPr/>
            <p:nvPr/>
          </p:nvGrpSpPr>
          <p:grpSpPr>
            <a:xfrm>
              <a:off x="3998832" y="3147591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780" name="Freeform 547">
                <a:extLst>
                  <a:ext uri="{FF2B5EF4-FFF2-40B4-BE49-F238E27FC236}">
                    <a16:creationId xmlns:a16="http://schemas.microsoft.com/office/drawing/2014/main" id="{8D1AB610-DFF2-4E5E-AD16-66C03F7F754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1" name="Freeform 548">
                <a:extLst>
                  <a:ext uri="{FF2B5EF4-FFF2-40B4-BE49-F238E27FC236}">
                    <a16:creationId xmlns:a16="http://schemas.microsoft.com/office/drawing/2014/main" id="{E9876733-C281-4E24-924F-E1897023349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2" name="Freeform 549">
                <a:extLst>
                  <a:ext uri="{FF2B5EF4-FFF2-40B4-BE49-F238E27FC236}">
                    <a16:creationId xmlns:a16="http://schemas.microsoft.com/office/drawing/2014/main" id="{D72B44C6-38E7-4C3A-9F82-56710842907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7" name="Group 676">
              <a:extLst>
                <a:ext uri="{FF2B5EF4-FFF2-40B4-BE49-F238E27FC236}">
                  <a16:creationId xmlns:a16="http://schemas.microsoft.com/office/drawing/2014/main" id="{F33AF0BA-C768-400D-B6F1-7DCD5B36E03F}"/>
                </a:ext>
              </a:extLst>
            </p:cNvPr>
            <p:cNvGrpSpPr/>
            <p:nvPr/>
          </p:nvGrpSpPr>
          <p:grpSpPr>
            <a:xfrm>
              <a:off x="3998832" y="3024877"/>
              <a:ext cx="194195" cy="207487"/>
              <a:chOff x="6673854" y="2507796"/>
              <a:chExt cx="3493293" cy="3112295"/>
            </a:xfrm>
            <a:solidFill>
              <a:srgbClr val="2785BA">
                <a:alpha val="49804"/>
              </a:srgbClr>
            </a:solidFill>
          </p:grpSpPr>
          <p:sp>
            <p:nvSpPr>
              <p:cNvPr id="777" name="Freeform 551">
                <a:extLst>
                  <a:ext uri="{FF2B5EF4-FFF2-40B4-BE49-F238E27FC236}">
                    <a16:creationId xmlns:a16="http://schemas.microsoft.com/office/drawing/2014/main" id="{E37A7716-1C40-4DFC-906F-8B45AB0B209D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8" name="Freeform 552">
                <a:extLst>
                  <a:ext uri="{FF2B5EF4-FFF2-40B4-BE49-F238E27FC236}">
                    <a16:creationId xmlns:a16="http://schemas.microsoft.com/office/drawing/2014/main" id="{95276640-5DF8-4F03-BA26-1C901788BDF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9" name="Freeform 553">
                <a:extLst>
                  <a:ext uri="{FF2B5EF4-FFF2-40B4-BE49-F238E27FC236}">
                    <a16:creationId xmlns:a16="http://schemas.microsoft.com/office/drawing/2014/main" id="{9AD642E9-88C8-4F69-B140-6C5DD4F48B60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8" name="Group 677">
              <a:extLst>
                <a:ext uri="{FF2B5EF4-FFF2-40B4-BE49-F238E27FC236}">
                  <a16:creationId xmlns:a16="http://schemas.microsoft.com/office/drawing/2014/main" id="{2A17FC3E-C7F5-4F19-9E69-F5F1FB68D0FC}"/>
                </a:ext>
              </a:extLst>
            </p:cNvPr>
            <p:cNvGrpSpPr/>
            <p:nvPr/>
          </p:nvGrpSpPr>
          <p:grpSpPr>
            <a:xfrm>
              <a:off x="3998546" y="2902850"/>
              <a:ext cx="194195" cy="207487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774" name="Freeform 555">
                <a:extLst>
                  <a:ext uri="{FF2B5EF4-FFF2-40B4-BE49-F238E27FC236}">
                    <a16:creationId xmlns:a16="http://schemas.microsoft.com/office/drawing/2014/main" id="{45540794-D5EC-4044-8E40-EBB6ED4D6D2B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5" name="Freeform 556">
                <a:extLst>
                  <a:ext uri="{FF2B5EF4-FFF2-40B4-BE49-F238E27FC236}">
                    <a16:creationId xmlns:a16="http://schemas.microsoft.com/office/drawing/2014/main" id="{65D9DB4D-0954-414C-BAFF-FAFA5910740D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6" name="Freeform 557">
                <a:extLst>
                  <a:ext uri="{FF2B5EF4-FFF2-40B4-BE49-F238E27FC236}">
                    <a16:creationId xmlns:a16="http://schemas.microsoft.com/office/drawing/2014/main" id="{0D4060C8-D3D1-40CA-A240-EB477D165BA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79" name="Group 678">
              <a:extLst>
                <a:ext uri="{FF2B5EF4-FFF2-40B4-BE49-F238E27FC236}">
                  <a16:creationId xmlns:a16="http://schemas.microsoft.com/office/drawing/2014/main" id="{88235F24-F4ED-403B-B2E8-42F1B7E395F5}"/>
                </a:ext>
              </a:extLst>
            </p:cNvPr>
            <p:cNvGrpSpPr/>
            <p:nvPr/>
          </p:nvGrpSpPr>
          <p:grpSpPr>
            <a:xfrm>
              <a:off x="3604953" y="2611924"/>
              <a:ext cx="194195" cy="207488"/>
              <a:chOff x="6673852" y="2507796"/>
              <a:chExt cx="3493295" cy="3112292"/>
            </a:xfrm>
            <a:solidFill>
              <a:srgbClr val="36848A">
                <a:alpha val="50196"/>
              </a:srgbClr>
            </a:solidFill>
          </p:grpSpPr>
          <p:sp>
            <p:nvSpPr>
              <p:cNvPr id="771" name="Freeform 642">
                <a:extLst>
                  <a:ext uri="{FF2B5EF4-FFF2-40B4-BE49-F238E27FC236}">
                    <a16:creationId xmlns:a16="http://schemas.microsoft.com/office/drawing/2014/main" id="{829A3195-11EE-4D8E-8FE9-2A67F2A1D395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2" name="Freeform 643">
                <a:extLst>
                  <a:ext uri="{FF2B5EF4-FFF2-40B4-BE49-F238E27FC236}">
                    <a16:creationId xmlns:a16="http://schemas.microsoft.com/office/drawing/2014/main" id="{DFE99AA3-EDB3-4494-A600-14CB58BC09B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3" name="Freeform 644">
                <a:extLst>
                  <a:ext uri="{FF2B5EF4-FFF2-40B4-BE49-F238E27FC236}">
                    <a16:creationId xmlns:a16="http://schemas.microsoft.com/office/drawing/2014/main" id="{CBA743FF-D037-49A8-AAC8-5F21444BBDC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80" name="Group 679">
              <a:extLst>
                <a:ext uri="{FF2B5EF4-FFF2-40B4-BE49-F238E27FC236}">
                  <a16:creationId xmlns:a16="http://schemas.microsoft.com/office/drawing/2014/main" id="{60D10781-D2DE-4F05-8110-39F1BEF2976B}"/>
                </a:ext>
              </a:extLst>
            </p:cNvPr>
            <p:cNvGrpSpPr/>
            <p:nvPr/>
          </p:nvGrpSpPr>
          <p:grpSpPr>
            <a:xfrm>
              <a:off x="3702049" y="2653940"/>
              <a:ext cx="194194" cy="207488"/>
              <a:chOff x="6673854" y="2507796"/>
              <a:chExt cx="3493293" cy="3112295"/>
            </a:xfrm>
            <a:solidFill>
              <a:srgbClr val="36848A">
                <a:alpha val="50196"/>
              </a:srgbClr>
            </a:solidFill>
          </p:grpSpPr>
          <p:sp>
            <p:nvSpPr>
              <p:cNvPr id="768" name="Freeform 646">
                <a:extLst>
                  <a:ext uri="{FF2B5EF4-FFF2-40B4-BE49-F238E27FC236}">
                    <a16:creationId xmlns:a16="http://schemas.microsoft.com/office/drawing/2014/main" id="{D7642A93-233E-4325-8F92-27253F870DF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9" name="Freeform 647">
                <a:extLst>
                  <a:ext uri="{FF2B5EF4-FFF2-40B4-BE49-F238E27FC236}">
                    <a16:creationId xmlns:a16="http://schemas.microsoft.com/office/drawing/2014/main" id="{EE769926-7BA1-421C-8733-F562AFAF469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0" name="Freeform 648">
                <a:extLst>
                  <a:ext uri="{FF2B5EF4-FFF2-40B4-BE49-F238E27FC236}">
                    <a16:creationId xmlns:a16="http://schemas.microsoft.com/office/drawing/2014/main" id="{4642402F-B64A-4B99-8910-099AAA1DCFE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ABD0F97F-5A9D-41B5-A73D-E810AF885F86}"/>
                </a:ext>
              </a:extLst>
            </p:cNvPr>
            <p:cNvGrpSpPr/>
            <p:nvPr/>
          </p:nvGrpSpPr>
          <p:grpSpPr>
            <a:xfrm>
              <a:off x="3799147" y="2695957"/>
              <a:ext cx="194194" cy="207488"/>
              <a:chOff x="6673854" y="2507796"/>
              <a:chExt cx="3493293" cy="3112295"/>
            </a:xfrm>
            <a:solidFill>
              <a:srgbClr val="7F7BD4">
                <a:alpha val="50196"/>
              </a:srgbClr>
            </a:solidFill>
          </p:grpSpPr>
          <p:sp>
            <p:nvSpPr>
              <p:cNvPr id="765" name="Freeform 650">
                <a:extLst>
                  <a:ext uri="{FF2B5EF4-FFF2-40B4-BE49-F238E27FC236}">
                    <a16:creationId xmlns:a16="http://schemas.microsoft.com/office/drawing/2014/main" id="{CDF2D216-0E4B-496A-8C73-6E19FA78E0C3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6" name="Freeform 651">
                <a:extLst>
                  <a:ext uri="{FF2B5EF4-FFF2-40B4-BE49-F238E27FC236}">
                    <a16:creationId xmlns:a16="http://schemas.microsoft.com/office/drawing/2014/main" id="{E6E663DA-B536-43AA-9DDD-612AD7AAA27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7" name="Freeform 652">
                <a:extLst>
                  <a:ext uri="{FF2B5EF4-FFF2-40B4-BE49-F238E27FC236}">
                    <a16:creationId xmlns:a16="http://schemas.microsoft.com/office/drawing/2014/main" id="{D2960A0C-12C5-4ED1-8E13-37E057CDB5AE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82" name="Group 681">
              <a:extLst>
                <a:ext uri="{FF2B5EF4-FFF2-40B4-BE49-F238E27FC236}">
                  <a16:creationId xmlns:a16="http://schemas.microsoft.com/office/drawing/2014/main" id="{5B30E1F6-CBF7-4C0C-98D7-3C2CBCB5CDE9}"/>
                </a:ext>
              </a:extLst>
            </p:cNvPr>
            <p:cNvGrpSpPr/>
            <p:nvPr/>
          </p:nvGrpSpPr>
          <p:grpSpPr>
            <a:xfrm>
              <a:off x="3897717" y="2738217"/>
              <a:ext cx="194194" cy="207487"/>
              <a:chOff x="6673854" y="2507796"/>
              <a:chExt cx="3493293" cy="3112295"/>
            </a:xfrm>
            <a:solidFill>
              <a:srgbClr val="7F7BD4">
                <a:alpha val="50196"/>
              </a:srgbClr>
            </a:solidFill>
          </p:grpSpPr>
          <p:sp>
            <p:nvSpPr>
              <p:cNvPr id="762" name="Freeform 654">
                <a:extLst>
                  <a:ext uri="{FF2B5EF4-FFF2-40B4-BE49-F238E27FC236}">
                    <a16:creationId xmlns:a16="http://schemas.microsoft.com/office/drawing/2014/main" id="{EE0DEAD8-0A6D-40F9-B14D-4253EA260C4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3" name="Freeform 655">
                <a:extLst>
                  <a:ext uri="{FF2B5EF4-FFF2-40B4-BE49-F238E27FC236}">
                    <a16:creationId xmlns:a16="http://schemas.microsoft.com/office/drawing/2014/main" id="{04F350E8-9980-4F4F-822C-0BC83287004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4" name="Freeform 656">
                <a:extLst>
                  <a:ext uri="{FF2B5EF4-FFF2-40B4-BE49-F238E27FC236}">
                    <a16:creationId xmlns:a16="http://schemas.microsoft.com/office/drawing/2014/main" id="{D9A1091C-1C30-417A-8203-9EF37ABC985F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83" name="Group 682">
              <a:extLst>
                <a:ext uri="{FF2B5EF4-FFF2-40B4-BE49-F238E27FC236}">
                  <a16:creationId xmlns:a16="http://schemas.microsoft.com/office/drawing/2014/main" id="{0346C417-F15D-4880-8FE3-FFD4CA1FE2D6}"/>
                </a:ext>
              </a:extLst>
            </p:cNvPr>
            <p:cNvGrpSpPr/>
            <p:nvPr/>
          </p:nvGrpSpPr>
          <p:grpSpPr>
            <a:xfrm>
              <a:off x="3996947" y="2782327"/>
              <a:ext cx="194195" cy="207487"/>
              <a:chOff x="6673854" y="2507796"/>
              <a:chExt cx="3493293" cy="3112295"/>
            </a:xfrm>
            <a:solidFill>
              <a:srgbClr val="7F7BD4">
                <a:alpha val="50196"/>
              </a:srgbClr>
            </a:solidFill>
          </p:grpSpPr>
          <p:sp>
            <p:nvSpPr>
              <p:cNvPr id="759" name="Freeform 658">
                <a:extLst>
                  <a:ext uri="{FF2B5EF4-FFF2-40B4-BE49-F238E27FC236}">
                    <a16:creationId xmlns:a16="http://schemas.microsoft.com/office/drawing/2014/main" id="{BB998B77-1C96-42E5-B130-C3EFD9B451EB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0" name="Freeform 659">
                <a:extLst>
                  <a:ext uri="{FF2B5EF4-FFF2-40B4-BE49-F238E27FC236}">
                    <a16:creationId xmlns:a16="http://schemas.microsoft.com/office/drawing/2014/main" id="{26CB51B0-F609-48EF-9CEC-62B63C98DDA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1" name="Freeform 660">
                <a:extLst>
                  <a:ext uri="{FF2B5EF4-FFF2-40B4-BE49-F238E27FC236}">
                    <a16:creationId xmlns:a16="http://schemas.microsoft.com/office/drawing/2014/main" id="{C46838CF-0A63-4471-8991-E0F48EC7FF0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84" name="Freeform 847">
              <a:extLst>
                <a:ext uri="{FF2B5EF4-FFF2-40B4-BE49-F238E27FC236}">
                  <a16:creationId xmlns:a16="http://schemas.microsoft.com/office/drawing/2014/main" id="{7913F499-6D20-4FB9-BFB8-11AFA8BCBA88}"/>
                </a:ext>
              </a:extLst>
            </p:cNvPr>
            <p:cNvSpPr/>
            <p:nvPr/>
          </p:nvSpPr>
          <p:spPr>
            <a:xfrm>
              <a:off x="3515207" y="3183823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5" name="Freeform 848">
              <a:extLst>
                <a:ext uri="{FF2B5EF4-FFF2-40B4-BE49-F238E27FC236}">
                  <a16:creationId xmlns:a16="http://schemas.microsoft.com/office/drawing/2014/main" id="{80F6B639-B555-4292-91D9-E5DE4D5559D5}"/>
                </a:ext>
              </a:extLst>
            </p:cNvPr>
            <p:cNvSpPr/>
            <p:nvPr/>
          </p:nvSpPr>
          <p:spPr>
            <a:xfrm>
              <a:off x="3612680" y="3184563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6" name="Freeform 849">
              <a:extLst>
                <a:ext uri="{FF2B5EF4-FFF2-40B4-BE49-F238E27FC236}">
                  <a16:creationId xmlns:a16="http://schemas.microsoft.com/office/drawing/2014/main" id="{E25C33BB-B936-432F-9C07-6DD5C5FC3BE6}"/>
                </a:ext>
              </a:extLst>
            </p:cNvPr>
            <p:cNvSpPr/>
            <p:nvPr/>
          </p:nvSpPr>
          <p:spPr>
            <a:xfrm>
              <a:off x="3515252" y="3141807"/>
              <a:ext cx="194150" cy="84667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7" name="Freeform 844">
              <a:extLst>
                <a:ext uri="{FF2B5EF4-FFF2-40B4-BE49-F238E27FC236}">
                  <a16:creationId xmlns:a16="http://schemas.microsoft.com/office/drawing/2014/main" id="{AAC2A14A-1D9C-4CE9-AFEE-640FCF5B959F}"/>
                </a:ext>
              </a:extLst>
            </p:cNvPr>
            <p:cNvSpPr/>
            <p:nvPr/>
          </p:nvSpPr>
          <p:spPr>
            <a:xfrm>
              <a:off x="3612305" y="3225839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8" name="Freeform 845">
              <a:extLst>
                <a:ext uri="{FF2B5EF4-FFF2-40B4-BE49-F238E27FC236}">
                  <a16:creationId xmlns:a16="http://schemas.microsoft.com/office/drawing/2014/main" id="{20B0904F-D1B0-4B73-B757-73717D177AD1}"/>
                </a:ext>
              </a:extLst>
            </p:cNvPr>
            <p:cNvSpPr/>
            <p:nvPr/>
          </p:nvSpPr>
          <p:spPr>
            <a:xfrm>
              <a:off x="3709777" y="3226579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9" name="Freeform 846">
              <a:extLst>
                <a:ext uri="{FF2B5EF4-FFF2-40B4-BE49-F238E27FC236}">
                  <a16:creationId xmlns:a16="http://schemas.microsoft.com/office/drawing/2014/main" id="{3C3A30C1-3DBC-4A3E-BCEF-F1C114DFA0E9}"/>
                </a:ext>
              </a:extLst>
            </p:cNvPr>
            <p:cNvSpPr/>
            <p:nvPr/>
          </p:nvSpPr>
          <p:spPr>
            <a:xfrm>
              <a:off x="3612349" y="3183823"/>
              <a:ext cx="194150" cy="84667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0" name="Freeform 841">
              <a:extLst>
                <a:ext uri="{FF2B5EF4-FFF2-40B4-BE49-F238E27FC236}">
                  <a16:creationId xmlns:a16="http://schemas.microsoft.com/office/drawing/2014/main" id="{26342909-3213-4E47-9179-A6E1CBB604E2}"/>
                </a:ext>
              </a:extLst>
            </p:cNvPr>
            <p:cNvSpPr/>
            <p:nvPr/>
          </p:nvSpPr>
          <p:spPr>
            <a:xfrm>
              <a:off x="3709401" y="3267856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1" name="Freeform 842">
              <a:extLst>
                <a:ext uri="{FF2B5EF4-FFF2-40B4-BE49-F238E27FC236}">
                  <a16:creationId xmlns:a16="http://schemas.microsoft.com/office/drawing/2014/main" id="{F3489DA6-B296-4C2B-914C-6390492C9494}"/>
                </a:ext>
              </a:extLst>
            </p:cNvPr>
            <p:cNvSpPr/>
            <p:nvPr/>
          </p:nvSpPr>
          <p:spPr>
            <a:xfrm>
              <a:off x="3806874" y="3268596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2" name="Freeform 843">
              <a:extLst>
                <a:ext uri="{FF2B5EF4-FFF2-40B4-BE49-F238E27FC236}">
                  <a16:creationId xmlns:a16="http://schemas.microsoft.com/office/drawing/2014/main" id="{2A707CE8-3BC6-4D6F-A2A9-2411EE42018B}"/>
                </a:ext>
              </a:extLst>
            </p:cNvPr>
            <p:cNvSpPr/>
            <p:nvPr/>
          </p:nvSpPr>
          <p:spPr>
            <a:xfrm>
              <a:off x="3709446" y="3225840"/>
              <a:ext cx="194150" cy="84667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3" name="Freeform 838">
              <a:extLst>
                <a:ext uri="{FF2B5EF4-FFF2-40B4-BE49-F238E27FC236}">
                  <a16:creationId xmlns:a16="http://schemas.microsoft.com/office/drawing/2014/main" id="{60EE720F-1301-4F4F-A366-14B7F6F2DB80}"/>
                </a:ext>
              </a:extLst>
            </p:cNvPr>
            <p:cNvSpPr/>
            <p:nvPr/>
          </p:nvSpPr>
          <p:spPr>
            <a:xfrm>
              <a:off x="3515207" y="3061108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4" name="Freeform 839">
              <a:extLst>
                <a:ext uri="{FF2B5EF4-FFF2-40B4-BE49-F238E27FC236}">
                  <a16:creationId xmlns:a16="http://schemas.microsoft.com/office/drawing/2014/main" id="{90CD8603-8CC4-4F42-98BF-4F5787847E70}"/>
                </a:ext>
              </a:extLst>
            </p:cNvPr>
            <p:cNvSpPr/>
            <p:nvPr/>
          </p:nvSpPr>
          <p:spPr>
            <a:xfrm>
              <a:off x="3612680" y="3061849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5" name="Freeform 840">
              <a:extLst>
                <a:ext uri="{FF2B5EF4-FFF2-40B4-BE49-F238E27FC236}">
                  <a16:creationId xmlns:a16="http://schemas.microsoft.com/office/drawing/2014/main" id="{3498CC90-7D23-409B-9C61-B71AF6762062}"/>
                </a:ext>
              </a:extLst>
            </p:cNvPr>
            <p:cNvSpPr/>
            <p:nvPr/>
          </p:nvSpPr>
          <p:spPr>
            <a:xfrm>
              <a:off x="3515252" y="3019092"/>
              <a:ext cx="194150" cy="84667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6" name="Freeform 835">
              <a:extLst>
                <a:ext uri="{FF2B5EF4-FFF2-40B4-BE49-F238E27FC236}">
                  <a16:creationId xmlns:a16="http://schemas.microsoft.com/office/drawing/2014/main" id="{6E6DBF62-0917-43BE-A477-ABA1EFCC771A}"/>
                </a:ext>
              </a:extLst>
            </p:cNvPr>
            <p:cNvSpPr/>
            <p:nvPr/>
          </p:nvSpPr>
          <p:spPr>
            <a:xfrm>
              <a:off x="3612305" y="3103124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7" name="Freeform 836">
              <a:extLst>
                <a:ext uri="{FF2B5EF4-FFF2-40B4-BE49-F238E27FC236}">
                  <a16:creationId xmlns:a16="http://schemas.microsoft.com/office/drawing/2014/main" id="{23BB3A03-1FC8-44E9-8F35-25147382F151}"/>
                </a:ext>
              </a:extLst>
            </p:cNvPr>
            <p:cNvSpPr/>
            <p:nvPr/>
          </p:nvSpPr>
          <p:spPr>
            <a:xfrm>
              <a:off x="3709777" y="3103865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8" name="Freeform 837">
              <a:extLst>
                <a:ext uri="{FF2B5EF4-FFF2-40B4-BE49-F238E27FC236}">
                  <a16:creationId xmlns:a16="http://schemas.microsoft.com/office/drawing/2014/main" id="{36FBC6E4-46E2-4E1C-B5A8-60FCE0FC0692}"/>
                </a:ext>
              </a:extLst>
            </p:cNvPr>
            <p:cNvSpPr/>
            <p:nvPr/>
          </p:nvSpPr>
          <p:spPr>
            <a:xfrm>
              <a:off x="3612349" y="3061108"/>
              <a:ext cx="194150" cy="84667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9" name="Freeform 832">
              <a:extLst>
                <a:ext uri="{FF2B5EF4-FFF2-40B4-BE49-F238E27FC236}">
                  <a16:creationId xmlns:a16="http://schemas.microsoft.com/office/drawing/2014/main" id="{49149FB8-0503-413D-AA6B-5F76D987A726}"/>
                </a:ext>
              </a:extLst>
            </p:cNvPr>
            <p:cNvSpPr/>
            <p:nvPr/>
          </p:nvSpPr>
          <p:spPr>
            <a:xfrm>
              <a:off x="3709401" y="3145141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0" name="Freeform 833">
              <a:extLst>
                <a:ext uri="{FF2B5EF4-FFF2-40B4-BE49-F238E27FC236}">
                  <a16:creationId xmlns:a16="http://schemas.microsoft.com/office/drawing/2014/main" id="{EF3A03B3-3A72-4270-95F2-5DCE29DD9C09}"/>
                </a:ext>
              </a:extLst>
            </p:cNvPr>
            <p:cNvSpPr/>
            <p:nvPr/>
          </p:nvSpPr>
          <p:spPr>
            <a:xfrm>
              <a:off x="3806874" y="3145882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1" name="Freeform 834">
              <a:extLst>
                <a:ext uri="{FF2B5EF4-FFF2-40B4-BE49-F238E27FC236}">
                  <a16:creationId xmlns:a16="http://schemas.microsoft.com/office/drawing/2014/main" id="{35AF32F6-4015-454D-97A4-F7B8EE86A7F0}"/>
                </a:ext>
              </a:extLst>
            </p:cNvPr>
            <p:cNvSpPr/>
            <p:nvPr/>
          </p:nvSpPr>
          <p:spPr>
            <a:xfrm>
              <a:off x="3709446" y="3103125"/>
              <a:ext cx="194150" cy="84667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2" name="Freeform 829">
              <a:extLst>
                <a:ext uri="{FF2B5EF4-FFF2-40B4-BE49-F238E27FC236}">
                  <a16:creationId xmlns:a16="http://schemas.microsoft.com/office/drawing/2014/main" id="{9407D42E-CD23-42AB-8614-A3B0BDD30581}"/>
                </a:ext>
              </a:extLst>
            </p:cNvPr>
            <p:cNvSpPr/>
            <p:nvPr/>
          </p:nvSpPr>
          <p:spPr>
            <a:xfrm>
              <a:off x="3515207" y="2938394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3" name="Freeform 830">
              <a:extLst>
                <a:ext uri="{FF2B5EF4-FFF2-40B4-BE49-F238E27FC236}">
                  <a16:creationId xmlns:a16="http://schemas.microsoft.com/office/drawing/2014/main" id="{151A58AB-0DB0-4291-B350-94F21E7FF972}"/>
                </a:ext>
              </a:extLst>
            </p:cNvPr>
            <p:cNvSpPr/>
            <p:nvPr/>
          </p:nvSpPr>
          <p:spPr>
            <a:xfrm>
              <a:off x="3612680" y="2939135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4" name="Freeform 831">
              <a:extLst>
                <a:ext uri="{FF2B5EF4-FFF2-40B4-BE49-F238E27FC236}">
                  <a16:creationId xmlns:a16="http://schemas.microsoft.com/office/drawing/2014/main" id="{6D0EC804-0654-421D-99CA-A26500FA39B8}"/>
                </a:ext>
              </a:extLst>
            </p:cNvPr>
            <p:cNvSpPr/>
            <p:nvPr/>
          </p:nvSpPr>
          <p:spPr>
            <a:xfrm>
              <a:off x="3515252" y="2896378"/>
              <a:ext cx="194150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5" name="Freeform 826">
              <a:extLst>
                <a:ext uri="{FF2B5EF4-FFF2-40B4-BE49-F238E27FC236}">
                  <a16:creationId xmlns:a16="http://schemas.microsoft.com/office/drawing/2014/main" id="{B3456F96-53E4-4AC2-8ABF-551250F18365}"/>
                </a:ext>
              </a:extLst>
            </p:cNvPr>
            <p:cNvSpPr/>
            <p:nvPr/>
          </p:nvSpPr>
          <p:spPr>
            <a:xfrm>
              <a:off x="3612305" y="2980410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6" name="Freeform 827">
              <a:extLst>
                <a:ext uri="{FF2B5EF4-FFF2-40B4-BE49-F238E27FC236}">
                  <a16:creationId xmlns:a16="http://schemas.microsoft.com/office/drawing/2014/main" id="{11DFA00F-2EE9-4D6B-94B7-96E4E3DEBF11}"/>
                </a:ext>
              </a:extLst>
            </p:cNvPr>
            <p:cNvSpPr/>
            <p:nvPr/>
          </p:nvSpPr>
          <p:spPr>
            <a:xfrm>
              <a:off x="3709777" y="2981151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7" name="Freeform 828">
              <a:extLst>
                <a:ext uri="{FF2B5EF4-FFF2-40B4-BE49-F238E27FC236}">
                  <a16:creationId xmlns:a16="http://schemas.microsoft.com/office/drawing/2014/main" id="{CBAA460F-59DA-4C41-B368-E9E810A21A7C}"/>
                </a:ext>
              </a:extLst>
            </p:cNvPr>
            <p:cNvSpPr/>
            <p:nvPr/>
          </p:nvSpPr>
          <p:spPr>
            <a:xfrm>
              <a:off x="3612349" y="2938394"/>
              <a:ext cx="194150" cy="84667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8" name="Freeform 823">
              <a:extLst>
                <a:ext uri="{FF2B5EF4-FFF2-40B4-BE49-F238E27FC236}">
                  <a16:creationId xmlns:a16="http://schemas.microsoft.com/office/drawing/2014/main" id="{8297459D-244A-45B4-B418-177473FDD9CD}"/>
                </a:ext>
              </a:extLst>
            </p:cNvPr>
            <p:cNvSpPr/>
            <p:nvPr/>
          </p:nvSpPr>
          <p:spPr>
            <a:xfrm>
              <a:off x="3709401" y="3022426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9" name="Freeform 824">
              <a:extLst>
                <a:ext uri="{FF2B5EF4-FFF2-40B4-BE49-F238E27FC236}">
                  <a16:creationId xmlns:a16="http://schemas.microsoft.com/office/drawing/2014/main" id="{546D6C40-609F-42C9-8C1A-C7963EA3B988}"/>
                </a:ext>
              </a:extLst>
            </p:cNvPr>
            <p:cNvSpPr/>
            <p:nvPr/>
          </p:nvSpPr>
          <p:spPr>
            <a:xfrm>
              <a:off x="3806874" y="3023167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0" name="Freeform 825">
              <a:extLst>
                <a:ext uri="{FF2B5EF4-FFF2-40B4-BE49-F238E27FC236}">
                  <a16:creationId xmlns:a16="http://schemas.microsoft.com/office/drawing/2014/main" id="{42249EF7-536F-478F-BC57-387D406FF70A}"/>
                </a:ext>
              </a:extLst>
            </p:cNvPr>
            <p:cNvSpPr/>
            <p:nvPr/>
          </p:nvSpPr>
          <p:spPr>
            <a:xfrm>
              <a:off x="3709446" y="2980410"/>
              <a:ext cx="194150" cy="84667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1" name="Freeform 820">
              <a:extLst>
                <a:ext uri="{FF2B5EF4-FFF2-40B4-BE49-F238E27FC236}">
                  <a16:creationId xmlns:a16="http://schemas.microsoft.com/office/drawing/2014/main" id="{3CD16BF0-C13E-4034-89DE-D0BDA0D2DD76}"/>
                </a:ext>
              </a:extLst>
            </p:cNvPr>
            <p:cNvSpPr/>
            <p:nvPr/>
          </p:nvSpPr>
          <p:spPr>
            <a:xfrm>
              <a:off x="3514921" y="2816367"/>
              <a:ext cx="98090" cy="165472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2" name="Freeform 821">
              <a:extLst>
                <a:ext uri="{FF2B5EF4-FFF2-40B4-BE49-F238E27FC236}">
                  <a16:creationId xmlns:a16="http://schemas.microsoft.com/office/drawing/2014/main" id="{1CC1D9F9-4F21-4BB4-947C-10B971FE8DE1}"/>
                </a:ext>
              </a:extLst>
            </p:cNvPr>
            <p:cNvSpPr/>
            <p:nvPr/>
          </p:nvSpPr>
          <p:spPr>
            <a:xfrm>
              <a:off x="3612393" y="2817108"/>
              <a:ext cx="96722" cy="164678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3" name="Freeform 822">
              <a:extLst>
                <a:ext uri="{FF2B5EF4-FFF2-40B4-BE49-F238E27FC236}">
                  <a16:creationId xmlns:a16="http://schemas.microsoft.com/office/drawing/2014/main" id="{55FEE46D-89D0-4545-A47A-23AA90184B86}"/>
                </a:ext>
              </a:extLst>
            </p:cNvPr>
            <p:cNvSpPr/>
            <p:nvPr/>
          </p:nvSpPr>
          <p:spPr>
            <a:xfrm>
              <a:off x="3514965" y="2774351"/>
              <a:ext cx="194151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4" name="Freeform 817">
              <a:extLst>
                <a:ext uri="{FF2B5EF4-FFF2-40B4-BE49-F238E27FC236}">
                  <a16:creationId xmlns:a16="http://schemas.microsoft.com/office/drawing/2014/main" id="{B321F6F2-4FA0-4231-87EC-8305DFA3A704}"/>
                </a:ext>
              </a:extLst>
            </p:cNvPr>
            <p:cNvSpPr/>
            <p:nvPr/>
          </p:nvSpPr>
          <p:spPr>
            <a:xfrm>
              <a:off x="3612017" y="2858383"/>
              <a:ext cx="98090" cy="165472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5" name="Freeform 818">
              <a:extLst>
                <a:ext uri="{FF2B5EF4-FFF2-40B4-BE49-F238E27FC236}">
                  <a16:creationId xmlns:a16="http://schemas.microsoft.com/office/drawing/2014/main" id="{FC297181-2D1B-49AA-BAA3-177BFEEAB7D9}"/>
                </a:ext>
              </a:extLst>
            </p:cNvPr>
            <p:cNvSpPr/>
            <p:nvPr/>
          </p:nvSpPr>
          <p:spPr>
            <a:xfrm>
              <a:off x="3709489" y="2859124"/>
              <a:ext cx="96722" cy="164678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6" name="Freeform 819">
              <a:extLst>
                <a:ext uri="{FF2B5EF4-FFF2-40B4-BE49-F238E27FC236}">
                  <a16:creationId xmlns:a16="http://schemas.microsoft.com/office/drawing/2014/main" id="{E8A70D65-D746-499C-9037-92756A676F6E}"/>
                </a:ext>
              </a:extLst>
            </p:cNvPr>
            <p:cNvSpPr/>
            <p:nvPr/>
          </p:nvSpPr>
          <p:spPr>
            <a:xfrm>
              <a:off x="3612061" y="2816367"/>
              <a:ext cx="194150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7" name="Freeform 814">
              <a:extLst>
                <a:ext uri="{FF2B5EF4-FFF2-40B4-BE49-F238E27FC236}">
                  <a16:creationId xmlns:a16="http://schemas.microsoft.com/office/drawing/2014/main" id="{DAD5E20D-6C53-49E2-94AD-8AAF17AB70A9}"/>
                </a:ext>
              </a:extLst>
            </p:cNvPr>
            <p:cNvSpPr/>
            <p:nvPr/>
          </p:nvSpPr>
          <p:spPr>
            <a:xfrm>
              <a:off x="3709114" y="2900400"/>
              <a:ext cx="98090" cy="165472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8" name="Freeform 815">
              <a:extLst>
                <a:ext uri="{FF2B5EF4-FFF2-40B4-BE49-F238E27FC236}">
                  <a16:creationId xmlns:a16="http://schemas.microsoft.com/office/drawing/2014/main" id="{61ED4C3A-8366-4D11-B6ED-28C890FE1C8C}"/>
                </a:ext>
              </a:extLst>
            </p:cNvPr>
            <p:cNvSpPr/>
            <p:nvPr/>
          </p:nvSpPr>
          <p:spPr>
            <a:xfrm>
              <a:off x="3806586" y="2901141"/>
              <a:ext cx="96722" cy="164678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9" name="Freeform 816">
              <a:extLst>
                <a:ext uri="{FF2B5EF4-FFF2-40B4-BE49-F238E27FC236}">
                  <a16:creationId xmlns:a16="http://schemas.microsoft.com/office/drawing/2014/main" id="{FB014A64-33FF-478B-A670-1352810148A6}"/>
                </a:ext>
              </a:extLst>
            </p:cNvPr>
            <p:cNvSpPr/>
            <p:nvPr/>
          </p:nvSpPr>
          <p:spPr>
            <a:xfrm>
              <a:off x="3709158" y="2858384"/>
              <a:ext cx="194150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0" name="Freeform 811">
              <a:extLst>
                <a:ext uri="{FF2B5EF4-FFF2-40B4-BE49-F238E27FC236}">
                  <a16:creationId xmlns:a16="http://schemas.microsoft.com/office/drawing/2014/main" id="{54C410D8-7290-44E6-B0CD-586A5D5D6B83}"/>
                </a:ext>
              </a:extLst>
            </p:cNvPr>
            <p:cNvSpPr/>
            <p:nvPr/>
          </p:nvSpPr>
          <p:spPr>
            <a:xfrm>
              <a:off x="3807971" y="3310116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1" name="Freeform 812">
              <a:extLst>
                <a:ext uri="{FF2B5EF4-FFF2-40B4-BE49-F238E27FC236}">
                  <a16:creationId xmlns:a16="http://schemas.microsoft.com/office/drawing/2014/main" id="{6CD61FBB-AC4A-437C-AC1A-C61EEFA1567A}"/>
                </a:ext>
              </a:extLst>
            </p:cNvPr>
            <p:cNvSpPr/>
            <p:nvPr/>
          </p:nvSpPr>
          <p:spPr>
            <a:xfrm>
              <a:off x="3905443" y="3310856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2" name="Freeform 813">
              <a:extLst>
                <a:ext uri="{FF2B5EF4-FFF2-40B4-BE49-F238E27FC236}">
                  <a16:creationId xmlns:a16="http://schemas.microsoft.com/office/drawing/2014/main" id="{440FA091-3F7F-4EB6-9332-C5EF76C5C211}"/>
                </a:ext>
              </a:extLst>
            </p:cNvPr>
            <p:cNvSpPr/>
            <p:nvPr/>
          </p:nvSpPr>
          <p:spPr>
            <a:xfrm>
              <a:off x="3808015" y="3268100"/>
              <a:ext cx="194150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3" name="Freeform 808">
              <a:extLst>
                <a:ext uri="{FF2B5EF4-FFF2-40B4-BE49-F238E27FC236}">
                  <a16:creationId xmlns:a16="http://schemas.microsoft.com/office/drawing/2014/main" id="{753077AA-4BCE-427D-8298-EA785582137D}"/>
                </a:ext>
              </a:extLst>
            </p:cNvPr>
            <p:cNvSpPr/>
            <p:nvPr/>
          </p:nvSpPr>
          <p:spPr>
            <a:xfrm>
              <a:off x="3807971" y="3187401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4" name="Freeform 809">
              <a:extLst>
                <a:ext uri="{FF2B5EF4-FFF2-40B4-BE49-F238E27FC236}">
                  <a16:creationId xmlns:a16="http://schemas.microsoft.com/office/drawing/2014/main" id="{04D93894-01BB-426D-B9B7-59D9D9906FD9}"/>
                </a:ext>
              </a:extLst>
            </p:cNvPr>
            <p:cNvSpPr/>
            <p:nvPr/>
          </p:nvSpPr>
          <p:spPr>
            <a:xfrm>
              <a:off x="3905443" y="3188142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5" name="Freeform 810">
              <a:extLst>
                <a:ext uri="{FF2B5EF4-FFF2-40B4-BE49-F238E27FC236}">
                  <a16:creationId xmlns:a16="http://schemas.microsoft.com/office/drawing/2014/main" id="{B869466B-6EE3-4C0B-854A-171B75EDFA2A}"/>
                </a:ext>
              </a:extLst>
            </p:cNvPr>
            <p:cNvSpPr/>
            <p:nvPr/>
          </p:nvSpPr>
          <p:spPr>
            <a:xfrm>
              <a:off x="3808015" y="3145385"/>
              <a:ext cx="194150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6" name="Freeform 805">
              <a:extLst>
                <a:ext uri="{FF2B5EF4-FFF2-40B4-BE49-F238E27FC236}">
                  <a16:creationId xmlns:a16="http://schemas.microsoft.com/office/drawing/2014/main" id="{63DF2E29-B5BA-40EC-B645-0E744576F864}"/>
                </a:ext>
              </a:extLst>
            </p:cNvPr>
            <p:cNvSpPr/>
            <p:nvPr/>
          </p:nvSpPr>
          <p:spPr>
            <a:xfrm>
              <a:off x="3807971" y="3064686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7" name="Freeform 806">
              <a:extLst>
                <a:ext uri="{FF2B5EF4-FFF2-40B4-BE49-F238E27FC236}">
                  <a16:creationId xmlns:a16="http://schemas.microsoft.com/office/drawing/2014/main" id="{BE1CAFE8-F07C-434E-9478-C599C27336AD}"/>
                </a:ext>
              </a:extLst>
            </p:cNvPr>
            <p:cNvSpPr/>
            <p:nvPr/>
          </p:nvSpPr>
          <p:spPr>
            <a:xfrm>
              <a:off x="3905443" y="3065427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8" name="Freeform 807">
              <a:extLst>
                <a:ext uri="{FF2B5EF4-FFF2-40B4-BE49-F238E27FC236}">
                  <a16:creationId xmlns:a16="http://schemas.microsoft.com/office/drawing/2014/main" id="{A02F88B6-F065-46F2-9898-363829FC8A09}"/>
                </a:ext>
              </a:extLst>
            </p:cNvPr>
            <p:cNvSpPr/>
            <p:nvPr/>
          </p:nvSpPr>
          <p:spPr>
            <a:xfrm>
              <a:off x="3808015" y="3022670"/>
              <a:ext cx="194150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9" name="Freeform 802">
              <a:extLst>
                <a:ext uri="{FF2B5EF4-FFF2-40B4-BE49-F238E27FC236}">
                  <a16:creationId xmlns:a16="http://schemas.microsoft.com/office/drawing/2014/main" id="{210D8B5B-A45B-4D41-B295-98DE02E7FF7C}"/>
                </a:ext>
              </a:extLst>
            </p:cNvPr>
            <p:cNvSpPr/>
            <p:nvPr/>
          </p:nvSpPr>
          <p:spPr>
            <a:xfrm>
              <a:off x="3807684" y="2942660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0" name="Freeform 803">
              <a:extLst>
                <a:ext uri="{FF2B5EF4-FFF2-40B4-BE49-F238E27FC236}">
                  <a16:creationId xmlns:a16="http://schemas.microsoft.com/office/drawing/2014/main" id="{A82A450E-78A2-4BE3-8452-A7B55E498B13}"/>
                </a:ext>
              </a:extLst>
            </p:cNvPr>
            <p:cNvSpPr/>
            <p:nvPr/>
          </p:nvSpPr>
          <p:spPr>
            <a:xfrm>
              <a:off x="3905157" y="2943400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1" name="Freeform 804">
              <a:extLst>
                <a:ext uri="{FF2B5EF4-FFF2-40B4-BE49-F238E27FC236}">
                  <a16:creationId xmlns:a16="http://schemas.microsoft.com/office/drawing/2014/main" id="{7BD67D73-1293-4BAF-912B-D4579BF5E662}"/>
                </a:ext>
              </a:extLst>
            </p:cNvPr>
            <p:cNvSpPr/>
            <p:nvPr/>
          </p:nvSpPr>
          <p:spPr>
            <a:xfrm>
              <a:off x="3807729" y="2900644"/>
              <a:ext cx="194150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2" name="Freeform 799">
              <a:extLst>
                <a:ext uri="{FF2B5EF4-FFF2-40B4-BE49-F238E27FC236}">
                  <a16:creationId xmlns:a16="http://schemas.microsoft.com/office/drawing/2014/main" id="{B6DEDEC6-38E3-412E-890C-66132127498A}"/>
                </a:ext>
              </a:extLst>
            </p:cNvPr>
            <p:cNvSpPr/>
            <p:nvPr/>
          </p:nvSpPr>
          <p:spPr>
            <a:xfrm>
              <a:off x="3907201" y="3354227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3" name="Freeform 800">
              <a:extLst>
                <a:ext uri="{FF2B5EF4-FFF2-40B4-BE49-F238E27FC236}">
                  <a16:creationId xmlns:a16="http://schemas.microsoft.com/office/drawing/2014/main" id="{21D0CEBF-F04C-4E45-BCFF-A5037DD5101C}"/>
                </a:ext>
              </a:extLst>
            </p:cNvPr>
            <p:cNvSpPr/>
            <p:nvPr/>
          </p:nvSpPr>
          <p:spPr>
            <a:xfrm>
              <a:off x="4004673" y="3354967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2785BA">
                <a:alpha val="49804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4" name="Freeform 801">
              <a:extLst>
                <a:ext uri="{FF2B5EF4-FFF2-40B4-BE49-F238E27FC236}">
                  <a16:creationId xmlns:a16="http://schemas.microsoft.com/office/drawing/2014/main" id="{EE8E939E-FC98-4FD8-ACC1-EC9952F0109B}"/>
                </a:ext>
              </a:extLst>
            </p:cNvPr>
            <p:cNvSpPr/>
            <p:nvPr/>
          </p:nvSpPr>
          <p:spPr>
            <a:xfrm>
              <a:off x="3907245" y="3312211"/>
              <a:ext cx="194151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36848A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5" name="Freeform 796">
              <a:extLst>
                <a:ext uri="{FF2B5EF4-FFF2-40B4-BE49-F238E27FC236}">
                  <a16:creationId xmlns:a16="http://schemas.microsoft.com/office/drawing/2014/main" id="{7E628258-BBFD-4D6C-97A0-766A6E30D34C}"/>
                </a:ext>
              </a:extLst>
            </p:cNvPr>
            <p:cNvSpPr/>
            <p:nvPr/>
          </p:nvSpPr>
          <p:spPr>
            <a:xfrm>
              <a:off x="3907201" y="3231511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6" name="Freeform 797">
              <a:extLst>
                <a:ext uri="{FF2B5EF4-FFF2-40B4-BE49-F238E27FC236}">
                  <a16:creationId xmlns:a16="http://schemas.microsoft.com/office/drawing/2014/main" id="{59F3C61F-69B2-4313-80F6-CCC332F359EA}"/>
                </a:ext>
              </a:extLst>
            </p:cNvPr>
            <p:cNvSpPr/>
            <p:nvPr/>
          </p:nvSpPr>
          <p:spPr>
            <a:xfrm>
              <a:off x="4004673" y="3232252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2785BA">
                <a:alpha val="49804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7" name="Freeform 798">
              <a:extLst>
                <a:ext uri="{FF2B5EF4-FFF2-40B4-BE49-F238E27FC236}">
                  <a16:creationId xmlns:a16="http://schemas.microsoft.com/office/drawing/2014/main" id="{9CAA1392-23CF-4FA0-BD2B-6041ED76C638}"/>
                </a:ext>
              </a:extLst>
            </p:cNvPr>
            <p:cNvSpPr/>
            <p:nvPr/>
          </p:nvSpPr>
          <p:spPr>
            <a:xfrm>
              <a:off x="3907245" y="3189495"/>
              <a:ext cx="194151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36848A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8" name="Freeform 793">
              <a:extLst>
                <a:ext uri="{FF2B5EF4-FFF2-40B4-BE49-F238E27FC236}">
                  <a16:creationId xmlns:a16="http://schemas.microsoft.com/office/drawing/2014/main" id="{3369ADFF-B470-45E6-8BA3-92D29BDB4211}"/>
                </a:ext>
              </a:extLst>
            </p:cNvPr>
            <p:cNvSpPr/>
            <p:nvPr/>
          </p:nvSpPr>
          <p:spPr>
            <a:xfrm>
              <a:off x="3907201" y="3108797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9" name="Freeform 794">
              <a:extLst>
                <a:ext uri="{FF2B5EF4-FFF2-40B4-BE49-F238E27FC236}">
                  <a16:creationId xmlns:a16="http://schemas.microsoft.com/office/drawing/2014/main" id="{069A833F-0DBC-451E-9CDD-FAC9FE957B8D}"/>
                </a:ext>
              </a:extLst>
            </p:cNvPr>
            <p:cNvSpPr/>
            <p:nvPr/>
          </p:nvSpPr>
          <p:spPr>
            <a:xfrm>
              <a:off x="4004673" y="3109537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2785BA">
                <a:alpha val="49804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0" name="Freeform 795">
              <a:extLst>
                <a:ext uri="{FF2B5EF4-FFF2-40B4-BE49-F238E27FC236}">
                  <a16:creationId xmlns:a16="http://schemas.microsoft.com/office/drawing/2014/main" id="{EF9D2444-4912-4888-912A-0AFF76FC8FA5}"/>
                </a:ext>
              </a:extLst>
            </p:cNvPr>
            <p:cNvSpPr/>
            <p:nvPr/>
          </p:nvSpPr>
          <p:spPr>
            <a:xfrm>
              <a:off x="3907245" y="3066780"/>
              <a:ext cx="194151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36848A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1" name="Freeform 790">
              <a:extLst>
                <a:ext uri="{FF2B5EF4-FFF2-40B4-BE49-F238E27FC236}">
                  <a16:creationId xmlns:a16="http://schemas.microsoft.com/office/drawing/2014/main" id="{9F7AFADB-81D8-43A3-AEB4-DD0251C5652A}"/>
                </a:ext>
              </a:extLst>
            </p:cNvPr>
            <p:cNvSpPr/>
            <p:nvPr/>
          </p:nvSpPr>
          <p:spPr>
            <a:xfrm>
              <a:off x="3906914" y="2986770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2" name="Freeform 791">
              <a:extLst>
                <a:ext uri="{FF2B5EF4-FFF2-40B4-BE49-F238E27FC236}">
                  <a16:creationId xmlns:a16="http://schemas.microsoft.com/office/drawing/2014/main" id="{62C18EBE-FD9D-4D5D-96CB-52CE0203746E}"/>
                </a:ext>
              </a:extLst>
            </p:cNvPr>
            <p:cNvSpPr/>
            <p:nvPr/>
          </p:nvSpPr>
          <p:spPr>
            <a:xfrm>
              <a:off x="4004387" y="2987510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2785BA">
                <a:alpha val="49804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3" name="Freeform 792">
              <a:extLst>
                <a:ext uri="{FF2B5EF4-FFF2-40B4-BE49-F238E27FC236}">
                  <a16:creationId xmlns:a16="http://schemas.microsoft.com/office/drawing/2014/main" id="{0F24AE47-BA8A-40A6-924E-E7F3F1B6263A}"/>
                </a:ext>
              </a:extLst>
            </p:cNvPr>
            <p:cNvSpPr/>
            <p:nvPr/>
          </p:nvSpPr>
          <p:spPr>
            <a:xfrm>
              <a:off x="3906959" y="2944754"/>
              <a:ext cx="194151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36848A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4" name="Freeform 787">
              <a:extLst>
                <a:ext uri="{FF2B5EF4-FFF2-40B4-BE49-F238E27FC236}">
                  <a16:creationId xmlns:a16="http://schemas.microsoft.com/office/drawing/2014/main" id="{98F86189-C581-43DA-AB2B-BD13789E27C7}"/>
                </a:ext>
              </a:extLst>
            </p:cNvPr>
            <p:cNvSpPr/>
            <p:nvPr/>
          </p:nvSpPr>
          <p:spPr>
            <a:xfrm>
              <a:off x="3513322" y="2695844"/>
              <a:ext cx="98090" cy="165472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5" name="Freeform 788">
              <a:extLst>
                <a:ext uri="{FF2B5EF4-FFF2-40B4-BE49-F238E27FC236}">
                  <a16:creationId xmlns:a16="http://schemas.microsoft.com/office/drawing/2014/main" id="{8FBA4828-CAE6-42D3-9B85-04B10022F1A5}"/>
                </a:ext>
              </a:extLst>
            </p:cNvPr>
            <p:cNvSpPr/>
            <p:nvPr/>
          </p:nvSpPr>
          <p:spPr>
            <a:xfrm>
              <a:off x="3610794" y="2696585"/>
              <a:ext cx="96722" cy="164678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6" name="Freeform 789">
              <a:extLst>
                <a:ext uri="{FF2B5EF4-FFF2-40B4-BE49-F238E27FC236}">
                  <a16:creationId xmlns:a16="http://schemas.microsoft.com/office/drawing/2014/main" id="{5886B246-459F-4AA6-8D6A-DC06E09AD457}"/>
                </a:ext>
              </a:extLst>
            </p:cNvPr>
            <p:cNvSpPr/>
            <p:nvPr/>
          </p:nvSpPr>
          <p:spPr>
            <a:xfrm>
              <a:off x="3513366" y="2653828"/>
              <a:ext cx="194151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36848A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7" name="Freeform 784">
              <a:extLst>
                <a:ext uri="{FF2B5EF4-FFF2-40B4-BE49-F238E27FC236}">
                  <a16:creationId xmlns:a16="http://schemas.microsoft.com/office/drawing/2014/main" id="{FE7C469E-73B6-4CE6-92F8-B1892A5A912A}"/>
                </a:ext>
              </a:extLst>
            </p:cNvPr>
            <p:cNvSpPr/>
            <p:nvPr/>
          </p:nvSpPr>
          <p:spPr>
            <a:xfrm>
              <a:off x="3610418" y="2737860"/>
              <a:ext cx="98090" cy="165472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8" name="Freeform 785">
              <a:extLst>
                <a:ext uri="{FF2B5EF4-FFF2-40B4-BE49-F238E27FC236}">
                  <a16:creationId xmlns:a16="http://schemas.microsoft.com/office/drawing/2014/main" id="{55D8F571-F3D4-406A-BDC2-DE844DA60CD1}"/>
                </a:ext>
              </a:extLst>
            </p:cNvPr>
            <p:cNvSpPr/>
            <p:nvPr/>
          </p:nvSpPr>
          <p:spPr>
            <a:xfrm>
              <a:off x="3707890" y="2738602"/>
              <a:ext cx="96722" cy="164678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9" name="Freeform 786">
              <a:extLst>
                <a:ext uri="{FF2B5EF4-FFF2-40B4-BE49-F238E27FC236}">
                  <a16:creationId xmlns:a16="http://schemas.microsoft.com/office/drawing/2014/main" id="{BD8F58BC-397C-4DEB-9EBE-DB3B4A1FCE67}"/>
                </a:ext>
              </a:extLst>
            </p:cNvPr>
            <p:cNvSpPr/>
            <p:nvPr/>
          </p:nvSpPr>
          <p:spPr>
            <a:xfrm>
              <a:off x="3610462" y="2695844"/>
              <a:ext cx="194150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0" name="Freeform 781">
              <a:extLst>
                <a:ext uri="{FF2B5EF4-FFF2-40B4-BE49-F238E27FC236}">
                  <a16:creationId xmlns:a16="http://schemas.microsoft.com/office/drawing/2014/main" id="{60B74051-713A-4F85-AEB6-627703B9A73D}"/>
                </a:ext>
              </a:extLst>
            </p:cNvPr>
            <p:cNvSpPr/>
            <p:nvPr/>
          </p:nvSpPr>
          <p:spPr>
            <a:xfrm>
              <a:off x="3707515" y="2779877"/>
              <a:ext cx="98090" cy="165472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1" name="Freeform 782">
              <a:extLst>
                <a:ext uri="{FF2B5EF4-FFF2-40B4-BE49-F238E27FC236}">
                  <a16:creationId xmlns:a16="http://schemas.microsoft.com/office/drawing/2014/main" id="{F51348FE-2C02-4D2A-A380-4B323F759AA8}"/>
                </a:ext>
              </a:extLst>
            </p:cNvPr>
            <p:cNvSpPr/>
            <p:nvPr/>
          </p:nvSpPr>
          <p:spPr>
            <a:xfrm>
              <a:off x="3804987" y="2780618"/>
              <a:ext cx="96722" cy="164678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2" name="Freeform 783">
              <a:extLst>
                <a:ext uri="{FF2B5EF4-FFF2-40B4-BE49-F238E27FC236}">
                  <a16:creationId xmlns:a16="http://schemas.microsoft.com/office/drawing/2014/main" id="{7F71A547-3DE5-4487-B785-C2134FEE7A12}"/>
                </a:ext>
              </a:extLst>
            </p:cNvPr>
            <p:cNvSpPr/>
            <p:nvPr/>
          </p:nvSpPr>
          <p:spPr>
            <a:xfrm>
              <a:off x="3707559" y="2737861"/>
              <a:ext cx="194151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3" name="Freeform 778">
              <a:extLst>
                <a:ext uri="{FF2B5EF4-FFF2-40B4-BE49-F238E27FC236}">
                  <a16:creationId xmlns:a16="http://schemas.microsoft.com/office/drawing/2014/main" id="{58E12658-EEAD-4577-95A8-5524CDCEE477}"/>
                </a:ext>
              </a:extLst>
            </p:cNvPr>
            <p:cNvSpPr/>
            <p:nvPr/>
          </p:nvSpPr>
          <p:spPr>
            <a:xfrm>
              <a:off x="3806086" y="2822137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4" name="Freeform 779">
              <a:extLst>
                <a:ext uri="{FF2B5EF4-FFF2-40B4-BE49-F238E27FC236}">
                  <a16:creationId xmlns:a16="http://schemas.microsoft.com/office/drawing/2014/main" id="{542EAE71-C758-4B65-861E-FC23AC94C45A}"/>
                </a:ext>
              </a:extLst>
            </p:cNvPr>
            <p:cNvSpPr/>
            <p:nvPr/>
          </p:nvSpPr>
          <p:spPr>
            <a:xfrm>
              <a:off x="3903558" y="2822878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5" name="Freeform 780">
              <a:extLst>
                <a:ext uri="{FF2B5EF4-FFF2-40B4-BE49-F238E27FC236}">
                  <a16:creationId xmlns:a16="http://schemas.microsoft.com/office/drawing/2014/main" id="{5B5A811C-D50B-4F2F-BACB-81FB39684FB9}"/>
                </a:ext>
              </a:extLst>
            </p:cNvPr>
            <p:cNvSpPr/>
            <p:nvPr/>
          </p:nvSpPr>
          <p:spPr>
            <a:xfrm>
              <a:off x="3806130" y="2780121"/>
              <a:ext cx="194150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6" name="Freeform 775">
              <a:extLst>
                <a:ext uri="{FF2B5EF4-FFF2-40B4-BE49-F238E27FC236}">
                  <a16:creationId xmlns:a16="http://schemas.microsoft.com/office/drawing/2014/main" id="{99007D77-86BC-4721-B597-644C7640F239}"/>
                </a:ext>
              </a:extLst>
            </p:cNvPr>
            <p:cNvSpPr/>
            <p:nvPr/>
          </p:nvSpPr>
          <p:spPr>
            <a:xfrm>
              <a:off x="3905316" y="2866247"/>
              <a:ext cx="98090" cy="165471"/>
            </a:xfrm>
            <a:custGeom>
              <a:avLst/>
              <a:gdLst>
                <a:gd name="connsiteX0" fmla="*/ 0 w 1752600"/>
                <a:gd name="connsiteY0" fmla="*/ 1841500 h 2470150"/>
                <a:gd name="connsiteX1" fmla="*/ 0 w 1752600"/>
                <a:gd name="connsiteY1" fmla="*/ 0 h 2470150"/>
                <a:gd name="connsiteX2" fmla="*/ 1752600 w 1752600"/>
                <a:gd name="connsiteY2" fmla="*/ 635000 h 2470150"/>
                <a:gd name="connsiteX3" fmla="*/ 1752600 w 1752600"/>
                <a:gd name="connsiteY3" fmla="*/ 2470150 h 2470150"/>
                <a:gd name="connsiteX4" fmla="*/ 0 w 1752600"/>
                <a:gd name="connsiteY4" fmla="*/ 1841500 h 2470150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52600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0 w 1757362"/>
                <a:gd name="connsiteY0" fmla="*/ 1841500 h 2477294"/>
                <a:gd name="connsiteX1" fmla="*/ 0 w 1757362"/>
                <a:gd name="connsiteY1" fmla="*/ 0 h 2477294"/>
                <a:gd name="connsiteX2" fmla="*/ 1747838 w 1757362"/>
                <a:gd name="connsiteY2" fmla="*/ 635000 h 2477294"/>
                <a:gd name="connsiteX3" fmla="*/ 1757362 w 1757362"/>
                <a:gd name="connsiteY3" fmla="*/ 2477294 h 2477294"/>
                <a:gd name="connsiteX4" fmla="*/ 0 w 1757362"/>
                <a:gd name="connsiteY4" fmla="*/ 1841500 h 2477294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8644 h 2484438"/>
                <a:gd name="connsiteX1" fmla="*/ 0 w 1764506"/>
                <a:gd name="connsiteY1" fmla="*/ 0 h 2484438"/>
                <a:gd name="connsiteX2" fmla="*/ 1754982 w 1764506"/>
                <a:gd name="connsiteY2" fmla="*/ 642144 h 2484438"/>
                <a:gd name="connsiteX3" fmla="*/ 1764506 w 1764506"/>
                <a:gd name="connsiteY3" fmla="*/ 2484438 h 2484438"/>
                <a:gd name="connsiteX4" fmla="*/ 7144 w 1764506"/>
                <a:gd name="connsiteY4" fmla="*/ 1848644 h 2484438"/>
                <a:gd name="connsiteX0" fmla="*/ 7144 w 1764506"/>
                <a:gd name="connsiteY0" fmla="*/ 1841500 h 2477294"/>
                <a:gd name="connsiteX1" fmla="*/ 0 w 1764506"/>
                <a:gd name="connsiteY1" fmla="*/ 0 h 2477294"/>
                <a:gd name="connsiteX2" fmla="*/ 1754982 w 1764506"/>
                <a:gd name="connsiteY2" fmla="*/ 635000 h 2477294"/>
                <a:gd name="connsiteX3" fmla="*/ 1764506 w 1764506"/>
                <a:gd name="connsiteY3" fmla="*/ 2477294 h 2477294"/>
                <a:gd name="connsiteX4" fmla="*/ 7144 w 1764506"/>
                <a:gd name="connsiteY4" fmla="*/ 1841500 h 2477294"/>
                <a:gd name="connsiteX0" fmla="*/ 7144 w 1764506"/>
                <a:gd name="connsiteY0" fmla="*/ 1846262 h 2482056"/>
                <a:gd name="connsiteX1" fmla="*/ 0 w 1764506"/>
                <a:gd name="connsiteY1" fmla="*/ 0 h 2482056"/>
                <a:gd name="connsiteX2" fmla="*/ 1754982 w 1764506"/>
                <a:gd name="connsiteY2" fmla="*/ 639762 h 2482056"/>
                <a:gd name="connsiteX3" fmla="*/ 1764506 w 1764506"/>
                <a:gd name="connsiteY3" fmla="*/ 2482056 h 2482056"/>
                <a:gd name="connsiteX4" fmla="*/ 7144 w 1764506"/>
                <a:gd name="connsiteY4" fmla="*/ 1846262 h 248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506" h="2482056">
                  <a:moveTo>
                    <a:pt x="7144" y="1846262"/>
                  </a:moveTo>
                  <a:cubicBezTo>
                    <a:pt x="4763" y="1232429"/>
                    <a:pt x="2381" y="613833"/>
                    <a:pt x="0" y="0"/>
                  </a:cubicBezTo>
                  <a:lnTo>
                    <a:pt x="1754982" y="639762"/>
                  </a:lnTo>
                  <a:cubicBezTo>
                    <a:pt x="1756569" y="1253860"/>
                    <a:pt x="1762919" y="1867958"/>
                    <a:pt x="1764506" y="2482056"/>
                  </a:cubicBezTo>
                  <a:lnTo>
                    <a:pt x="7144" y="1846262"/>
                  </a:lnTo>
                  <a:close/>
                </a:path>
              </a:pathLst>
            </a:custGeom>
            <a:solidFill>
              <a:srgbClr val="C48C2D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7" name="Freeform 776">
              <a:extLst>
                <a:ext uri="{FF2B5EF4-FFF2-40B4-BE49-F238E27FC236}">
                  <a16:creationId xmlns:a16="http://schemas.microsoft.com/office/drawing/2014/main" id="{EDE7483E-4CD9-4430-8E7C-6641768F3866}"/>
                </a:ext>
              </a:extLst>
            </p:cNvPr>
            <p:cNvSpPr/>
            <p:nvPr/>
          </p:nvSpPr>
          <p:spPr>
            <a:xfrm>
              <a:off x="4002788" y="2866988"/>
              <a:ext cx="96722" cy="164677"/>
            </a:xfrm>
            <a:custGeom>
              <a:avLst/>
              <a:gdLst>
                <a:gd name="connsiteX0" fmla="*/ 0 w 1739900"/>
                <a:gd name="connsiteY0" fmla="*/ 622300 h 1841500"/>
                <a:gd name="connsiteX1" fmla="*/ 1739900 w 1739900"/>
                <a:gd name="connsiteY1" fmla="*/ 0 h 1841500"/>
                <a:gd name="connsiteX2" fmla="*/ 1739900 w 1739900"/>
                <a:gd name="connsiteY2" fmla="*/ 1841500 h 1841500"/>
                <a:gd name="connsiteX3" fmla="*/ 12700 w 1739900"/>
                <a:gd name="connsiteY3" fmla="*/ 1841500 h 1841500"/>
                <a:gd name="connsiteX4" fmla="*/ 0 w 1739900"/>
                <a:gd name="connsiteY4" fmla="*/ 622300 h 1841500"/>
                <a:gd name="connsiteX0" fmla="*/ 0 w 1739900"/>
                <a:gd name="connsiteY0" fmla="*/ 622300 h 2470150"/>
                <a:gd name="connsiteX1" fmla="*/ 1739900 w 1739900"/>
                <a:gd name="connsiteY1" fmla="*/ 0 h 2470150"/>
                <a:gd name="connsiteX2" fmla="*/ 1739900 w 1739900"/>
                <a:gd name="connsiteY2" fmla="*/ 1841500 h 2470150"/>
                <a:gd name="connsiteX3" fmla="*/ 12700 w 1739900"/>
                <a:gd name="connsiteY3" fmla="*/ 2470150 h 2470150"/>
                <a:gd name="connsiteX4" fmla="*/ 0 w 1739900"/>
                <a:gd name="connsiteY4" fmla="*/ 622300 h 247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0" h="2470150">
                  <a:moveTo>
                    <a:pt x="0" y="622300"/>
                  </a:moveTo>
                  <a:lnTo>
                    <a:pt x="1739900" y="0"/>
                  </a:lnTo>
                  <a:lnTo>
                    <a:pt x="1739900" y="1841500"/>
                  </a:lnTo>
                  <a:lnTo>
                    <a:pt x="12700" y="2470150"/>
                  </a:lnTo>
                  <a:cubicBezTo>
                    <a:pt x="8467" y="1854200"/>
                    <a:pt x="4233" y="1238250"/>
                    <a:pt x="0" y="622300"/>
                  </a:cubicBezTo>
                  <a:close/>
                </a:path>
              </a:pathLst>
            </a:custGeom>
            <a:solidFill>
              <a:srgbClr val="36848A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8" name="Freeform 777">
              <a:extLst>
                <a:ext uri="{FF2B5EF4-FFF2-40B4-BE49-F238E27FC236}">
                  <a16:creationId xmlns:a16="http://schemas.microsoft.com/office/drawing/2014/main" id="{FCE4CDA1-243D-47B1-95E5-5B9A10BB1D87}"/>
                </a:ext>
              </a:extLst>
            </p:cNvPr>
            <p:cNvSpPr/>
            <p:nvPr/>
          </p:nvSpPr>
          <p:spPr>
            <a:xfrm>
              <a:off x="3905360" y="2824231"/>
              <a:ext cx="194151" cy="84668"/>
            </a:xfrm>
            <a:custGeom>
              <a:avLst/>
              <a:gdLst>
                <a:gd name="connsiteX0" fmla="*/ 0 w 3492500"/>
                <a:gd name="connsiteY0" fmla="*/ 628650 h 1270000"/>
                <a:gd name="connsiteX1" fmla="*/ 1752600 w 3492500"/>
                <a:gd name="connsiteY1" fmla="*/ 0 h 1270000"/>
                <a:gd name="connsiteX2" fmla="*/ 3492500 w 3492500"/>
                <a:gd name="connsiteY2" fmla="*/ 641350 h 1270000"/>
                <a:gd name="connsiteX3" fmla="*/ 1752600 w 3492500"/>
                <a:gd name="connsiteY3" fmla="*/ 1270000 h 1270000"/>
                <a:gd name="connsiteX4" fmla="*/ 0 w 3492500"/>
                <a:gd name="connsiteY4" fmla="*/ 62865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2500" h="1270000">
                  <a:moveTo>
                    <a:pt x="0" y="628650"/>
                  </a:moveTo>
                  <a:lnTo>
                    <a:pt x="1752600" y="0"/>
                  </a:lnTo>
                  <a:lnTo>
                    <a:pt x="3492500" y="641350"/>
                  </a:lnTo>
                  <a:lnTo>
                    <a:pt x="1752600" y="1270000"/>
                  </a:lnTo>
                  <a:lnTo>
                    <a:pt x="0" y="628650"/>
                  </a:lnTo>
                  <a:close/>
                </a:path>
              </a:pathLst>
            </a:custGeom>
            <a:solidFill>
              <a:srgbClr val="7F7BD4">
                <a:alpha val="50196"/>
              </a:srgbClr>
            </a:solidFill>
            <a:ln w="3175">
              <a:solidFill>
                <a:srgbClr val="FFFFFF">
                  <a:alpha val="30196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63" name="Arrow: Pentagon 1062">
            <a:extLst>
              <a:ext uri="{FF2B5EF4-FFF2-40B4-BE49-F238E27FC236}">
                <a16:creationId xmlns:a16="http://schemas.microsoft.com/office/drawing/2014/main" id="{F1121554-5E26-40D0-BFB9-291D4139D1FB}"/>
              </a:ext>
            </a:extLst>
          </p:cNvPr>
          <p:cNvSpPr/>
          <p:nvPr/>
        </p:nvSpPr>
        <p:spPr>
          <a:xfrm>
            <a:off x="6953920" y="2625617"/>
            <a:ext cx="1312291" cy="358305"/>
          </a:xfrm>
          <a:prstGeom prst="homePlate">
            <a:avLst/>
          </a:prstGeom>
          <a:solidFill>
            <a:schemeClr val="bg1"/>
          </a:solidFill>
          <a:ln w="3175" cap="flat">
            <a:solidFill>
              <a:srgbClr val="104EA3"/>
            </a:solidFill>
            <a:prstDash val="solid"/>
            <a:miter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iscover Current State Op Model</a:t>
            </a:r>
          </a:p>
        </p:txBody>
      </p:sp>
      <p:sp>
        <p:nvSpPr>
          <p:cNvPr id="1064" name="Rectangle: Rounded Corners 1063">
            <a:extLst>
              <a:ext uri="{FF2B5EF4-FFF2-40B4-BE49-F238E27FC236}">
                <a16:creationId xmlns:a16="http://schemas.microsoft.com/office/drawing/2014/main" id="{93372CE9-0FA0-4587-89C4-E0ED39CFF91A}"/>
              </a:ext>
            </a:extLst>
          </p:cNvPr>
          <p:cNvSpPr/>
          <p:nvPr/>
        </p:nvSpPr>
        <p:spPr>
          <a:xfrm>
            <a:off x="7172308" y="3223650"/>
            <a:ext cx="799529" cy="180836"/>
          </a:xfrm>
          <a:prstGeom prst="roundRect">
            <a:avLst/>
          </a:prstGeom>
          <a:solidFill>
            <a:schemeClr val="bg1">
              <a:alpha val="69804"/>
            </a:schemeClr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x. Clin Ops</a:t>
            </a: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84319893-D2CB-45ED-801C-B41AD5EFE4DF}"/>
              </a:ext>
            </a:extLst>
          </p:cNvPr>
          <p:cNvGrpSpPr/>
          <p:nvPr/>
        </p:nvGrpSpPr>
        <p:grpSpPr>
          <a:xfrm>
            <a:off x="8888365" y="3083309"/>
            <a:ext cx="411826" cy="690369"/>
            <a:chOff x="6168572" y="2341066"/>
            <a:chExt cx="2003150" cy="2340838"/>
          </a:xfrm>
          <a:solidFill>
            <a:srgbClr val="BB7807">
              <a:alpha val="50196"/>
            </a:srgbClr>
          </a:solidFill>
        </p:grpSpPr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A895385E-C58B-4791-9389-D755A7EE84CD}"/>
                </a:ext>
              </a:extLst>
            </p:cNvPr>
            <p:cNvGrpSpPr/>
            <p:nvPr/>
          </p:nvGrpSpPr>
          <p:grpSpPr>
            <a:xfrm>
              <a:off x="6174994" y="3660293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276" name="Freeform 479">
                <a:extLst>
                  <a:ext uri="{FF2B5EF4-FFF2-40B4-BE49-F238E27FC236}">
                    <a16:creationId xmlns:a16="http://schemas.microsoft.com/office/drawing/2014/main" id="{CFCE4822-D007-4AAD-AAE3-C4E11F95F0D3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7" name="Freeform 480">
                <a:extLst>
                  <a:ext uri="{FF2B5EF4-FFF2-40B4-BE49-F238E27FC236}">
                    <a16:creationId xmlns:a16="http://schemas.microsoft.com/office/drawing/2014/main" id="{579F6A0B-B97E-45B7-B4AA-4D094CD3D9CF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8" name="Freeform 481">
                <a:extLst>
                  <a:ext uri="{FF2B5EF4-FFF2-40B4-BE49-F238E27FC236}">
                    <a16:creationId xmlns:a16="http://schemas.microsoft.com/office/drawing/2014/main" id="{1D257A67-19E4-43A7-93C2-D5B1D9612C7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A2CACACC-19F0-4821-9158-5A075F0994B7}"/>
                </a:ext>
              </a:extLst>
            </p:cNvPr>
            <p:cNvGrpSpPr/>
            <p:nvPr/>
          </p:nvGrpSpPr>
          <p:grpSpPr>
            <a:xfrm>
              <a:off x="6505735" y="3773882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273" name="Freeform 483">
                <a:extLst>
                  <a:ext uri="{FF2B5EF4-FFF2-40B4-BE49-F238E27FC236}">
                    <a16:creationId xmlns:a16="http://schemas.microsoft.com/office/drawing/2014/main" id="{8E2F8FEB-E903-4C19-8053-BE100128BEA9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Freeform 484">
                <a:extLst>
                  <a:ext uri="{FF2B5EF4-FFF2-40B4-BE49-F238E27FC236}">
                    <a16:creationId xmlns:a16="http://schemas.microsoft.com/office/drawing/2014/main" id="{0B3016BF-E9AD-42D1-A902-7CD092CED02F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5" name="Freeform 485">
                <a:extLst>
                  <a:ext uri="{FF2B5EF4-FFF2-40B4-BE49-F238E27FC236}">
                    <a16:creationId xmlns:a16="http://schemas.microsoft.com/office/drawing/2014/main" id="{1A8C8721-8400-43CF-9CA1-FCC9DD58D590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E75F0E48-AA58-4E1B-810F-FD033884A78C}"/>
                </a:ext>
              </a:extLst>
            </p:cNvPr>
            <p:cNvGrpSpPr/>
            <p:nvPr/>
          </p:nvGrpSpPr>
          <p:grpSpPr>
            <a:xfrm>
              <a:off x="6836476" y="3887471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270" name="Freeform 487">
                <a:extLst>
                  <a:ext uri="{FF2B5EF4-FFF2-40B4-BE49-F238E27FC236}">
                    <a16:creationId xmlns:a16="http://schemas.microsoft.com/office/drawing/2014/main" id="{B31C4430-CEE2-41BE-A619-A4D8A27B8EA5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1" name="Freeform 488">
                <a:extLst>
                  <a:ext uri="{FF2B5EF4-FFF2-40B4-BE49-F238E27FC236}">
                    <a16:creationId xmlns:a16="http://schemas.microsoft.com/office/drawing/2014/main" id="{5AD06274-37DC-4E86-844E-DD4E13A08DC9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2" name="Freeform 489">
                <a:extLst>
                  <a:ext uri="{FF2B5EF4-FFF2-40B4-BE49-F238E27FC236}">
                    <a16:creationId xmlns:a16="http://schemas.microsoft.com/office/drawing/2014/main" id="{46C24CB0-75B0-4C94-99C0-BBED90A1A682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08540244-DEAB-421E-B591-2AA45BF31D4C}"/>
                </a:ext>
              </a:extLst>
            </p:cNvPr>
            <p:cNvGrpSpPr/>
            <p:nvPr/>
          </p:nvGrpSpPr>
          <p:grpSpPr>
            <a:xfrm>
              <a:off x="6174994" y="3328540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267" name="Freeform 491">
                <a:extLst>
                  <a:ext uri="{FF2B5EF4-FFF2-40B4-BE49-F238E27FC236}">
                    <a16:creationId xmlns:a16="http://schemas.microsoft.com/office/drawing/2014/main" id="{F8BDB630-FCD4-4E4B-BC4D-99D74DDDEC37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8" name="Freeform 492">
                <a:extLst>
                  <a:ext uri="{FF2B5EF4-FFF2-40B4-BE49-F238E27FC236}">
                    <a16:creationId xmlns:a16="http://schemas.microsoft.com/office/drawing/2014/main" id="{32336275-9E5F-49EF-BE9D-D8692615D26B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9" name="Freeform 493">
                <a:extLst>
                  <a:ext uri="{FF2B5EF4-FFF2-40B4-BE49-F238E27FC236}">
                    <a16:creationId xmlns:a16="http://schemas.microsoft.com/office/drawing/2014/main" id="{14C66ABE-2360-4465-971A-28BAA2658286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5F8C287B-B824-499A-9A5A-D67EEC10BA5C}"/>
                </a:ext>
              </a:extLst>
            </p:cNvPr>
            <p:cNvGrpSpPr/>
            <p:nvPr/>
          </p:nvGrpSpPr>
          <p:grpSpPr>
            <a:xfrm>
              <a:off x="6505735" y="3442129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264" name="Freeform 495">
                <a:extLst>
                  <a:ext uri="{FF2B5EF4-FFF2-40B4-BE49-F238E27FC236}">
                    <a16:creationId xmlns:a16="http://schemas.microsoft.com/office/drawing/2014/main" id="{3150541B-8A95-4801-A5ED-7238B51F4ABF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5" name="Freeform 496">
                <a:extLst>
                  <a:ext uri="{FF2B5EF4-FFF2-40B4-BE49-F238E27FC236}">
                    <a16:creationId xmlns:a16="http://schemas.microsoft.com/office/drawing/2014/main" id="{7C349DD1-DD54-4993-B9A7-0333B6E5872B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6" name="Freeform 497">
                <a:extLst>
                  <a:ext uri="{FF2B5EF4-FFF2-40B4-BE49-F238E27FC236}">
                    <a16:creationId xmlns:a16="http://schemas.microsoft.com/office/drawing/2014/main" id="{B50F19BE-2663-4C27-89CD-CA47794FCFF8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C3AF6EC7-9BDC-4B3C-8232-BDD5276708EA}"/>
                </a:ext>
              </a:extLst>
            </p:cNvPr>
            <p:cNvGrpSpPr/>
            <p:nvPr/>
          </p:nvGrpSpPr>
          <p:grpSpPr>
            <a:xfrm>
              <a:off x="6836476" y="3555718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261" name="Freeform 499">
                <a:extLst>
                  <a:ext uri="{FF2B5EF4-FFF2-40B4-BE49-F238E27FC236}">
                    <a16:creationId xmlns:a16="http://schemas.microsoft.com/office/drawing/2014/main" id="{63E23635-D35D-41BE-9A8B-02BBD7E3E23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2" name="Freeform 500">
                <a:extLst>
                  <a:ext uri="{FF2B5EF4-FFF2-40B4-BE49-F238E27FC236}">
                    <a16:creationId xmlns:a16="http://schemas.microsoft.com/office/drawing/2014/main" id="{850B7AE5-2E92-4462-B262-3D07B14690D3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3" name="Freeform 501">
                <a:extLst>
                  <a:ext uri="{FF2B5EF4-FFF2-40B4-BE49-F238E27FC236}">
                    <a16:creationId xmlns:a16="http://schemas.microsoft.com/office/drawing/2014/main" id="{409EE790-CDF1-4A85-B683-A581DED2A00D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B9DF1DF2-D956-4F48-8C7B-6D4B57B1736E}"/>
                </a:ext>
              </a:extLst>
            </p:cNvPr>
            <p:cNvGrpSpPr/>
            <p:nvPr/>
          </p:nvGrpSpPr>
          <p:grpSpPr>
            <a:xfrm>
              <a:off x="6174995" y="2996788"/>
              <a:ext cx="661482" cy="560933"/>
              <a:chOff x="6673852" y="2507796"/>
              <a:chExt cx="3493295" cy="3112291"/>
            </a:xfrm>
            <a:grpFill/>
          </p:grpSpPr>
          <p:sp>
            <p:nvSpPr>
              <p:cNvPr id="258" name="Freeform 503">
                <a:extLst>
                  <a:ext uri="{FF2B5EF4-FFF2-40B4-BE49-F238E27FC236}">
                    <a16:creationId xmlns:a16="http://schemas.microsoft.com/office/drawing/2014/main" id="{E96159A2-DD8C-44AF-A737-11494A806D30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9" name="Freeform 504">
                <a:extLst>
                  <a:ext uri="{FF2B5EF4-FFF2-40B4-BE49-F238E27FC236}">
                    <a16:creationId xmlns:a16="http://schemas.microsoft.com/office/drawing/2014/main" id="{FBA684ED-307D-4773-815D-3CB82E1F6F39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0" name="Freeform 505">
                <a:extLst>
                  <a:ext uri="{FF2B5EF4-FFF2-40B4-BE49-F238E27FC236}">
                    <a16:creationId xmlns:a16="http://schemas.microsoft.com/office/drawing/2014/main" id="{12375148-4538-4EB3-AE29-D5DAB0564FD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977E33B7-35C7-4DC6-BB31-691114D18DDB}"/>
                </a:ext>
              </a:extLst>
            </p:cNvPr>
            <p:cNvGrpSpPr/>
            <p:nvPr/>
          </p:nvGrpSpPr>
          <p:grpSpPr>
            <a:xfrm>
              <a:off x="6505736" y="3110376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255" name="Freeform 507">
                <a:extLst>
                  <a:ext uri="{FF2B5EF4-FFF2-40B4-BE49-F238E27FC236}">
                    <a16:creationId xmlns:a16="http://schemas.microsoft.com/office/drawing/2014/main" id="{CF571681-070C-4300-8B3D-77801F286FD2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Freeform 508">
                <a:extLst>
                  <a:ext uri="{FF2B5EF4-FFF2-40B4-BE49-F238E27FC236}">
                    <a16:creationId xmlns:a16="http://schemas.microsoft.com/office/drawing/2014/main" id="{6F137F32-332C-418D-AD97-96EB6ACED92E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Freeform 509">
                <a:extLst>
                  <a:ext uri="{FF2B5EF4-FFF2-40B4-BE49-F238E27FC236}">
                    <a16:creationId xmlns:a16="http://schemas.microsoft.com/office/drawing/2014/main" id="{833CC587-24AE-4FCE-A86A-5FFE9C41452E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DBC47E6A-8018-405E-AC43-B15FADC541CC}"/>
                </a:ext>
              </a:extLst>
            </p:cNvPr>
            <p:cNvGrpSpPr/>
            <p:nvPr/>
          </p:nvGrpSpPr>
          <p:grpSpPr>
            <a:xfrm>
              <a:off x="6836476" y="3223965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252" name="Freeform 511">
                <a:extLst>
                  <a:ext uri="{FF2B5EF4-FFF2-40B4-BE49-F238E27FC236}">
                    <a16:creationId xmlns:a16="http://schemas.microsoft.com/office/drawing/2014/main" id="{BD09295B-7BA0-4CF0-937D-C4D20623911D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Freeform 512">
                <a:extLst>
                  <a:ext uri="{FF2B5EF4-FFF2-40B4-BE49-F238E27FC236}">
                    <a16:creationId xmlns:a16="http://schemas.microsoft.com/office/drawing/2014/main" id="{0441E2F8-42E9-4B41-ABC9-2EC03FFD73C7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Freeform 513">
                <a:extLst>
                  <a:ext uri="{FF2B5EF4-FFF2-40B4-BE49-F238E27FC236}">
                    <a16:creationId xmlns:a16="http://schemas.microsoft.com/office/drawing/2014/main" id="{CBE4EFBD-2E26-4A5F-9138-5F3B866639F4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A827BF6C-E0C9-43D1-8ED9-2126E2C12909}"/>
                </a:ext>
              </a:extLst>
            </p:cNvPr>
            <p:cNvGrpSpPr/>
            <p:nvPr/>
          </p:nvGrpSpPr>
          <p:grpSpPr>
            <a:xfrm>
              <a:off x="6174018" y="2666892"/>
              <a:ext cx="661483" cy="560934"/>
              <a:chOff x="6673852" y="2507796"/>
              <a:chExt cx="3493295" cy="3112292"/>
            </a:xfrm>
            <a:grpFill/>
          </p:grpSpPr>
          <p:sp>
            <p:nvSpPr>
              <p:cNvPr id="249" name="Freeform 515">
                <a:extLst>
                  <a:ext uri="{FF2B5EF4-FFF2-40B4-BE49-F238E27FC236}">
                    <a16:creationId xmlns:a16="http://schemas.microsoft.com/office/drawing/2014/main" id="{400BBDE8-D258-4348-9322-6E697A70B494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Freeform 516">
                <a:extLst>
                  <a:ext uri="{FF2B5EF4-FFF2-40B4-BE49-F238E27FC236}">
                    <a16:creationId xmlns:a16="http://schemas.microsoft.com/office/drawing/2014/main" id="{2B7F3695-8EA8-4EAE-86C4-8DEE31208CD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Freeform 517">
                <a:extLst>
                  <a:ext uri="{FF2B5EF4-FFF2-40B4-BE49-F238E27FC236}">
                    <a16:creationId xmlns:a16="http://schemas.microsoft.com/office/drawing/2014/main" id="{9B52190D-DB59-4841-A13A-DC6A56D10D1A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E0DF0E87-A13C-40B9-BCBC-1A1CE27B1BD7}"/>
                </a:ext>
              </a:extLst>
            </p:cNvPr>
            <p:cNvGrpSpPr/>
            <p:nvPr/>
          </p:nvGrpSpPr>
          <p:grpSpPr>
            <a:xfrm>
              <a:off x="6504756" y="2780481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246" name="Freeform 519">
                <a:extLst>
                  <a:ext uri="{FF2B5EF4-FFF2-40B4-BE49-F238E27FC236}">
                    <a16:creationId xmlns:a16="http://schemas.microsoft.com/office/drawing/2014/main" id="{2D726C96-25B5-48CF-9AFB-CE6660A0259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Freeform 520">
                <a:extLst>
                  <a:ext uri="{FF2B5EF4-FFF2-40B4-BE49-F238E27FC236}">
                    <a16:creationId xmlns:a16="http://schemas.microsoft.com/office/drawing/2014/main" id="{6A136390-16F8-4AD0-B7BB-ED7D71D3C2C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Freeform 521">
                <a:extLst>
                  <a:ext uri="{FF2B5EF4-FFF2-40B4-BE49-F238E27FC236}">
                    <a16:creationId xmlns:a16="http://schemas.microsoft.com/office/drawing/2014/main" id="{08E8D356-0B3D-4F00-9663-9AF81D46038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36D2DA24-574F-4C47-AD14-02D63320012F}"/>
                </a:ext>
              </a:extLst>
            </p:cNvPr>
            <p:cNvGrpSpPr/>
            <p:nvPr/>
          </p:nvGrpSpPr>
          <p:grpSpPr>
            <a:xfrm>
              <a:off x="6835497" y="2894073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243" name="Freeform 523">
                <a:extLst>
                  <a:ext uri="{FF2B5EF4-FFF2-40B4-BE49-F238E27FC236}">
                    <a16:creationId xmlns:a16="http://schemas.microsoft.com/office/drawing/2014/main" id="{84D4C122-2FA5-4814-8EE5-1005ABD10DD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Freeform 524">
                <a:extLst>
                  <a:ext uri="{FF2B5EF4-FFF2-40B4-BE49-F238E27FC236}">
                    <a16:creationId xmlns:a16="http://schemas.microsoft.com/office/drawing/2014/main" id="{3B14AFD0-5131-4C61-831D-257CAFDE5CF1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Freeform 525">
                <a:extLst>
                  <a:ext uri="{FF2B5EF4-FFF2-40B4-BE49-F238E27FC236}">
                    <a16:creationId xmlns:a16="http://schemas.microsoft.com/office/drawing/2014/main" id="{69710465-B639-4FA5-BCE2-C1669ED7880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AD33871C-2BFB-4D4D-8328-A62BA9CC83F7}"/>
                </a:ext>
              </a:extLst>
            </p:cNvPr>
            <p:cNvGrpSpPr/>
            <p:nvPr/>
          </p:nvGrpSpPr>
          <p:grpSpPr>
            <a:xfrm>
              <a:off x="7172231" y="4001720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240" name="Freeform 527">
                <a:extLst>
                  <a:ext uri="{FF2B5EF4-FFF2-40B4-BE49-F238E27FC236}">
                    <a16:creationId xmlns:a16="http://schemas.microsoft.com/office/drawing/2014/main" id="{285DA25C-2AFE-4CEA-866D-8E65C7F2698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" name="Freeform 528">
                <a:extLst>
                  <a:ext uri="{FF2B5EF4-FFF2-40B4-BE49-F238E27FC236}">
                    <a16:creationId xmlns:a16="http://schemas.microsoft.com/office/drawing/2014/main" id="{601E1D0C-4089-4F11-A128-D83E1CEA0CBD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2" name="Freeform 529">
                <a:extLst>
                  <a:ext uri="{FF2B5EF4-FFF2-40B4-BE49-F238E27FC236}">
                    <a16:creationId xmlns:a16="http://schemas.microsoft.com/office/drawing/2014/main" id="{B0CCA968-8861-409A-A832-15A73243F3C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1D7D0224-4141-4876-A284-29B5C86780EA}"/>
                </a:ext>
              </a:extLst>
            </p:cNvPr>
            <p:cNvGrpSpPr/>
            <p:nvPr/>
          </p:nvGrpSpPr>
          <p:grpSpPr>
            <a:xfrm>
              <a:off x="7172231" y="3669966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237" name="Freeform 531">
                <a:extLst>
                  <a:ext uri="{FF2B5EF4-FFF2-40B4-BE49-F238E27FC236}">
                    <a16:creationId xmlns:a16="http://schemas.microsoft.com/office/drawing/2014/main" id="{0AC5EB60-DF93-42A1-8873-2F90B0FF377D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8" name="Freeform 532">
                <a:extLst>
                  <a:ext uri="{FF2B5EF4-FFF2-40B4-BE49-F238E27FC236}">
                    <a16:creationId xmlns:a16="http://schemas.microsoft.com/office/drawing/2014/main" id="{112969A0-4081-4E21-920F-3AE8C89CA0F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Freeform 533">
                <a:extLst>
                  <a:ext uri="{FF2B5EF4-FFF2-40B4-BE49-F238E27FC236}">
                    <a16:creationId xmlns:a16="http://schemas.microsoft.com/office/drawing/2014/main" id="{A60F3147-9F45-4F02-AD37-583DCBC02EE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3DC18DA1-0D95-4B9F-A34A-B4E275C0D346}"/>
                </a:ext>
              </a:extLst>
            </p:cNvPr>
            <p:cNvGrpSpPr/>
            <p:nvPr/>
          </p:nvGrpSpPr>
          <p:grpSpPr>
            <a:xfrm>
              <a:off x="7172231" y="3338213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234" name="Freeform 535">
                <a:extLst>
                  <a:ext uri="{FF2B5EF4-FFF2-40B4-BE49-F238E27FC236}">
                    <a16:creationId xmlns:a16="http://schemas.microsoft.com/office/drawing/2014/main" id="{F047366A-C29D-44A9-80E3-474BC9574B4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5" name="Freeform 536">
                <a:extLst>
                  <a:ext uri="{FF2B5EF4-FFF2-40B4-BE49-F238E27FC236}">
                    <a16:creationId xmlns:a16="http://schemas.microsoft.com/office/drawing/2014/main" id="{35E91748-1B69-4F77-A3EE-42710B5D8BB0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Freeform 537">
                <a:extLst>
                  <a:ext uri="{FF2B5EF4-FFF2-40B4-BE49-F238E27FC236}">
                    <a16:creationId xmlns:a16="http://schemas.microsoft.com/office/drawing/2014/main" id="{8F218610-DDD6-49FB-8F57-2068A234C81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4" name="Group 193">
              <a:extLst>
                <a:ext uri="{FF2B5EF4-FFF2-40B4-BE49-F238E27FC236}">
                  <a16:creationId xmlns:a16="http://schemas.microsoft.com/office/drawing/2014/main" id="{309B8D9E-42A7-45B3-962D-D7FD88297DB4}"/>
                </a:ext>
              </a:extLst>
            </p:cNvPr>
            <p:cNvGrpSpPr/>
            <p:nvPr/>
          </p:nvGrpSpPr>
          <p:grpSpPr>
            <a:xfrm>
              <a:off x="7171255" y="3008319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231" name="Freeform 539">
                <a:extLst>
                  <a:ext uri="{FF2B5EF4-FFF2-40B4-BE49-F238E27FC236}">
                    <a16:creationId xmlns:a16="http://schemas.microsoft.com/office/drawing/2014/main" id="{AE0E8EB9-F0BC-406D-BD39-C731D328E65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2" name="Freeform 540">
                <a:extLst>
                  <a:ext uri="{FF2B5EF4-FFF2-40B4-BE49-F238E27FC236}">
                    <a16:creationId xmlns:a16="http://schemas.microsoft.com/office/drawing/2014/main" id="{1A8DD3A6-246B-4E34-8DBA-430208D3292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Freeform 541">
                <a:extLst>
                  <a:ext uri="{FF2B5EF4-FFF2-40B4-BE49-F238E27FC236}">
                    <a16:creationId xmlns:a16="http://schemas.microsoft.com/office/drawing/2014/main" id="{9F7FDDE9-17BE-4320-B0CE-78E1876D630C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7C5C97E8-74FB-4A29-9B07-2233BDFB1401}"/>
                </a:ext>
              </a:extLst>
            </p:cNvPr>
            <p:cNvGrpSpPr/>
            <p:nvPr/>
          </p:nvGrpSpPr>
          <p:grpSpPr>
            <a:xfrm>
              <a:off x="7510238" y="4120971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228" name="Freeform 543">
                <a:extLst>
                  <a:ext uri="{FF2B5EF4-FFF2-40B4-BE49-F238E27FC236}">
                    <a16:creationId xmlns:a16="http://schemas.microsoft.com/office/drawing/2014/main" id="{FFD70EF7-A061-4D9F-AB66-0F0AB613E95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9" name="Freeform 544">
                <a:extLst>
                  <a:ext uri="{FF2B5EF4-FFF2-40B4-BE49-F238E27FC236}">
                    <a16:creationId xmlns:a16="http://schemas.microsoft.com/office/drawing/2014/main" id="{2EF518B1-4DBA-452D-8257-C57F6D6C814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0" name="Freeform 545">
                <a:extLst>
                  <a:ext uri="{FF2B5EF4-FFF2-40B4-BE49-F238E27FC236}">
                    <a16:creationId xmlns:a16="http://schemas.microsoft.com/office/drawing/2014/main" id="{80E28446-0EB6-4C43-8BA4-5EBA8DF4746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14D6BCBC-D9F1-4BC9-A0BF-19F7802D0F56}"/>
                </a:ext>
              </a:extLst>
            </p:cNvPr>
            <p:cNvGrpSpPr/>
            <p:nvPr/>
          </p:nvGrpSpPr>
          <p:grpSpPr>
            <a:xfrm>
              <a:off x="7510238" y="3789217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225" name="Freeform 547">
                <a:extLst>
                  <a:ext uri="{FF2B5EF4-FFF2-40B4-BE49-F238E27FC236}">
                    <a16:creationId xmlns:a16="http://schemas.microsoft.com/office/drawing/2014/main" id="{91472F9F-75AF-45D3-B250-01E5DCF3EA47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6" name="Freeform 548">
                <a:extLst>
                  <a:ext uri="{FF2B5EF4-FFF2-40B4-BE49-F238E27FC236}">
                    <a16:creationId xmlns:a16="http://schemas.microsoft.com/office/drawing/2014/main" id="{8FEC72BB-BE0A-4FCA-88CE-2D325C4A4F7D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7" name="Freeform 549">
                <a:extLst>
                  <a:ext uri="{FF2B5EF4-FFF2-40B4-BE49-F238E27FC236}">
                    <a16:creationId xmlns:a16="http://schemas.microsoft.com/office/drawing/2014/main" id="{583B55FE-995D-46C6-B26E-B1DAA1EEC00E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CE17B34C-8C6D-443A-9B8D-AE40DF5C2915}"/>
                </a:ext>
              </a:extLst>
            </p:cNvPr>
            <p:cNvGrpSpPr/>
            <p:nvPr/>
          </p:nvGrpSpPr>
          <p:grpSpPr>
            <a:xfrm>
              <a:off x="7510238" y="3457463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222" name="Freeform 551">
                <a:extLst>
                  <a:ext uri="{FF2B5EF4-FFF2-40B4-BE49-F238E27FC236}">
                    <a16:creationId xmlns:a16="http://schemas.microsoft.com/office/drawing/2014/main" id="{03E7AD63-D5DE-4C9D-8DC8-D819D0A9ED99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3" name="Freeform 552">
                <a:extLst>
                  <a:ext uri="{FF2B5EF4-FFF2-40B4-BE49-F238E27FC236}">
                    <a16:creationId xmlns:a16="http://schemas.microsoft.com/office/drawing/2014/main" id="{47460E45-EDC4-4128-A439-8BF0601DAC6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4" name="Freeform 553">
                <a:extLst>
                  <a:ext uri="{FF2B5EF4-FFF2-40B4-BE49-F238E27FC236}">
                    <a16:creationId xmlns:a16="http://schemas.microsoft.com/office/drawing/2014/main" id="{4009FD11-F350-4300-B30D-2331C12E68E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7BE78779-27DA-4573-9C0D-7DCD1915BC79}"/>
                </a:ext>
              </a:extLst>
            </p:cNvPr>
            <p:cNvGrpSpPr/>
            <p:nvPr/>
          </p:nvGrpSpPr>
          <p:grpSpPr>
            <a:xfrm>
              <a:off x="7509262" y="3127570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219" name="Freeform 555">
                <a:extLst>
                  <a:ext uri="{FF2B5EF4-FFF2-40B4-BE49-F238E27FC236}">
                    <a16:creationId xmlns:a16="http://schemas.microsoft.com/office/drawing/2014/main" id="{F7DC6CE5-1875-4D40-A4FC-B68952EAC79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0" name="Freeform 556">
                <a:extLst>
                  <a:ext uri="{FF2B5EF4-FFF2-40B4-BE49-F238E27FC236}">
                    <a16:creationId xmlns:a16="http://schemas.microsoft.com/office/drawing/2014/main" id="{238CB776-D298-4C05-B8E7-19BF531ACB5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1" name="Freeform 557">
                <a:extLst>
                  <a:ext uri="{FF2B5EF4-FFF2-40B4-BE49-F238E27FC236}">
                    <a16:creationId xmlns:a16="http://schemas.microsoft.com/office/drawing/2014/main" id="{6621D6CF-61DD-4AF9-845F-BDE586192C5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12BE5838-28EB-4244-9FF8-F61E78A96B30}"/>
                </a:ext>
              </a:extLst>
            </p:cNvPr>
            <p:cNvGrpSpPr/>
            <p:nvPr/>
          </p:nvGrpSpPr>
          <p:grpSpPr>
            <a:xfrm>
              <a:off x="6168572" y="2341066"/>
              <a:ext cx="661483" cy="560934"/>
              <a:chOff x="6673852" y="2507796"/>
              <a:chExt cx="3493295" cy="3112292"/>
            </a:xfrm>
            <a:grpFill/>
          </p:grpSpPr>
          <p:sp>
            <p:nvSpPr>
              <p:cNvPr id="216" name="Freeform 642">
                <a:extLst>
                  <a:ext uri="{FF2B5EF4-FFF2-40B4-BE49-F238E27FC236}">
                    <a16:creationId xmlns:a16="http://schemas.microsoft.com/office/drawing/2014/main" id="{DEFB813F-53A4-4926-970E-DBD67BE1D4B5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7" name="Freeform 643">
                <a:extLst>
                  <a:ext uri="{FF2B5EF4-FFF2-40B4-BE49-F238E27FC236}">
                    <a16:creationId xmlns:a16="http://schemas.microsoft.com/office/drawing/2014/main" id="{32D11F6F-43DC-42F7-93B1-7F8BFE038E40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8" name="Freeform 644">
                <a:extLst>
                  <a:ext uri="{FF2B5EF4-FFF2-40B4-BE49-F238E27FC236}">
                    <a16:creationId xmlns:a16="http://schemas.microsoft.com/office/drawing/2014/main" id="{F43E6A52-EAD4-4081-BFE8-D6EA20860CC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EDEA9CD1-7FE0-4767-ABAB-CF15EBF34FF8}"/>
                </a:ext>
              </a:extLst>
            </p:cNvPr>
            <p:cNvGrpSpPr/>
            <p:nvPr/>
          </p:nvGrpSpPr>
          <p:grpSpPr>
            <a:xfrm>
              <a:off x="6499310" y="2454655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213" name="Freeform 646">
                <a:extLst>
                  <a:ext uri="{FF2B5EF4-FFF2-40B4-BE49-F238E27FC236}">
                    <a16:creationId xmlns:a16="http://schemas.microsoft.com/office/drawing/2014/main" id="{1E3E1939-BE1C-48E7-9501-719DD2210750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4" name="Freeform 647">
                <a:extLst>
                  <a:ext uri="{FF2B5EF4-FFF2-40B4-BE49-F238E27FC236}">
                    <a16:creationId xmlns:a16="http://schemas.microsoft.com/office/drawing/2014/main" id="{3D74A6F3-478F-4FD8-8D21-D414310B788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Freeform 648">
                <a:extLst>
                  <a:ext uri="{FF2B5EF4-FFF2-40B4-BE49-F238E27FC236}">
                    <a16:creationId xmlns:a16="http://schemas.microsoft.com/office/drawing/2014/main" id="{2E6D3E18-A644-4553-BA7E-E96B7508609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C57CFC63-1B51-4DAC-B2ED-9701302C9ACD}"/>
                </a:ext>
              </a:extLst>
            </p:cNvPr>
            <p:cNvGrpSpPr/>
            <p:nvPr/>
          </p:nvGrpSpPr>
          <p:grpSpPr>
            <a:xfrm>
              <a:off x="6830051" y="2568246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210" name="Freeform 650">
                <a:extLst>
                  <a:ext uri="{FF2B5EF4-FFF2-40B4-BE49-F238E27FC236}">
                    <a16:creationId xmlns:a16="http://schemas.microsoft.com/office/drawing/2014/main" id="{018EB7BC-C25C-4FBF-931F-9CD9DCB7B9B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Freeform 651">
                <a:extLst>
                  <a:ext uri="{FF2B5EF4-FFF2-40B4-BE49-F238E27FC236}">
                    <a16:creationId xmlns:a16="http://schemas.microsoft.com/office/drawing/2014/main" id="{0ECC034A-6325-4F18-8875-CC539AC48E1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2" name="Freeform 652">
                <a:extLst>
                  <a:ext uri="{FF2B5EF4-FFF2-40B4-BE49-F238E27FC236}">
                    <a16:creationId xmlns:a16="http://schemas.microsoft.com/office/drawing/2014/main" id="{37C69911-C038-4A9F-AA88-4D7A8035986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C9AF27FC-5673-4C60-B90C-18248B5334B2}"/>
                </a:ext>
              </a:extLst>
            </p:cNvPr>
            <p:cNvGrpSpPr/>
            <p:nvPr/>
          </p:nvGrpSpPr>
          <p:grpSpPr>
            <a:xfrm>
              <a:off x="7165809" y="2682492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207" name="Freeform 654">
                <a:extLst>
                  <a:ext uri="{FF2B5EF4-FFF2-40B4-BE49-F238E27FC236}">
                    <a16:creationId xmlns:a16="http://schemas.microsoft.com/office/drawing/2014/main" id="{2F36BC7D-E1A2-4838-9815-EAD2F9A8288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8" name="Freeform 655">
                <a:extLst>
                  <a:ext uri="{FF2B5EF4-FFF2-40B4-BE49-F238E27FC236}">
                    <a16:creationId xmlns:a16="http://schemas.microsoft.com/office/drawing/2014/main" id="{DDD7F326-E604-4C61-B06A-7D534472CA3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Freeform 656">
                <a:extLst>
                  <a:ext uri="{FF2B5EF4-FFF2-40B4-BE49-F238E27FC236}">
                    <a16:creationId xmlns:a16="http://schemas.microsoft.com/office/drawing/2014/main" id="{94CC834C-B5CD-48D7-9643-A4216080895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E3873FBD-A546-42FC-83A2-C83DE5E89262}"/>
                </a:ext>
              </a:extLst>
            </p:cNvPr>
            <p:cNvGrpSpPr/>
            <p:nvPr/>
          </p:nvGrpSpPr>
          <p:grpSpPr>
            <a:xfrm>
              <a:off x="7503816" y="2801743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204" name="Freeform 658">
                <a:extLst>
                  <a:ext uri="{FF2B5EF4-FFF2-40B4-BE49-F238E27FC236}">
                    <a16:creationId xmlns:a16="http://schemas.microsoft.com/office/drawing/2014/main" id="{B36732B0-A14D-4DD8-926B-A1A59374D5E7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5" name="Freeform 659">
                <a:extLst>
                  <a:ext uri="{FF2B5EF4-FFF2-40B4-BE49-F238E27FC236}">
                    <a16:creationId xmlns:a16="http://schemas.microsoft.com/office/drawing/2014/main" id="{4D9B4AEA-2E94-43AD-B468-7DFF53F11B5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6" name="Freeform 660">
                <a:extLst>
                  <a:ext uri="{FF2B5EF4-FFF2-40B4-BE49-F238E27FC236}">
                    <a16:creationId xmlns:a16="http://schemas.microsoft.com/office/drawing/2014/main" id="{72882AB6-B491-4117-BBF2-020FF17F810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79" name="Group 278">
            <a:extLst>
              <a:ext uri="{FF2B5EF4-FFF2-40B4-BE49-F238E27FC236}">
                <a16:creationId xmlns:a16="http://schemas.microsoft.com/office/drawing/2014/main" id="{AA3BE952-4A3A-4AE4-A856-9D0B89A7A33B}"/>
              </a:ext>
            </a:extLst>
          </p:cNvPr>
          <p:cNvGrpSpPr/>
          <p:nvPr/>
        </p:nvGrpSpPr>
        <p:grpSpPr>
          <a:xfrm>
            <a:off x="8710651" y="3175681"/>
            <a:ext cx="411826" cy="690369"/>
            <a:chOff x="6168572" y="2341066"/>
            <a:chExt cx="2003150" cy="2340838"/>
          </a:xfrm>
          <a:solidFill>
            <a:srgbClr val="605BCA">
              <a:alpha val="50196"/>
            </a:srgbClr>
          </a:solidFill>
        </p:grpSpPr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id="{A36BA21A-AA32-4456-9699-428FA55CA2C2}"/>
                </a:ext>
              </a:extLst>
            </p:cNvPr>
            <p:cNvGrpSpPr/>
            <p:nvPr/>
          </p:nvGrpSpPr>
          <p:grpSpPr>
            <a:xfrm>
              <a:off x="6174994" y="3660293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377" name="Freeform 479">
                <a:extLst>
                  <a:ext uri="{FF2B5EF4-FFF2-40B4-BE49-F238E27FC236}">
                    <a16:creationId xmlns:a16="http://schemas.microsoft.com/office/drawing/2014/main" id="{F274C1BF-CB97-4BD1-AD97-DC7D50CE4990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8" name="Freeform 480">
                <a:extLst>
                  <a:ext uri="{FF2B5EF4-FFF2-40B4-BE49-F238E27FC236}">
                    <a16:creationId xmlns:a16="http://schemas.microsoft.com/office/drawing/2014/main" id="{4F66DE4F-1BC9-402C-AABE-9DCC97BE214B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9" name="Freeform 481">
                <a:extLst>
                  <a:ext uri="{FF2B5EF4-FFF2-40B4-BE49-F238E27FC236}">
                    <a16:creationId xmlns:a16="http://schemas.microsoft.com/office/drawing/2014/main" id="{CEA6B611-B628-4464-84B6-070E102EA3C3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1" name="Group 280">
              <a:extLst>
                <a:ext uri="{FF2B5EF4-FFF2-40B4-BE49-F238E27FC236}">
                  <a16:creationId xmlns:a16="http://schemas.microsoft.com/office/drawing/2014/main" id="{47F1B84A-FCD0-4EE4-803E-06ABD256BF24}"/>
                </a:ext>
              </a:extLst>
            </p:cNvPr>
            <p:cNvGrpSpPr/>
            <p:nvPr/>
          </p:nvGrpSpPr>
          <p:grpSpPr>
            <a:xfrm>
              <a:off x="6505735" y="3773882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374" name="Freeform 483">
                <a:extLst>
                  <a:ext uri="{FF2B5EF4-FFF2-40B4-BE49-F238E27FC236}">
                    <a16:creationId xmlns:a16="http://schemas.microsoft.com/office/drawing/2014/main" id="{530FFC6A-7776-4E39-9BA0-74146C0FB614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5" name="Freeform 484">
                <a:extLst>
                  <a:ext uri="{FF2B5EF4-FFF2-40B4-BE49-F238E27FC236}">
                    <a16:creationId xmlns:a16="http://schemas.microsoft.com/office/drawing/2014/main" id="{DD89A445-1FFD-49F0-B77F-E0BD269D5FA9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6" name="Freeform 485">
                <a:extLst>
                  <a:ext uri="{FF2B5EF4-FFF2-40B4-BE49-F238E27FC236}">
                    <a16:creationId xmlns:a16="http://schemas.microsoft.com/office/drawing/2014/main" id="{902A7AAA-4AD6-41E8-A9A9-B5D7B03ECA49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2" name="Group 281">
              <a:extLst>
                <a:ext uri="{FF2B5EF4-FFF2-40B4-BE49-F238E27FC236}">
                  <a16:creationId xmlns:a16="http://schemas.microsoft.com/office/drawing/2014/main" id="{2E75ADB9-49AD-47B5-8700-92F8F6A0C6EF}"/>
                </a:ext>
              </a:extLst>
            </p:cNvPr>
            <p:cNvGrpSpPr/>
            <p:nvPr/>
          </p:nvGrpSpPr>
          <p:grpSpPr>
            <a:xfrm>
              <a:off x="6836476" y="3887471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371" name="Freeform 487">
                <a:extLst>
                  <a:ext uri="{FF2B5EF4-FFF2-40B4-BE49-F238E27FC236}">
                    <a16:creationId xmlns:a16="http://schemas.microsoft.com/office/drawing/2014/main" id="{BE821D4D-2CE5-4D17-B069-29D1C8037272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2" name="Freeform 488">
                <a:extLst>
                  <a:ext uri="{FF2B5EF4-FFF2-40B4-BE49-F238E27FC236}">
                    <a16:creationId xmlns:a16="http://schemas.microsoft.com/office/drawing/2014/main" id="{AF689627-D769-40AA-8E4D-121ECBC6E582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3" name="Freeform 489">
                <a:extLst>
                  <a:ext uri="{FF2B5EF4-FFF2-40B4-BE49-F238E27FC236}">
                    <a16:creationId xmlns:a16="http://schemas.microsoft.com/office/drawing/2014/main" id="{6D837A89-558F-482D-9379-01AB3F36BC24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3" name="Group 282">
              <a:extLst>
                <a:ext uri="{FF2B5EF4-FFF2-40B4-BE49-F238E27FC236}">
                  <a16:creationId xmlns:a16="http://schemas.microsoft.com/office/drawing/2014/main" id="{B9EE1BBC-D5E1-4B08-AD91-B07872328743}"/>
                </a:ext>
              </a:extLst>
            </p:cNvPr>
            <p:cNvGrpSpPr/>
            <p:nvPr/>
          </p:nvGrpSpPr>
          <p:grpSpPr>
            <a:xfrm>
              <a:off x="6174994" y="3328540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368" name="Freeform 491">
                <a:extLst>
                  <a:ext uri="{FF2B5EF4-FFF2-40B4-BE49-F238E27FC236}">
                    <a16:creationId xmlns:a16="http://schemas.microsoft.com/office/drawing/2014/main" id="{37DB3F4B-47E8-436F-9DAB-A9CBFD8E2749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9" name="Freeform 492">
                <a:extLst>
                  <a:ext uri="{FF2B5EF4-FFF2-40B4-BE49-F238E27FC236}">
                    <a16:creationId xmlns:a16="http://schemas.microsoft.com/office/drawing/2014/main" id="{9968EA6A-8B26-4CD9-86CC-CBC30005214C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0" name="Freeform 493">
                <a:extLst>
                  <a:ext uri="{FF2B5EF4-FFF2-40B4-BE49-F238E27FC236}">
                    <a16:creationId xmlns:a16="http://schemas.microsoft.com/office/drawing/2014/main" id="{46E9564F-2CD7-45C5-B0F8-5EE8E837FFD7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4" name="Group 283">
              <a:extLst>
                <a:ext uri="{FF2B5EF4-FFF2-40B4-BE49-F238E27FC236}">
                  <a16:creationId xmlns:a16="http://schemas.microsoft.com/office/drawing/2014/main" id="{B73D377C-EA86-4DF5-A3C1-C244B5D30824}"/>
                </a:ext>
              </a:extLst>
            </p:cNvPr>
            <p:cNvGrpSpPr/>
            <p:nvPr/>
          </p:nvGrpSpPr>
          <p:grpSpPr>
            <a:xfrm>
              <a:off x="6505735" y="3442129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365" name="Freeform 495">
                <a:extLst>
                  <a:ext uri="{FF2B5EF4-FFF2-40B4-BE49-F238E27FC236}">
                    <a16:creationId xmlns:a16="http://schemas.microsoft.com/office/drawing/2014/main" id="{70036964-0174-4B47-8713-A5EF5CEDB8E5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6" name="Freeform 496">
                <a:extLst>
                  <a:ext uri="{FF2B5EF4-FFF2-40B4-BE49-F238E27FC236}">
                    <a16:creationId xmlns:a16="http://schemas.microsoft.com/office/drawing/2014/main" id="{28E0009B-D00C-4C51-A55D-000E0F8B2719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7" name="Freeform 497">
                <a:extLst>
                  <a:ext uri="{FF2B5EF4-FFF2-40B4-BE49-F238E27FC236}">
                    <a16:creationId xmlns:a16="http://schemas.microsoft.com/office/drawing/2014/main" id="{9E7D284B-865D-45EB-B10A-B53A42B64D76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42641017-35AF-44DD-8630-A3731A400D6E}"/>
                </a:ext>
              </a:extLst>
            </p:cNvPr>
            <p:cNvGrpSpPr/>
            <p:nvPr/>
          </p:nvGrpSpPr>
          <p:grpSpPr>
            <a:xfrm>
              <a:off x="6836476" y="3555718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362" name="Freeform 499">
                <a:extLst>
                  <a:ext uri="{FF2B5EF4-FFF2-40B4-BE49-F238E27FC236}">
                    <a16:creationId xmlns:a16="http://schemas.microsoft.com/office/drawing/2014/main" id="{9DFD61BD-BE4E-415E-AC87-E2F45819FE36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3" name="Freeform 500">
                <a:extLst>
                  <a:ext uri="{FF2B5EF4-FFF2-40B4-BE49-F238E27FC236}">
                    <a16:creationId xmlns:a16="http://schemas.microsoft.com/office/drawing/2014/main" id="{C9F990D0-FBB7-4D6B-9487-ECBE84252BEC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4" name="Freeform 501">
                <a:extLst>
                  <a:ext uri="{FF2B5EF4-FFF2-40B4-BE49-F238E27FC236}">
                    <a16:creationId xmlns:a16="http://schemas.microsoft.com/office/drawing/2014/main" id="{37773D53-D673-4EC3-ADEE-8EC2D2B38D5A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6" name="Group 285">
              <a:extLst>
                <a:ext uri="{FF2B5EF4-FFF2-40B4-BE49-F238E27FC236}">
                  <a16:creationId xmlns:a16="http://schemas.microsoft.com/office/drawing/2014/main" id="{7EF9B243-7CC2-492F-B114-BB14B6FFA585}"/>
                </a:ext>
              </a:extLst>
            </p:cNvPr>
            <p:cNvGrpSpPr/>
            <p:nvPr/>
          </p:nvGrpSpPr>
          <p:grpSpPr>
            <a:xfrm>
              <a:off x="6174995" y="2996788"/>
              <a:ext cx="661482" cy="560933"/>
              <a:chOff x="6673852" y="2507796"/>
              <a:chExt cx="3493295" cy="3112291"/>
            </a:xfrm>
            <a:grpFill/>
          </p:grpSpPr>
          <p:sp>
            <p:nvSpPr>
              <p:cNvPr id="359" name="Freeform 503">
                <a:extLst>
                  <a:ext uri="{FF2B5EF4-FFF2-40B4-BE49-F238E27FC236}">
                    <a16:creationId xmlns:a16="http://schemas.microsoft.com/office/drawing/2014/main" id="{7454A462-0C25-4595-B08B-D2ADD5898FB1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0" name="Freeform 504">
                <a:extLst>
                  <a:ext uri="{FF2B5EF4-FFF2-40B4-BE49-F238E27FC236}">
                    <a16:creationId xmlns:a16="http://schemas.microsoft.com/office/drawing/2014/main" id="{A1BFE118-3620-4D20-8092-FD205B075CFF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1" name="Freeform 505">
                <a:extLst>
                  <a:ext uri="{FF2B5EF4-FFF2-40B4-BE49-F238E27FC236}">
                    <a16:creationId xmlns:a16="http://schemas.microsoft.com/office/drawing/2014/main" id="{A87C497A-39B7-47E1-8A63-AFD9B6E32201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7" name="Group 286">
              <a:extLst>
                <a:ext uri="{FF2B5EF4-FFF2-40B4-BE49-F238E27FC236}">
                  <a16:creationId xmlns:a16="http://schemas.microsoft.com/office/drawing/2014/main" id="{3B1621F8-FA1F-4C6C-ACF2-9E865FF53BCA}"/>
                </a:ext>
              </a:extLst>
            </p:cNvPr>
            <p:cNvGrpSpPr/>
            <p:nvPr/>
          </p:nvGrpSpPr>
          <p:grpSpPr>
            <a:xfrm>
              <a:off x="6505736" y="3110376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356" name="Freeform 507">
                <a:extLst>
                  <a:ext uri="{FF2B5EF4-FFF2-40B4-BE49-F238E27FC236}">
                    <a16:creationId xmlns:a16="http://schemas.microsoft.com/office/drawing/2014/main" id="{C303B433-749C-4D90-9FB8-8D3E4649703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7" name="Freeform 508">
                <a:extLst>
                  <a:ext uri="{FF2B5EF4-FFF2-40B4-BE49-F238E27FC236}">
                    <a16:creationId xmlns:a16="http://schemas.microsoft.com/office/drawing/2014/main" id="{EC764380-6B79-4599-9E19-F4ED7A99A6A9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8" name="Freeform 509">
                <a:extLst>
                  <a:ext uri="{FF2B5EF4-FFF2-40B4-BE49-F238E27FC236}">
                    <a16:creationId xmlns:a16="http://schemas.microsoft.com/office/drawing/2014/main" id="{6829A9E9-D940-43E6-979F-0AECDB070CB8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8" name="Group 287">
              <a:extLst>
                <a:ext uri="{FF2B5EF4-FFF2-40B4-BE49-F238E27FC236}">
                  <a16:creationId xmlns:a16="http://schemas.microsoft.com/office/drawing/2014/main" id="{6F657F10-1CA5-4BD9-9991-572CDFD7164D}"/>
                </a:ext>
              </a:extLst>
            </p:cNvPr>
            <p:cNvGrpSpPr/>
            <p:nvPr/>
          </p:nvGrpSpPr>
          <p:grpSpPr>
            <a:xfrm>
              <a:off x="6836476" y="3223965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353" name="Freeform 511">
                <a:extLst>
                  <a:ext uri="{FF2B5EF4-FFF2-40B4-BE49-F238E27FC236}">
                    <a16:creationId xmlns:a16="http://schemas.microsoft.com/office/drawing/2014/main" id="{FA4E55C5-8810-43E9-965E-EE70FB02A7B7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4" name="Freeform 512">
                <a:extLst>
                  <a:ext uri="{FF2B5EF4-FFF2-40B4-BE49-F238E27FC236}">
                    <a16:creationId xmlns:a16="http://schemas.microsoft.com/office/drawing/2014/main" id="{557FDB0B-F304-4737-8A67-A9031DDC8676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5" name="Freeform 513">
                <a:extLst>
                  <a:ext uri="{FF2B5EF4-FFF2-40B4-BE49-F238E27FC236}">
                    <a16:creationId xmlns:a16="http://schemas.microsoft.com/office/drawing/2014/main" id="{CC2373D5-02E8-4013-AAE7-59CBC33F31A5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9" name="Group 288">
              <a:extLst>
                <a:ext uri="{FF2B5EF4-FFF2-40B4-BE49-F238E27FC236}">
                  <a16:creationId xmlns:a16="http://schemas.microsoft.com/office/drawing/2014/main" id="{85E3B76A-F0E0-498B-A393-ACB332B9D8B6}"/>
                </a:ext>
              </a:extLst>
            </p:cNvPr>
            <p:cNvGrpSpPr/>
            <p:nvPr/>
          </p:nvGrpSpPr>
          <p:grpSpPr>
            <a:xfrm>
              <a:off x="6174018" y="2666892"/>
              <a:ext cx="661483" cy="560934"/>
              <a:chOff x="6673852" y="2507796"/>
              <a:chExt cx="3493295" cy="3112292"/>
            </a:xfrm>
            <a:grpFill/>
          </p:grpSpPr>
          <p:sp>
            <p:nvSpPr>
              <p:cNvPr id="350" name="Freeform 515">
                <a:extLst>
                  <a:ext uri="{FF2B5EF4-FFF2-40B4-BE49-F238E27FC236}">
                    <a16:creationId xmlns:a16="http://schemas.microsoft.com/office/drawing/2014/main" id="{FA03E9CB-A7CA-4724-AC3C-140BBD9422AA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1" name="Freeform 516">
                <a:extLst>
                  <a:ext uri="{FF2B5EF4-FFF2-40B4-BE49-F238E27FC236}">
                    <a16:creationId xmlns:a16="http://schemas.microsoft.com/office/drawing/2014/main" id="{3C457E08-AE0B-498F-89D6-B1E4B4537F0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2" name="Freeform 517">
                <a:extLst>
                  <a:ext uri="{FF2B5EF4-FFF2-40B4-BE49-F238E27FC236}">
                    <a16:creationId xmlns:a16="http://schemas.microsoft.com/office/drawing/2014/main" id="{C03A715B-2006-4679-AE8F-0C85C573E640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0" name="Group 289">
              <a:extLst>
                <a:ext uri="{FF2B5EF4-FFF2-40B4-BE49-F238E27FC236}">
                  <a16:creationId xmlns:a16="http://schemas.microsoft.com/office/drawing/2014/main" id="{6EEDBB66-8625-46BA-A12C-930E9A7721A7}"/>
                </a:ext>
              </a:extLst>
            </p:cNvPr>
            <p:cNvGrpSpPr/>
            <p:nvPr/>
          </p:nvGrpSpPr>
          <p:grpSpPr>
            <a:xfrm>
              <a:off x="6504756" y="2780481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347" name="Freeform 519">
                <a:extLst>
                  <a:ext uri="{FF2B5EF4-FFF2-40B4-BE49-F238E27FC236}">
                    <a16:creationId xmlns:a16="http://schemas.microsoft.com/office/drawing/2014/main" id="{E811C4BE-3029-4841-A354-CDEF803354EB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8" name="Freeform 520">
                <a:extLst>
                  <a:ext uri="{FF2B5EF4-FFF2-40B4-BE49-F238E27FC236}">
                    <a16:creationId xmlns:a16="http://schemas.microsoft.com/office/drawing/2014/main" id="{CEFCF587-90FC-4297-96C8-5BABE3415D8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9" name="Freeform 521">
                <a:extLst>
                  <a:ext uri="{FF2B5EF4-FFF2-40B4-BE49-F238E27FC236}">
                    <a16:creationId xmlns:a16="http://schemas.microsoft.com/office/drawing/2014/main" id="{21FB9A55-3259-4038-B462-19BB23EA36A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1" name="Group 290">
              <a:extLst>
                <a:ext uri="{FF2B5EF4-FFF2-40B4-BE49-F238E27FC236}">
                  <a16:creationId xmlns:a16="http://schemas.microsoft.com/office/drawing/2014/main" id="{D627BCD3-3370-4F25-B03B-B16706E9F285}"/>
                </a:ext>
              </a:extLst>
            </p:cNvPr>
            <p:cNvGrpSpPr/>
            <p:nvPr/>
          </p:nvGrpSpPr>
          <p:grpSpPr>
            <a:xfrm>
              <a:off x="6835497" y="2894073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344" name="Freeform 523">
                <a:extLst>
                  <a:ext uri="{FF2B5EF4-FFF2-40B4-BE49-F238E27FC236}">
                    <a16:creationId xmlns:a16="http://schemas.microsoft.com/office/drawing/2014/main" id="{F5054A78-CE98-4607-8A21-4BBCB7F3B4A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5" name="Freeform 524">
                <a:extLst>
                  <a:ext uri="{FF2B5EF4-FFF2-40B4-BE49-F238E27FC236}">
                    <a16:creationId xmlns:a16="http://schemas.microsoft.com/office/drawing/2014/main" id="{F51F56FA-4CB3-46FA-9EB9-ECB27046FD3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6" name="Freeform 525">
                <a:extLst>
                  <a:ext uri="{FF2B5EF4-FFF2-40B4-BE49-F238E27FC236}">
                    <a16:creationId xmlns:a16="http://schemas.microsoft.com/office/drawing/2014/main" id="{0CAA193E-6A3C-483D-AFB0-F7B929DFF47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027D1F20-BED4-4A3F-B25A-904575BA5E38}"/>
                </a:ext>
              </a:extLst>
            </p:cNvPr>
            <p:cNvGrpSpPr/>
            <p:nvPr/>
          </p:nvGrpSpPr>
          <p:grpSpPr>
            <a:xfrm>
              <a:off x="7172231" y="4001720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341" name="Freeform 527">
                <a:extLst>
                  <a:ext uri="{FF2B5EF4-FFF2-40B4-BE49-F238E27FC236}">
                    <a16:creationId xmlns:a16="http://schemas.microsoft.com/office/drawing/2014/main" id="{79E97AC4-0CAF-4DE4-A6E5-ED6EAD21261F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2" name="Freeform 528">
                <a:extLst>
                  <a:ext uri="{FF2B5EF4-FFF2-40B4-BE49-F238E27FC236}">
                    <a16:creationId xmlns:a16="http://schemas.microsoft.com/office/drawing/2014/main" id="{8A3A11F7-9898-4890-90A6-10D7772F33B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3" name="Freeform 529">
                <a:extLst>
                  <a:ext uri="{FF2B5EF4-FFF2-40B4-BE49-F238E27FC236}">
                    <a16:creationId xmlns:a16="http://schemas.microsoft.com/office/drawing/2014/main" id="{F22E67D7-C8B9-4F0D-BFC8-2952CD72385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A3718909-EC74-4CCB-9804-E1707F74E7BB}"/>
                </a:ext>
              </a:extLst>
            </p:cNvPr>
            <p:cNvGrpSpPr/>
            <p:nvPr/>
          </p:nvGrpSpPr>
          <p:grpSpPr>
            <a:xfrm>
              <a:off x="7172231" y="3669966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338" name="Freeform 531">
                <a:extLst>
                  <a:ext uri="{FF2B5EF4-FFF2-40B4-BE49-F238E27FC236}">
                    <a16:creationId xmlns:a16="http://schemas.microsoft.com/office/drawing/2014/main" id="{CE6F3267-0BC3-41C3-A83F-5B273404BA38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9" name="Freeform 532">
                <a:extLst>
                  <a:ext uri="{FF2B5EF4-FFF2-40B4-BE49-F238E27FC236}">
                    <a16:creationId xmlns:a16="http://schemas.microsoft.com/office/drawing/2014/main" id="{51E97B7D-5EBD-4E3B-9866-E38505A5370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0" name="Freeform 533">
                <a:extLst>
                  <a:ext uri="{FF2B5EF4-FFF2-40B4-BE49-F238E27FC236}">
                    <a16:creationId xmlns:a16="http://schemas.microsoft.com/office/drawing/2014/main" id="{7702B080-A1A9-41FF-BC3F-844964535021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4" name="Group 293">
              <a:extLst>
                <a:ext uri="{FF2B5EF4-FFF2-40B4-BE49-F238E27FC236}">
                  <a16:creationId xmlns:a16="http://schemas.microsoft.com/office/drawing/2014/main" id="{AD5F2A4D-D79F-4EE8-8BB1-C7691123166B}"/>
                </a:ext>
              </a:extLst>
            </p:cNvPr>
            <p:cNvGrpSpPr/>
            <p:nvPr/>
          </p:nvGrpSpPr>
          <p:grpSpPr>
            <a:xfrm>
              <a:off x="7172231" y="3338213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335" name="Freeform 535">
                <a:extLst>
                  <a:ext uri="{FF2B5EF4-FFF2-40B4-BE49-F238E27FC236}">
                    <a16:creationId xmlns:a16="http://schemas.microsoft.com/office/drawing/2014/main" id="{B0194DF2-B4F4-4F7E-9C6E-E17E9A4D3E38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6" name="Freeform 536">
                <a:extLst>
                  <a:ext uri="{FF2B5EF4-FFF2-40B4-BE49-F238E27FC236}">
                    <a16:creationId xmlns:a16="http://schemas.microsoft.com/office/drawing/2014/main" id="{49F75BD6-4991-42F0-A487-E7B86DA67404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7" name="Freeform 537">
                <a:extLst>
                  <a:ext uri="{FF2B5EF4-FFF2-40B4-BE49-F238E27FC236}">
                    <a16:creationId xmlns:a16="http://schemas.microsoft.com/office/drawing/2014/main" id="{A28F6D64-21CA-4F3C-BA46-9ADAD99E3AB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5" name="Group 294">
              <a:extLst>
                <a:ext uri="{FF2B5EF4-FFF2-40B4-BE49-F238E27FC236}">
                  <a16:creationId xmlns:a16="http://schemas.microsoft.com/office/drawing/2014/main" id="{BFA727B7-B76D-4829-B598-FC73F5C42799}"/>
                </a:ext>
              </a:extLst>
            </p:cNvPr>
            <p:cNvGrpSpPr/>
            <p:nvPr/>
          </p:nvGrpSpPr>
          <p:grpSpPr>
            <a:xfrm>
              <a:off x="7171255" y="3008319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332" name="Freeform 539">
                <a:extLst>
                  <a:ext uri="{FF2B5EF4-FFF2-40B4-BE49-F238E27FC236}">
                    <a16:creationId xmlns:a16="http://schemas.microsoft.com/office/drawing/2014/main" id="{07689714-6AC4-47E1-BEF8-E18FE998D89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3" name="Freeform 540">
                <a:extLst>
                  <a:ext uri="{FF2B5EF4-FFF2-40B4-BE49-F238E27FC236}">
                    <a16:creationId xmlns:a16="http://schemas.microsoft.com/office/drawing/2014/main" id="{0B7AB6EA-0F64-490E-989D-102EFBC44644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4" name="Freeform 541">
                <a:extLst>
                  <a:ext uri="{FF2B5EF4-FFF2-40B4-BE49-F238E27FC236}">
                    <a16:creationId xmlns:a16="http://schemas.microsoft.com/office/drawing/2014/main" id="{60D8C190-07DC-4A3C-A0AA-5A6F8CFE6BF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CA43B369-5C7C-460B-9B64-BD0ECC07E5EE}"/>
                </a:ext>
              </a:extLst>
            </p:cNvPr>
            <p:cNvGrpSpPr/>
            <p:nvPr/>
          </p:nvGrpSpPr>
          <p:grpSpPr>
            <a:xfrm>
              <a:off x="7510238" y="4120971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329" name="Freeform 543">
                <a:extLst>
                  <a:ext uri="{FF2B5EF4-FFF2-40B4-BE49-F238E27FC236}">
                    <a16:creationId xmlns:a16="http://schemas.microsoft.com/office/drawing/2014/main" id="{CA5AF6FE-9F28-4E05-9792-85BA6067E81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0" name="Freeform 544">
                <a:extLst>
                  <a:ext uri="{FF2B5EF4-FFF2-40B4-BE49-F238E27FC236}">
                    <a16:creationId xmlns:a16="http://schemas.microsoft.com/office/drawing/2014/main" id="{7FE732B8-8582-43B1-978B-1A4BDE6D375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1" name="Freeform 545">
                <a:extLst>
                  <a:ext uri="{FF2B5EF4-FFF2-40B4-BE49-F238E27FC236}">
                    <a16:creationId xmlns:a16="http://schemas.microsoft.com/office/drawing/2014/main" id="{615EB004-B91E-443A-B516-EB6E9C997966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0A3663BD-BA1C-4CB5-900C-96B5D451C7D6}"/>
                </a:ext>
              </a:extLst>
            </p:cNvPr>
            <p:cNvGrpSpPr/>
            <p:nvPr/>
          </p:nvGrpSpPr>
          <p:grpSpPr>
            <a:xfrm>
              <a:off x="7510238" y="3789217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326" name="Freeform 547">
                <a:extLst>
                  <a:ext uri="{FF2B5EF4-FFF2-40B4-BE49-F238E27FC236}">
                    <a16:creationId xmlns:a16="http://schemas.microsoft.com/office/drawing/2014/main" id="{47D7E327-078E-4653-ADEC-CF354AC495C9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7" name="Freeform 548">
                <a:extLst>
                  <a:ext uri="{FF2B5EF4-FFF2-40B4-BE49-F238E27FC236}">
                    <a16:creationId xmlns:a16="http://schemas.microsoft.com/office/drawing/2014/main" id="{51BEE6F7-CD6E-4D8F-B8D0-E659E11E9F0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8" name="Freeform 549">
                <a:extLst>
                  <a:ext uri="{FF2B5EF4-FFF2-40B4-BE49-F238E27FC236}">
                    <a16:creationId xmlns:a16="http://schemas.microsoft.com/office/drawing/2014/main" id="{AA414664-4178-4CC9-A7F5-383B7221758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8" name="Group 297">
              <a:extLst>
                <a:ext uri="{FF2B5EF4-FFF2-40B4-BE49-F238E27FC236}">
                  <a16:creationId xmlns:a16="http://schemas.microsoft.com/office/drawing/2014/main" id="{36178082-C26F-4F5A-B6B4-F3FB68979C2F}"/>
                </a:ext>
              </a:extLst>
            </p:cNvPr>
            <p:cNvGrpSpPr/>
            <p:nvPr/>
          </p:nvGrpSpPr>
          <p:grpSpPr>
            <a:xfrm>
              <a:off x="7510238" y="3457463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323" name="Freeform 551">
                <a:extLst>
                  <a:ext uri="{FF2B5EF4-FFF2-40B4-BE49-F238E27FC236}">
                    <a16:creationId xmlns:a16="http://schemas.microsoft.com/office/drawing/2014/main" id="{2D283C54-2587-47C8-96BE-16300555764D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4" name="Freeform 552">
                <a:extLst>
                  <a:ext uri="{FF2B5EF4-FFF2-40B4-BE49-F238E27FC236}">
                    <a16:creationId xmlns:a16="http://schemas.microsoft.com/office/drawing/2014/main" id="{9C5011E7-7790-4A29-A1C1-C870471C95DD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5" name="Freeform 553">
                <a:extLst>
                  <a:ext uri="{FF2B5EF4-FFF2-40B4-BE49-F238E27FC236}">
                    <a16:creationId xmlns:a16="http://schemas.microsoft.com/office/drawing/2014/main" id="{0A929966-6F86-4040-8788-9B67CFC6FB3C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99" name="Group 298">
              <a:extLst>
                <a:ext uri="{FF2B5EF4-FFF2-40B4-BE49-F238E27FC236}">
                  <a16:creationId xmlns:a16="http://schemas.microsoft.com/office/drawing/2014/main" id="{CFF8A72D-9ED2-4CAD-8A1E-C6B39A58AAF8}"/>
                </a:ext>
              </a:extLst>
            </p:cNvPr>
            <p:cNvGrpSpPr/>
            <p:nvPr/>
          </p:nvGrpSpPr>
          <p:grpSpPr>
            <a:xfrm>
              <a:off x="7509262" y="3127570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320" name="Freeform 555">
                <a:extLst>
                  <a:ext uri="{FF2B5EF4-FFF2-40B4-BE49-F238E27FC236}">
                    <a16:creationId xmlns:a16="http://schemas.microsoft.com/office/drawing/2014/main" id="{1F273B5B-EB13-4A5A-B848-53A9C2B4CF2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1" name="Freeform 556">
                <a:extLst>
                  <a:ext uri="{FF2B5EF4-FFF2-40B4-BE49-F238E27FC236}">
                    <a16:creationId xmlns:a16="http://schemas.microsoft.com/office/drawing/2014/main" id="{ABF6B87F-3A01-4928-8EF8-946AA20559E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2" name="Freeform 557">
                <a:extLst>
                  <a:ext uri="{FF2B5EF4-FFF2-40B4-BE49-F238E27FC236}">
                    <a16:creationId xmlns:a16="http://schemas.microsoft.com/office/drawing/2014/main" id="{887BA3AC-4453-47A3-A33C-D6C329FF11BA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0" name="Group 299">
              <a:extLst>
                <a:ext uri="{FF2B5EF4-FFF2-40B4-BE49-F238E27FC236}">
                  <a16:creationId xmlns:a16="http://schemas.microsoft.com/office/drawing/2014/main" id="{04B5B049-8C73-4FD5-B755-58BC53842BE5}"/>
                </a:ext>
              </a:extLst>
            </p:cNvPr>
            <p:cNvGrpSpPr/>
            <p:nvPr/>
          </p:nvGrpSpPr>
          <p:grpSpPr>
            <a:xfrm>
              <a:off x="6168572" y="2341066"/>
              <a:ext cx="661483" cy="560934"/>
              <a:chOff x="6673852" y="2507796"/>
              <a:chExt cx="3493295" cy="3112292"/>
            </a:xfrm>
            <a:grpFill/>
          </p:grpSpPr>
          <p:sp>
            <p:nvSpPr>
              <p:cNvPr id="317" name="Freeform 642">
                <a:extLst>
                  <a:ext uri="{FF2B5EF4-FFF2-40B4-BE49-F238E27FC236}">
                    <a16:creationId xmlns:a16="http://schemas.microsoft.com/office/drawing/2014/main" id="{9161AA13-0097-403C-B9FE-903F682CA787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8" name="Freeform 643">
                <a:extLst>
                  <a:ext uri="{FF2B5EF4-FFF2-40B4-BE49-F238E27FC236}">
                    <a16:creationId xmlns:a16="http://schemas.microsoft.com/office/drawing/2014/main" id="{92A3B141-64E4-42FA-ACAE-DFB44C20A8D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9" name="Freeform 644">
                <a:extLst>
                  <a:ext uri="{FF2B5EF4-FFF2-40B4-BE49-F238E27FC236}">
                    <a16:creationId xmlns:a16="http://schemas.microsoft.com/office/drawing/2014/main" id="{2D73AEF7-A639-44CA-9967-001E55924A5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1" name="Group 300">
              <a:extLst>
                <a:ext uri="{FF2B5EF4-FFF2-40B4-BE49-F238E27FC236}">
                  <a16:creationId xmlns:a16="http://schemas.microsoft.com/office/drawing/2014/main" id="{8EE0FFA3-CE37-4A02-BE49-1603D87FE138}"/>
                </a:ext>
              </a:extLst>
            </p:cNvPr>
            <p:cNvGrpSpPr/>
            <p:nvPr/>
          </p:nvGrpSpPr>
          <p:grpSpPr>
            <a:xfrm>
              <a:off x="6499310" y="2454655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314" name="Freeform 646">
                <a:extLst>
                  <a:ext uri="{FF2B5EF4-FFF2-40B4-BE49-F238E27FC236}">
                    <a16:creationId xmlns:a16="http://schemas.microsoft.com/office/drawing/2014/main" id="{40E62354-3F01-4DB7-A024-7ABE5256EC3D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5" name="Freeform 647">
                <a:extLst>
                  <a:ext uri="{FF2B5EF4-FFF2-40B4-BE49-F238E27FC236}">
                    <a16:creationId xmlns:a16="http://schemas.microsoft.com/office/drawing/2014/main" id="{69331DB5-B3BE-426B-B712-56AB6000ED38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6" name="Freeform 648">
                <a:extLst>
                  <a:ext uri="{FF2B5EF4-FFF2-40B4-BE49-F238E27FC236}">
                    <a16:creationId xmlns:a16="http://schemas.microsoft.com/office/drawing/2014/main" id="{47194FC6-4BEA-40EB-BB95-69B002A3FC1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2" name="Group 301">
              <a:extLst>
                <a:ext uri="{FF2B5EF4-FFF2-40B4-BE49-F238E27FC236}">
                  <a16:creationId xmlns:a16="http://schemas.microsoft.com/office/drawing/2014/main" id="{AF0CC3BD-6CCF-4184-AAEB-0E46B4852EEA}"/>
                </a:ext>
              </a:extLst>
            </p:cNvPr>
            <p:cNvGrpSpPr/>
            <p:nvPr/>
          </p:nvGrpSpPr>
          <p:grpSpPr>
            <a:xfrm>
              <a:off x="6830051" y="2568246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311" name="Freeform 650">
                <a:extLst>
                  <a:ext uri="{FF2B5EF4-FFF2-40B4-BE49-F238E27FC236}">
                    <a16:creationId xmlns:a16="http://schemas.microsoft.com/office/drawing/2014/main" id="{FE45DFB1-6537-4735-9177-53818260502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2" name="Freeform 651">
                <a:extLst>
                  <a:ext uri="{FF2B5EF4-FFF2-40B4-BE49-F238E27FC236}">
                    <a16:creationId xmlns:a16="http://schemas.microsoft.com/office/drawing/2014/main" id="{C4CDC0FC-E50F-478E-9DC8-0F231B8A071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3" name="Freeform 652">
                <a:extLst>
                  <a:ext uri="{FF2B5EF4-FFF2-40B4-BE49-F238E27FC236}">
                    <a16:creationId xmlns:a16="http://schemas.microsoft.com/office/drawing/2014/main" id="{0C837D0A-8F9F-437C-AB69-55C7B7BA497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3" name="Group 302">
              <a:extLst>
                <a:ext uri="{FF2B5EF4-FFF2-40B4-BE49-F238E27FC236}">
                  <a16:creationId xmlns:a16="http://schemas.microsoft.com/office/drawing/2014/main" id="{14C3779B-8857-4D2A-ABB3-8F8541D7E33F}"/>
                </a:ext>
              </a:extLst>
            </p:cNvPr>
            <p:cNvGrpSpPr/>
            <p:nvPr/>
          </p:nvGrpSpPr>
          <p:grpSpPr>
            <a:xfrm>
              <a:off x="7165809" y="2682492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308" name="Freeform 654">
                <a:extLst>
                  <a:ext uri="{FF2B5EF4-FFF2-40B4-BE49-F238E27FC236}">
                    <a16:creationId xmlns:a16="http://schemas.microsoft.com/office/drawing/2014/main" id="{A318225D-017A-4703-B9F7-1E6490AD79F0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9" name="Freeform 655">
                <a:extLst>
                  <a:ext uri="{FF2B5EF4-FFF2-40B4-BE49-F238E27FC236}">
                    <a16:creationId xmlns:a16="http://schemas.microsoft.com/office/drawing/2014/main" id="{5E08FADF-C07A-410C-8E76-F5EE51D97A9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0" name="Freeform 656">
                <a:extLst>
                  <a:ext uri="{FF2B5EF4-FFF2-40B4-BE49-F238E27FC236}">
                    <a16:creationId xmlns:a16="http://schemas.microsoft.com/office/drawing/2014/main" id="{7606EB06-CB93-4530-A90F-4D7C0D4C92B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4" name="Group 303">
              <a:extLst>
                <a:ext uri="{FF2B5EF4-FFF2-40B4-BE49-F238E27FC236}">
                  <a16:creationId xmlns:a16="http://schemas.microsoft.com/office/drawing/2014/main" id="{7E04F88B-8FB4-4EF1-B58A-D9012C890428}"/>
                </a:ext>
              </a:extLst>
            </p:cNvPr>
            <p:cNvGrpSpPr/>
            <p:nvPr/>
          </p:nvGrpSpPr>
          <p:grpSpPr>
            <a:xfrm>
              <a:off x="7503816" y="2801743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305" name="Freeform 658">
                <a:extLst>
                  <a:ext uri="{FF2B5EF4-FFF2-40B4-BE49-F238E27FC236}">
                    <a16:creationId xmlns:a16="http://schemas.microsoft.com/office/drawing/2014/main" id="{6A8CCF82-A824-4A60-A4D2-4EFC6ED3E2B0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6" name="Freeform 659">
                <a:extLst>
                  <a:ext uri="{FF2B5EF4-FFF2-40B4-BE49-F238E27FC236}">
                    <a16:creationId xmlns:a16="http://schemas.microsoft.com/office/drawing/2014/main" id="{CB1876B4-BDE1-46AA-8CED-E131B3975F6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7" name="Freeform 660">
                <a:extLst>
                  <a:ext uri="{FF2B5EF4-FFF2-40B4-BE49-F238E27FC236}">
                    <a16:creationId xmlns:a16="http://schemas.microsoft.com/office/drawing/2014/main" id="{17CEB83B-F454-44E8-8570-0CCFA8158F2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BD26B3B0-F78A-4400-AC6A-3793E524B205}"/>
              </a:ext>
            </a:extLst>
          </p:cNvPr>
          <p:cNvGrpSpPr/>
          <p:nvPr/>
        </p:nvGrpSpPr>
        <p:grpSpPr>
          <a:xfrm>
            <a:off x="8532937" y="3268053"/>
            <a:ext cx="411826" cy="690369"/>
            <a:chOff x="6168572" y="2341066"/>
            <a:chExt cx="2003150" cy="2340838"/>
          </a:xfrm>
          <a:solidFill>
            <a:schemeClr val="accent6">
              <a:lumMod val="75000"/>
              <a:alpha val="50196"/>
            </a:schemeClr>
          </a:solidFill>
        </p:grpSpPr>
        <p:grpSp>
          <p:nvGrpSpPr>
            <p:cNvPr id="381" name="Group 380">
              <a:extLst>
                <a:ext uri="{FF2B5EF4-FFF2-40B4-BE49-F238E27FC236}">
                  <a16:creationId xmlns:a16="http://schemas.microsoft.com/office/drawing/2014/main" id="{2B0E2165-078C-4C78-9C55-836CD5A51C6A}"/>
                </a:ext>
              </a:extLst>
            </p:cNvPr>
            <p:cNvGrpSpPr/>
            <p:nvPr/>
          </p:nvGrpSpPr>
          <p:grpSpPr>
            <a:xfrm>
              <a:off x="6174994" y="3660293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478" name="Freeform 479">
                <a:extLst>
                  <a:ext uri="{FF2B5EF4-FFF2-40B4-BE49-F238E27FC236}">
                    <a16:creationId xmlns:a16="http://schemas.microsoft.com/office/drawing/2014/main" id="{F5064794-0A85-4FD9-84FC-1A7C13832C9E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9" name="Freeform 480">
                <a:extLst>
                  <a:ext uri="{FF2B5EF4-FFF2-40B4-BE49-F238E27FC236}">
                    <a16:creationId xmlns:a16="http://schemas.microsoft.com/office/drawing/2014/main" id="{E9503C50-F918-4C83-B3D6-5B3D3FFEF99C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0" name="Freeform 481">
                <a:extLst>
                  <a:ext uri="{FF2B5EF4-FFF2-40B4-BE49-F238E27FC236}">
                    <a16:creationId xmlns:a16="http://schemas.microsoft.com/office/drawing/2014/main" id="{4C35D16F-7954-4EE2-B844-33668D5E6AEB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82" name="Group 381">
              <a:extLst>
                <a:ext uri="{FF2B5EF4-FFF2-40B4-BE49-F238E27FC236}">
                  <a16:creationId xmlns:a16="http://schemas.microsoft.com/office/drawing/2014/main" id="{98653C9A-D559-4C6A-BC49-EA0DC3D26E43}"/>
                </a:ext>
              </a:extLst>
            </p:cNvPr>
            <p:cNvGrpSpPr/>
            <p:nvPr/>
          </p:nvGrpSpPr>
          <p:grpSpPr>
            <a:xfrm>
              <a:off x="6505735" y="3773882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475" name="Freeform 483">
                <a:extLst>
                  <a:ext uri="{FF2B5EF4-FFF2-40B4-BE49-F238E27FC236}">
                    <a16:creationId xmlns:a16="http://schemas.microsoft.com/office/drawing/2014/main" id="{0B0D34C6-BE6B-4A36-B061-24AEB12EC747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6" name="Freeform 484">
                <a:extLst>
                  <a:ext uri="{FF2B5EF4-FFF2-40B4-BE49-F238E27FC236}">
                    <a16:creationId xmlns:a16="http://schemas.microsoft.com/office/drawing/2014/main" id="{478F1C1A-7CD5-4E2F-B23D-868C1A142890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7" name="Freeform 485">
                <a:extLst>
                  <a:ext uri="{FF2B5EF4-FFF2-40B4-BE49-F238E27FC236}">
                    <a16:creationId xmlns:a16="http://schemas.microsoft.com/office/drawing/2014/main" id="{0B836FCA-4792-425C-9D78-531A4DB518A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83" name="Group 382">
              <a:extLst>
                <a:ext uri="{FF2B5EF4-FFF2-40B4-BE49-F238E27FC236}">
                  <a16:creationId xmlns:a16="http://schemas.microsoft.com/office/drawing/2014/main" id="{E823F794-AE7F-4E92-900F-D444FB36D98C}"/>
                </a:ext>
              </a:extLst>
            </p:cNvPr>
            <p:cNvGrpSpPr/>
            <p:nvPr/>
          </p:nvGrpSpPr>
          <p:grpSpPr>
            <a:xfrm>
              <a:off x="6836476" y="3887471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472" name="Freeform 487">
                <a:extLst>
                  <a:ext uri="{FF2B5EF4-FFF2-40B4-BE49-F238E27FC236}">
                    <a16:creationId xmlns:a16="http://schemas.microsoft.com/office/drawing/2014/main" id="{382E9962-0D20-44D1-9C12-5D9DBE709C89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3" name="Freeform 488">
                <a:extLst>
                  <a:ext uri="{FF2B5EF4-FFF2-40B4-BE49-F238E27FC236}">
                    <a16:creationId xmlns:a16="http://schemas.microsoft.com/office/drawing/2014/main" id="{A375C430-1416-49DE-A83C-F134172E452D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4" name="Freeform 489">
                <a:extLst>
                  <a:ext uri="{FF2B5EF4-FFF2-40B4-BE49-F238E27FC236}">
                    <a16:creationId xmlns:a16="http://schemas.microsoft.com/office/drawing/2014/main" id="{43048D32-88C6-415D-8364-63D299285AD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84" name="Group 383">
              <a:extLst>
                <a:ext uri="{FF2B5EF4-FFF2-40B4-BE49-F238E27FC236}">
                  <a16:creationId xmlns:a16="http://schemas.microsoft.com/office/drawing/2014/main" id="{64FA7560-42BB-4D90-B1A7-F2ED7D369609}"/>
                </a:ext>
              </a:extLst>
            </p:cNvPr>
            <p:cNvGrpSpPr/>
            <p:nvPr/>
          </p:nvGrpSpPr>
          <p:grpSpPr>
            <a:xfrm>
              <a:off x="6174994" y="3328540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469" name="Freeform 491">
                <a:extLst>
                  <a:ext uri="{FF2B5EF4-FFF2-40B4-BE49-F238E27FC236}">
                    <a16:creationId xmlns:a16="http://schemas.microsoft.com/office/drawing/2014/main" id="{BAA127F7-90FC-4C4B-892B-1FF6C1C1FB2E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0" name="Freeform 492">
                <a:extLst>
                  <a:ext uri="{FF2B5EF4-FFF2-40B4-BE49-F238E27FC236}">
                    <a16:creationId xmlns:a16="http://schemas.microsoft.com/office/drawing/2014/main" id="{FB5E890D-010E-419C-A826-0092F1A0137B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1" name="Freeform 493">
                <a:extLst>
                  <a:ext uri="{FF2B5EF4-FFF2-40B4-BE49-F238E27FC236}">
                    <a16:creationId xmlns:a16="http://schemas.microsoft.com/office/drawing/2014/main" id="{3C79B415-D039-4D92-BF67-72569620AAF0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765DD88F-4168-47C6-A03B-846DEB08908A}"/>
                </a:ext>
              </a:extLst>
            </p:cNvPr>
            <p:cNvGrpSpPr/>
            <p:nvPr/>
          </p:nvGrpSpPr>
          <p:grpSpPr>
            <a:xfrm>
              <a:off x="6505735" y="3442129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466" name="Freeform 495">
                <a:extLst>
                  <a:ext uri="{FF2B5EF4-FFF2-40B4-BE49-F238E27FC236}">
                    <a16:creationId xmlns:a16="http://schemas.microsoft.com/office/drawing/2014/main" id="{5EF12AC8-E084-49DF-A83C-FF0EA8DC3567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7" name="Freeform 496">
                <a:extLst>
                  <a:ext uri="{FF2B5EF4-FFF2-40B4-BE49-F238E27FC236}">
                    <a16:creationId xmlns:a16="http://schemas.microsoft.com/office/drawing/2014/main" id="{F9604BEF-066F-479C-A8B3-4F6A436381AE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8" name="Freeform 497">
                <a:extLst>
                  <a:ext uri="{FF2B5EF4-FFF2-40B4-BE49-F238E27FC236}">
                    <a16:creationId xmlns:a16="http://schemas.microsoft.com/office/drawing/2014/main" id="{5B1CC60A-2B98-46FB-A535-6DDB935A8FC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DA6D02AF-B9E4-4C60-A101-421E313A28A3}"/>
                </a:ext>
              </a:extLst>
            </p:cNvPr>
            <p:cNvGrpSpPr/>
            <p:nvPr/>
          </p:nvGrpSpPr>
          <p:grpSpPr>
            <a:xfrm>
              <a:off x="6836476" y="3555718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463" name="Freeform 499">
                <a:extLst>
                  <a:ext uri="{FF2B5EF4-FFF2-40B4-BE49-F238E27FC236}">
                    <a16:creationId xmlns:a16="http://schemas.microsoft.com/office/drawing/2014/main" id="{7231BC23-ABBC-4E1D-845F-2A7D20EB7DEC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4" name="Freeform 500">
                <a:extLst>
                  <a:ext uri="{FF2B5EF4-FFF2-40B4-BE49-F238E27FC236}">
                    <a16:creationId xmlns:a16="http://schemas.microsoft.com/office/drawing/2014/main" id="{C9370490-736F-4EDE-A9E7-CB5F13E922CF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5" name="Freeform 501">
                <a:extLst>
                  <a:ext uri="{FF2B5EF4-FFF2-40B4-BE49-F238E27FC236}">
                    <a16:creationId xmlns:a16="http://schemas.microsoft.com/office/drawing/2014/main" id="{E03C26CA-5001-413E-9C83-6F224FD0D6F7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AB1CD7F3-29FB-40CF-93BF-66A282ACACE3}"/>
                </a:ext>
              </a:extLst>
            </p:cNvPr>
            <p:cNvGrpSpPr/>
            <p:nvPr/>
          </p:nvGrpSpPr>
          <p:grpSpPr>
            <a:xfrm>
              <a:off x="6174995" y="2996788"/>
              <a:ext cx="661482" cy="560933"/>
              <a:chOff x="6673852" y="2507796"/>
              <a:chExt cx="3493295" cy="3112291"/>
            </a:xfrm>
            <a:grpFill/>
          </p:grpSpPr>
          <p:sp>
            <p:nvSpPr>
              <p:cNvPr id="460" name="Freeform 503">
                <a:extLst>
                  <a:ext uri="{FF2B5EF4-FFF2-40B4-BE49-F238E27FC236}">
                    <a16:creationId xmlns:a16="http://schemas.microsoft.com/office/drawing/2014/main" id="{3C248F9A-D115-425F-903F-64EE24AC17CD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1" name="Freeform 504">
                <a:extLst>
                  <a:ext uri="{FF2B5EF4-FFF2-40B4-BE49-F238E27FC236}">
                    <a16:creationId xmlns:a16="http://schemas.microsoft.com/office/drawing/2014/main" id="{6B1A1A3A-DEF6-4F46-A655-551763DC38C6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2" name="Freeform 505">
                <a:extLst>
                  <a:ext uri="{FF2B5EF4-FFF2-40B4-BE49-F238E27FC236}">
                    <a16:creationId xmlns:a16="http://schemas.microsoft.com/office/drawing/2014/main" id="{CEE72CD7-0715-4205-B867-2462804A3656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88" name="Group 387">
              <a:extLst>
                <a:ext uri="{FF2B5EF4-FFF2-40B4-BE49-F238E27FC236}">
                  <a16:creationId xmlns:a16="http://schemas.microsoft.com/office/drawing/2014/main" id="{8EDEF1B5-F057-4C6B-8BF7-62FC6709F744}"/>
                </a:ext>
              </a:extLst>
            </p:cNvPr>
            <p:cNvGrpSpPr/>
            <p:nvPr/>
          </p:nvGrpSpPr>
          <p:grpSpPr>
            <a:xfrm>
              <a:off x="6505736" y="3110376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457" name="Freeform 507">
                <a:extLst>
                  <a:ext uri="{FF2B5EF4-FFF2-40B4-BE49-F238E27FC236}">
                    <a16:creationId xmlns:a16="http://schemas.microsoft.com/office/drawing/2014/main" id="{6F6FEC3A-827E-458F-9020-DB4042D19EAD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8" name="Freeform 508">
                <a:extLst>
                  <a:ext uri="{FF2B5EF4-FFF2-40B4-BE49-F238E27FC236}">
                    <a16:creationId xmlns:a16="http://schemas.microsoft.com/office/drawing/2014/main" id="{5397B177-3A8F-47F9-872D-D3146C7C49D7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9" name="Freeform 509">
                <a:extLst>
                  <a:ext uri="{FF2B5EF4-FFF2-40B4-BE49-F238E27FC236}">
                    <a16:creationId xmlns:a16="http://schemas.microsoft.com/office/drawing/2014/main" id="{9E2F8F01-B324-4118-9E47-4DF4EE84E627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89" name="Group 388">
              <a:extLst>
                <a:ext uri="{FF2B5EF4-FFF2-40B4-BE49-F238E27FC236}">
                  <a16:creationId xmlns:a16="http://schemas.microsoft.com/office/drawing/2014/main" id="{FC524E21-780A-4461-ACF7-173580FF5F1F}"/>
                </a:ext>
              </a:extLst>
            </p:cNvPr>
            <p:cNvGrpSpPr/>
            <p:nvPr/>
          </p:nvGrpSpPr>
          <p:grpSpPr>
            <a:xfrm>
              <a:off x="6836476" y="3223965"/>
              <a:ext cx="661481" cy="560933"/>
              <a:chOff x="6673854" y="2507796"/>
              <a:chExt cx="3493293" cy="3112296"/>
            </a:xfrm>
            <a:grpFill/>
          </p:grpSpPr>
          <p:sp>
            <p:nvSpPr>
              <p:cNvPr id="454" name="Freeform 511">
                <a:extLst>
                  <a:ext uri="{FF2B5EF4-FFF2-40B4-BE49-F238E27FC236}">
                    <a16:creationId xmlns:a16="http://schemas.microsoft.com/office/drawing/2014/main" id="{7B524F0D-2CE5-4D9F-9871-D5EB896D0FFA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5" name="Freeform 512">
                <a:extLst>
                  <a:ext uri="{FF2B5EF4-FFF2-40B4-BE49-F238E27FC236}">
                    <a16:creationId xmlns:a16="http://schemas.microsoft.com/office/drawing/2014/main" id="{E958C6FC-3BEB-4E5B-B36E-2C1D184C5CED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6" name="Freeform 513">
                <a:extLst>
                  <a:ext uri="{FF2B5EF4-FFF2-40B4-BE49-F238E27FC236}">
                    <a16:creationId xmlns:a16="http://schemas.microsoft.com/office/drawing/2014/main" id="{ADD44EB1-28F6-42BF-A950-FCD13716002E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539AC491-D6A4-43E0-9CFE-206271F45104}"/>
                </a:ext>
              </a:extLst>
            </p:cNvPr>
            <p:cNvGrpSpPr/>
            <p:nvPr/>
          </p:nvGrpSpPr>
          <p:grpSpPr>
            <a:xfrm>
              <a:off x="6174018" y="2666892"/>
              <a:ext cx="661483" cy="560934"/>
              <a:chOff x="6673852" y="2507796"/>
              <a:chExt cx="3493295" cy="3112292"/>
            </a:xfrm>
            <a:grpFill/>
          </p:grpSpPr>
          <p:sp>
            <p:nvSpPr>
              <p:cNvPr id="451" name="Freeform 515">
                <a:extLst>
                  <a:ext uri="{FF2B5EF4-FFF2-40B4-BE49-F238E27FC236}">
                    <a16:creationId xmlns:a16="http://schemas.microsoft.com/office/drawing/2014/main" id="{B5456280-916F-4E5F-AFEC-D2C9D3D918AE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2" name="Freeform 516">
                <a:extLst>
                  <a:ext uri="{FF2B5EF4-FFF2-40B4-BE49-F238E27FC236}">
                    <a16:creationId xmlns:a16="http://schemas.microsoft.com/office/drawing/2014/main" id="{9845A368-99CE-4288-9D8F-F7566E9B92E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3" name="Freeform 517">
                <a:extLst>
                  <a:ext uri="{FF2B5EF4-FFF2-40B4-BE49-F238E27FC236}">
                    <a16:creationId xmlns:a16="http://schemas.microsoft.com/office/drawing/2014/main" id="{74E91D13-778B-4E36-A159-CDA1989EA8D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1" name="Group 390">
              <a:extLst>
                <a:ext uri="{FF2B5EF4-FFF2-40B4-BE49-F238E27FC236}">
                  <a16:creationId xmlns:a16="http://schemas.microsoft.com/office/drawing/2014/main" id="{A882437C-AE63-4D99-8D25-D7F5A59273FE}"/>
                </a:ext>
              </a:extLst>
            </p:cNvPr>
            <p:cNvGrpSpPr/>
            <p:nvPr/>
          </p:nvGrpSpPr>
          <p:grpSpPr>
            <a:xfrm>
              <a:off x="6504756" y="2780481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448" name="Freeform 519">
                <a:extLst>
                  <a:ext uri="{FF2B5EF4-FFF2-40B4-BE49-F238E27FC236}">
                    <a16:creationId xmlns:a16="http://schemas.microsoft.com/office/drawing/2014/main" id="{A58D73F8-620E-4536-995D-7BDADC4A6838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9" name="Freeform 520">
                <a:extLst>
                  <a:ext uri="{FF2B5EF4-FFF2-40B4-BE49-F238E27FC236}">
                    <a16:creationId xmlns:a16="http://schemas.microsoft.com/office/drawing/2014/main" id="{EE111775-2A17-4B37-85AD-B0DE7604A7B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0" name="Freeform 521">
                <a:extLst>
                  <a:ext uri="{FF2B5EF4-FFF2-40B4-BE49-F238E27FC236}">
                    <a16:creationId xmlns:a16="http://schemas.microsoft.com/office/drawing/2014/main" id="{4D97AB78-3AA3-4539-95EF-16E1B0278FEF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2" name="Group 391">
              <a:extLst>
                <a:ext uri="{FF2B5EF4-FFF2-40B4-BE49-F238E27FC236}">
                  <a16:creationId xmlns:a16="http://schemas.microsoft.com/office/drawing/2014/main" id="{4120A0D5-7449-4328-B778-C65E507ED118}"/>
                </a:ext>
              </a:extLst>
            </p:cNvPr>
            <p:cNvGrpSpPr/>
            <p:nvPr/>
          </p:nvGrpSpPr>
          <p:grpSpPr>
            <a:xfrm>
              <a:off x="6835497" y="2894073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445" name="Freeform 523">
                <a:extLst>
                  <a:ext uri="{FF2B5EF4-FFF2-40B4-BE49-F238E27FC236}">
                    <a16:creationId xmlns:a16="http://schemas.microsoft.com/office/drawing/2014/main" id="{83D0E921-0F9E-47AD-ABE4-0C3D827D6825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6" name="Freeform 524">
                <a:extLst>
                  <a:ext uri="{FF2B5EF4-FFF2-40B4-BE49-F238E27FC236}">
                    <a16:creationId xmlns:a16="http://schemas.microsoft.com/office/drawing/2014/main" id="{224FAD85-518E-4C09-8E99-C429009BC31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7" name="Freeform 525">
                <a:extLst>
                  <a:ext uri="{FF2B5EF4-FFF2-40B4-BE49-F238E27FC236}">
                    <a16:creationId xmlns:a16="http://schemas.microsoft.com/office/drawing/2014/main" id="{D03F2E58-9936-400E-9632-94DA43324526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3" name="Group 392">
              <a:extLst>
                <a:ext uri="{FF2B5EF4-FFF2-40B4-BE49-F238E27FC236}">
                  <a16:creationId xmlns:a16="http://schemas.microsoft.com/office/drawing/2014/main" id="{2D9F9B10-1B5A-49AD-BD89-2B4ED222CB6B}"/>
                </a:ext>
              </a:extLst>
            </p:cNvPr>
            <p:cNvGrpSpPr/>
            <p:nvPr/>
          </p:nvGrpSpPr>
          <p:grpSpPr>
            <a:xfrm>
              <a:off x="7172231" y="4001720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442" name="Freeform 527">
                <a:extLst>
                  <a:ext uri="{FF2B5EF4-FFF2-40B4-BE49-F238E27FC236}">
                    <a16:creationId xmlns:a16="http://schemas.microsoft.com/office/drawing/2014/main" id="{8783D75B-B556-4B0D-BCC7-BB332BB6B10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3" name="Freeform 528">
                <a:extLst>
                  <a:ext uri="{FF2B5EF4-FFF2-40B4-BE49-F238E27FC236}">
                    <a16:creationId xmlns:a16="http://schemas.microsoft.com/office/drawing/2014/main" id="{C4A1B2E0-E6EF-4699-BF41-C4B911F033F8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4" name="Freeform 529">
                <a:extLst>
                  <a:ext uri="{FF2B5EF4-FFF2-40B4-BE49-F238E27FC236}">
                    <a16:creationId xmlns:a16="http://schemas.microsoft.com/office/drawing/2014/main" id="{67A6FAC5-D315-4CE6-9A03-57883E06E9DA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4" name="Group 393">
              <a:extLst>
                <a:ext uri="{FF2B5EF4-FFF2-40B4-BE49-F238E27FC236}">
                  <a16:creationId xmlns:a16="http://schemas.microsoft.com/office/drawing/2014/main" id="{6BB0EA3E-8794-484B-ACA8-0043B6A1DCCA}"/>
                </a:ext>
              </a:extLst>
            </p:cNvPr>
            <p:cNvGrpSpPr/>
            <p:nvPr/>
          </p:nvGrpSpPr>
          <p:grpSpPr>
            <a:xfrm>
              <a:off x="7172231" y="3669966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439" name="Freeform 531">
                <a:extLst>
                  <a:ext uri="{FF2B5EF4-FFF2-40B4-BE49-F238E27FC236}">
                    <a16:creationId xmlns:a16="http://schemas.microsoft.com/office/drawing/2014/main" id="{9F2A1302-1579-4B7E-83B1-9B902BE777B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0" name="Freeform 532">
                <a:extLst>
                  <a:ext uri="{FF2B5EF4-FFF2-40B4-BE49-F238E27FC236}">
                    <a16:creationId xmlns:a16="http://schemas.microsoft.com/office/drawing/2014/main" id="{D633E9DB-5C4F-4FFB-AC23-1E38DA21F3B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1" name="Freeform 533">
                <a:extLst>
                  <a:ext uri="{FF2B5EF4-FFF2-40B4-BE49-F238E27FC236}">
                    <a16:creationId xmlns:a16="http://schemas.microsoft.com/office/drawing/2014/main" id="{9E033E18-4478-4BE7-88B5-F03CBABFD39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5" name="Group 394">
              <a:extLst>
                <a:ext uri="{FF2B5EF4-FFF2-40B4-BE49-F238E27FC236}">
                  <a16:creationId xmlns:a16="http://schemas.microsoft.com/office/drawing/2014/main" id="{0534FE7F-9894-4839-816F-54253B34F01F}"/>
                </a:ext>
              </a:extLst>
            </p:cNvPr>
            <p:cNvGrpSpPr/>
            <p:nvPr/>
          </p:nvGrpSpPr>
          <p:grpSpPr>
            <a:xfrm>
              <a:off x="7172231" y="3338213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436" name="Freeform 535">
                <a:extLst>
                  <a:ext uri="{FF2B5EF4-FFF2-40B4-BE49-F238E27FC236}">
                    <a16:creationId xmlns:a16="http://schemas.microsoft.com/office/drawing/2014/main" id="{DB3206BC-9632-468B-8DE8-E7C6E117181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7" name="Freeform 536">
                <a:extLst>
                  <a:ext uri="{FF2B5EF4-FFF2-40B4-BE49-F238E27FC236}">
                    <a16:creationId xmlns:a16="http://schemas.microsoft.com/office/drawing/2014/main" id="{F143A5CA-24E6-47A5-9724-6517DFD59DD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8" name="Freeform 537">
                <a:extLst>
                  <a:ext uri="{FF2B5EF4-FFF2-40B4-BE49-F238E27FC236}">
                    <a16:creationId xmlns:a16="http://schemas.microsoft.com/office/drawing/2014/main" id="{8D440C81-1FF1-4F45-8987-B3FE7C3ACB2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6" name="Group 395">
              <a:extLst>
                <a:ext uri="{FF2B5EF4-FFF2-40B4-BE49-F238E27FC236}">
                  <a16:creationId xmlns:a16="http://schemas.microsoft.com/office/drawing/2014/main" id="{0D32AF0F-E388-42A0-86FA-26FFB89A51F9}"/>
                </a:ext>
              </a:extLst>
            </p:cNvPr>
            <p:cNvGrpSpPr/>
            <p:nvPr/>
          </p:nvGrpSpPr>
          <p:grpSpPr>
            <a:xfrm>
              <a:off x="7171255" y="3008319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433" name="Freeform 539">
                <a:extLst>
                  <a:ext uri="{FF2B5EF4-FFF2-40B4-BE49-F238E27FC236}">
                    <a16:creationId xmlns:a16="http://schemas.microsoft.com/office/drawing/2014/main" id="{9F0460D5-C01A-4631-8815-BCCBBD0DE507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4" name="Freeform 540">
                <a:extLst>
                  <a:ext uri="{FF2B5EF4-FFF2-40B4-BE49-F238E27FC236}">
                    <a16:creationId xmlns:a16="http://schemas.microsoft.com/office/drawing/2014/main" id="{A978D337-8FAD-42CE-972E-4EA317DCF3C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5" name="Freeform 541">
                <a:extLst>
                  <a:ext uri="{FF2B5EF4-FFF2-40B4-BE49-F238E27FC236}">
                    <a16:creationId xmlns:a16="http://schemas.microsoft.com/office/drawing/2014/main" id="{F1F430E0-9B60-4A23-8588-8CF24426ABC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B11BCE2F-4C83-443B-9992-FEB64A77E1BA}"/>
                </a:ext>
              </a:extLst>
            </p:cNvPr>
            <p:cNvGrpSpPr/>
            <p:nvPr/>
          </p:nvGrpSpPr>
          <p:grpSpPr>
            <a:xfrm>
              <a:off x="7510238" y="4120971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430" name="Freeform 543">
                <a:extLst>
                  <a:ext uri="{FF2B5EF4-FFF2-40B4-BE49-F238E27FC236}">
                    <a16:creationId xmlns:a16="http://schemas.microsoft.com/office/drawing/2014/main" id="{35C75FB4-5CDE-4D33-A815-9D689C381E15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1" name="Freeform 544">
                <a:extLst>
                  <a:ext uri="{FF2B5EF4-FFF2-40B4-BE49-F238E27FC236}">
                    <a16:creationId xmlns:a16="http://schemas.microsoft.com/office/drawing/2014/main" id="{1EACE001-F7D1-4787-83BF-BE592BA6029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2" name="Freeform 545">
                <a:extLst>
                  <a:ext uri="{FF2B5EF4-FFF2-40B4-BE49-F238E27FC236}">
                    <a16:creationId xmlns:a16="http://schemas.microsoft.com/office/drawing/2014/main" id="{96A9945F-0D75-48F4-9EF0-A02484C9640A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8" name="Group 397">
              <a:extLst>
                <a:ext uri="{FF2B5EF4-FFF2-40B4-BE49-F238E27FC236}">
                  <a16:creationId xmlns:a16="http://schemas.microsoft.com/office/drawing/2014/main" id="{6A32B198-63CF-4060-8931-BB1CE3CFD6B1}"/>
                </a:ext>
              </a:extLst>
            </p:cNvPr>
            <p:cNvGrpSpPr/>
            <p:nvPr/>
          </p:nvGrpSpPr>
          <p:grpSpPr>
            <a:xfrm>
              <a:off x="7510238" y="3789217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427" name="Freeform 547">
                <a:extLst>
                  <a:ext uri="{FF2B5EF4-FFF2-40B4-BE49-F238E27FC236}">
                    <a16:creationId xmlns:a16="http://schemas.microsoft.com/office/drawing/2014/main" id="{2C9D073A-2577-4CF2-B061-6AA10785E3C9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8" name="Freeform 548">
                <a:extLst>
                  <a:ext uri="{FF2B5EF4-FFF2-40B4-BE49-F238E27FC236}">
                    <a16:creationId xmlns:a16="http://schemas.microsoft.com/office/drawing/2014/main" id="{88ABBFBA-5F3C-4183-8C27-4EF2339F8EB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9" name="Freeform 549">
                <a:extLst>
                  <a:ext uri="{FF2B5EF4-FFF2-40B4-BE49-F238E27FC236}">
                    <a16:creationId xmlns:a16="http://schemas.microsoft.com/office/drawing/2014/main" id="{75EEA9DD-91A5-4E58-89AC-1C44525D347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9" name="Group 398">
              <a:extLst>
                <a:ext uri="{FF2B5EF4-FFF2-40B4-BE49-F238E27FC236}">
                  <a16:creationId xmlns:a16="http://schemas.microsoft.com/office/drawing/2014/main" id="{E6BD6BC6-8917-4977-B98C-9F2B74EF1153}"/>
                </a:ext>
              </a:extLst>
            </p:cNvPr>
            <p:cNvGrpSpPr/>
            <p:nvPr/>
          </p:nvGrpSpPr>
          <p:grpSpPr>
            <a:xfrm>
              <a:off x="7510238" y="3457463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424" name="Freeform 551">
                <a:extLst>
                  <a:ext uri="{FF2B5EF4-FFF2-40B4-BE49-F238E27FC236}">
                    <a16:creationId xmlns:a16="http://schemas.microsoft.com/office/drawing/2014/main" id="{421B0A9D-5EAE-4E70-8A31-9DC618D20DC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5" name="Freeform 552">
                <a:extLst>
                  <a:ext uri="{FF2B5EF4-FFF2-40B4-BE49-F238E27FC236}">
                    <a16:creationId xmlns:a16="http://schemas.microsoft.com/office/drawing/2014/main" id="{36EF411C-6DB2-4285-A46A-AA70102A1A9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6" name="Freeform 553">
                <a:extLst>
                  <a:ext uri="{FF2B5EF4-FFF2-40B4-BE49-F238E27FC236}">
                    <a16:creationId xmlns:a16="http://schemas.microsoft.com/office/drawing/2014/main" id="{647371C6-3B04-43B5-BD6B-9C59C275ABD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00" name="Group 399">
              <a:extLst>
                <a:ext uri="{FF2B5EF4-FFF2-40B4-BE49-F238E27FC236}">
                  <a16:creationId xmlns:a16="http://schemas.microsoft.com/office/drawing/2014/main" id="{8567CEF8-6636-4BD0-AC35-50F2036F722B}"/>
                </a:ext>
              </a:extLst>
            </p:cNvPr>
            <p:cNvGrpSpPr/>
            <p:nvPr/>
          </p:nvGrpSpPr>
          <p:grpSpPr>
            <a:xfrm>
              <a:off x="7509262" y="3127570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421" name="Freeform 555">
                <a:extLst>
                  <a:ext uri="{FF2B5EF4-FFF2-40B4-BE49-F238E27FC236}">
                    <a16:creationId xmlns:a16="http://schemas.microsoft.com/office/drawing/2014/main" id="{5EC08A28-6D02-4E9F-918B-A33C3894B87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2" name="Freeform 556">
                <a:extLst>
                  <a:ext uri="{FF2B5EF4-FFF2-40B4-BE49-F238E27FC236}">
                    <a16:creationId xmlns:a16="http://schemas.microsoft.com/office/drawing/2014/main" id="{2492C627-0E3C-4D2B-A272-95A11D778C2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3" name="Freeform 557">
                <a:extLst>
                  <a:ext uri="{FF2B5EF4-FFF2-40B4-BE49-F238E27FC236}">
                    <a16:creationId xmlns:a16="http://schemas.microsoft.com/office/drawing/2014/main" id="{4853D7E6-8285-4C7F-9EBB-B3F46513ED10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B0256E2F-168F-4821-96FD-660654A2B212}"/>
                </a:ext>
              </a:extLst>
            </p:cNvPr>
            <p:cNvGrpSpPr/>
            <p:nvPr/>
          </p:nvGrpSpPr>
          <p:grpSpPr>
            <a:xfrm>
              <a:off x="6168572" y="2341066"/>
              <a:ext cx="661483" cy="560934"/>
              <a:chOff x="6673852" y="2507796"/>
              <a:chExt cx="3493295" cy="3112292"/>
            </a:xfrm>
            <a:grpFill/>
          </p:grpSpPr>
          <p:sp>
            <p:nvSpPr>
              <p:cNvPr id="418" name="Freeform 642">
                <a:extLst>
                  <a:ext uri="{FF2B5EF4-FFF2-40B4-BE49-F238E27FC236}">
                    <a16:creationId xmlns:a16="http://schemas.microsoft.com/office/drawing/2014/main" id="{5F8C4A25-2776-411E-9668-DEF02F6B88E7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9" name="Freeform 643">
                <a:extLst>
                  <a:ext uri="{FF2B5EF4-FFF2-40B4-BE49-F238E27FC236}">
                    <a16:creationId xmlns:a16="http://schemas.microsoft.com/office/drawing/2014/main" id="{6E3E6457-E634-4F5A-BE3C-F655B17AC5A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0" name="Freeform 644">
                <a:extLst>
                  <a:ext uri="{FF2B5EF4-FFF2-40B4-BE49-F238E27FC236}">
                    <a16:creationId xmlns:a16="http://schemas.microsoft.com/office/drawing/2014/main" id="{4412FD95-68B2-436E-8305-25412A08CE8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02" name="Group 401">
              <a:extLst>
                <a:ext uri="{FF2B5EF4-FFF2-40B4-BE49-F238E27FC236}">
                  <a16:creationId xmlns:a16="http://schemas.microsoft.com/office/drawing/2014/main" id="{BBA04160-6F0B-4D43-A134-510682703A4E}"/>
                </a:ext>
              </a:extLst>
            </p:cNvPr>
            <p:cNvGrpSpPr/>
            <p:nvPr/>
          </p:nvGrpSpPr>
          <p:grpSpPr>
            <a:xfrm>
              <a:off x="6499310" y="2454655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415" name="Freeform 646">
                <a:extLst>
                  <a:ext uri="{FF2B5EF4-FFF2-40B4-BE49-F238E27FC236}">
                    <a16:creationId xmlns:a16="http://schemas.microsoft.com/office/drawing/2014/main" id="{2A292F4D-278B-4D37-A25D-BBCEEC821CF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6" name="Freeform 647">
                <a:extLst>
                  <a:ext uri="{FF2B5EF4-FFF2-40B4-BE49-F238E27FC236}">
                    <a16:creationId xmlns:a16="http://schemas.microsoft.com/office/drawing/2014/main" id="{8A35454A-F514-4C25-A06E-8AFDA14558F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7" name="Freeform 648">
                <a:extLst>
                  <a:ext uri="{FF2B5EF4-FFF2-40B4-BE49-F238E27FC236}">
                    <a16:creationId xmlns:a16="http://schemas.microsoft.com/office/drawing/2014/main" id="{5806ABD4-0B33-438A-B682-BC0B1FC1BE9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03" name="Group 402">
              <a:extLst>
                <a:ext uri="{FF2B5EF4-FFF2-40B4-BE49-F238E27FC236}">
                  <a16:creationId xmlns:a16="http://schemas.microsoft.com/office/drawing/2014/main" id="{8974C7F3-B581-48F8-B397-34D396AC1439}"/>
                </a:ext>
              </a:extLst>
            </p:cNvPr>
            <p:cNvGrpSpPr/>
            <p:nvPr/>
          </p:nvGrpSpPr>
          <p:grpSpPr>
            <a:xfrm>
              <a:off x="6830051" y="2568246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412" name="Freeform 650">
                <a:extLst>
                  <a:ext uri="{FF2B5EF4-FFF2-40B4-BE49-F238E27FC236}">
                    <a16:creationId xmlns:a16="http://schemas.microsoft.com/office/drawing/2014/main" id="{A695B652-A0B4-4B8D-8855-72EA923E72B9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3" name="Freeform 651">
                <a:extLst>
                  <a:ext uri="{FF2B5EF4-FFF2-40B4-BE49-F238E27FC236}">
                    <a16:creationId xmlns:a16="http://schemas.microsoft.com/office/drawing/2014/main" id="{ECE1CC36-9F6C-4E58-923B-4E8E26EB83F4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4" name="Freeform 652">
                <a:extLst>
                  <a:ext uri="{FF2B5EF4-FFF2-40B4-BE49-F238E27FC236}">
                    <a16:creationId xmlns:a16="http://schemas.microsoft.com/office/drawing/2014/main" id="{B5BED95F-A528-46DF-87DF-97111700F271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74EE20E7-3217-484C-BD15-6DF343085F47}"/>
                </a:ext>
              </a:extLst>
            </p:cNvPr>
            <p:cNvGrpSpPr/>
            <p:nvPr/>
          </p:nvGrpSpPr>
          <p:grpSpPr>
            <a:xfrm>
              <a:off x="7165809" y="2682492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409" name="Freeform 654">
                <a:extLst>
                  <a:ext uri="{FF2B5EF4-FFF2-40B4-BE49-F238E27FC236}">
                    <a16:creationId xmlns:a16="http://schemas.microsoft.com/office/drawing/2014/main" id="{29CFABF4-EACC-4B26-AB57-15108FA7E8A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0" name="Freeform 655">
                <a:extLst>
                  <a:ext uri="{FF2B5EF4-FFF2-40B4-BE49-F238E27FC236}">
                    <a16:creationId xmlns:a16="http://schemas.microsoft.com/office/drawing/2014/main" id="{3F422B69-49A4-40C4-8A02-01761F50FFF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1" name="Freeform 656">
                <a:extLst>
                  <a:ext uri="{FF2B5EF4-FFF2-40B4-BE49-F238E27FC236}">
                    <a16:creationId xmlns:a16="http://schemas.microsoft.com/office/drawing/2014/main" id="{02D9AFBD-2E33-4BB3-89E7-4348BB54932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05" name="Group 404">
              <a:extLst>
                <a:ext uri="{FF2B5EF4-FFF2-40B4-BE49-F238E27FC236}">
                  <a16:creationId xmlns:a16="http://schemas.microsoft.com/office/drawing/2014/main" id="{B973D835-EF9F-411B-B26E-B203BA7C9633}"/>
                </a:ext>
              </a:extLst>
            </p:cNvPr>
            <p:cNvGrpSpPr/>
            <p:nvPr/>
          </p:nvGrpSpPr>
          <p:grpSpPr>
            <a:xfrm>
              <a:off x="7503816" y="2801743"/>
              <a:ext cx="661484" cy="560933"/>
              <a:chOff x="6673854" y="2507796"/>
              <a:chExt cx="3493293" cy="3112295"/>
            </a:xfrm>
            <a:grpFill/>
          </p:grpSpPr>
          <p:sp>
            <p:nvSpPr>
              <p:cNvPr id="406" name="Freeform 658">
                <a:extLst>
                  <a:ext uri="{FF2B5EF4-FFF2-40B4-BE49-F238E27FC236}">
                    <a16:creationId xmlns:a16="http://schemas.microsoft.com/office/drawing/2014/main" id="{F9B24034-4358-4F8D-97AE-B4D83BB71D25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7" name="Freeform 659">
                <a:extLst>
                  <a:ext uri="{FF2B5EF4-FFF2-40B4-BE49-F238E27FC236}">
                    <a16:creationId xmlns:a16="http://schemas.microsoft.com/office/drawing/2014/main" id="{DF192371-5CAD-488F-919D-8169320CB52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8" name="Freeform 660">
                <a:extLst>
                  <a:ext uri="{FF2B5EF4-FFF2-40B4-BE49-F238E27FC236}">
                    <a16:creationId xmlns:a16="http://schemas.microsoft.com/office/drawing/2014/main" id="{B87971B2-8057-4A59-92BE-A95918E1DC9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81" name="Group 480">
            <a:extLst>
              <a:ext uri="{FF2B5EF4-FFF2-40B4-BE49-F238E27FC236}">
                <a16:creationId xmlns:a16="http://schemas.microsoft.com/office/drawing/2014/main" id="{D6ABC8E4-9F2D-479B-A644-3981936600B9}"/>
              </a:ext>
            </a:extLst>
          </p:cNvPr>
          <p:cNvGrpSpPr/>
          <p:nvPr/>
        </p:nvGrpSpPr>
        <p:grpSpPr>
          <a:xfrm>
            <a:off x="8250955" y="3609420"/>
            <a:ext cx="203990" cy="394616"/>
            <a:chOff x="3814731" y="3758084"/>
            <a:chExt cx="203990" cy="394616"/>
          </a:xfrm>
          <a:solidFill>
            <a:srgbClr val="004D86">
              <a:alpha val="50196"/>
            </a:srgbClr>
          </a:solidFill>
        </p:grpSpPr>
        <p:grpSp>
          <p:nvGrpSpPr>
            <p:cNvPr id="482" name="Group 481">
              <a:extLst>
                <a:ext uri="{FF2B5EF4-FFF2-40B4-BE49-F238E27FC236}">
                  <a16:creationId xmlns:a16="http://schemas.microsoft.com/office/drawing/2014/main" id="{912B4195-EB19-4037-9936-512A055AC352}"/>
                </a:ext>
              </a:extLst>
            </p:cNvPr>
            <p:cNvGrpSpPr/>
            <p:nvPr/>
          </p:nvGrpSpPr>
          <p:grpSpPr>
            <a:xfrm>
              <a:off x="3814731" y="3953767"/>
              <a:ext cx="135993" cy="165433"/>
              <a:chOff x="6673854" y="2507796"/>
              <a:chExt cx="3493293" cy="3112296"/>
            </a:xfrm>
            <a:grpFill/>
          </p:grpSpPr>
          <p:sp>
            <p:nvSpPr>
              <p:cNvPr id="503" name="Freeform 847">
                <a:extLst>
                  <a:ext uri="{FF2B5EF4-FFF2-40B4-BE49-F238E27FC236}">
                    <a16:creationId xmlns:a16="http://schemas.microsoft.com/office/drawing/2014/main" id="{984B7F44-B183-47D1-82E9-0088819FD2D0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4" name="Freeform 848">
                <a:extLst>
                  <a:ext uri="{FF2B5EF4-FFF2-40B4-BE49-F238E27FC236}">
                    <a16:creationId xmlns:a16="http://schemas.microsoft.com/office/drawing/2014/main" id="{A8D80D38-84AE-4AA4-ADD3-57C9B6D703C4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5" name="Freeform 849">
                <a:extLst>
                  <a:ext uri="{FF2B5EF4-FFF2-40B4-BE49-F238E27FC236}">
                    <a16:creationId xmlns:a16="http://schemas.microsoft.com/office/drawing/2014/main" id="{C9D27585-2A9C-48AE-8C05-99C242EAA2D7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3" name="Group 482">
              <a:extLst>
                <a:ext uri="{FF2B5EF4-FFF2-40B4-BE49-F238E27FC236}">
                  <a16:creationId xmlns:a16="http://schemas.microsoft.com/office/drawing/2014/main" id="{3F2E5B8C-9666-45F3-8E37-59271519F04D}"/>
                </a:ext>
              </a:extLst>
            </p:cNvPr>
            <p:cNvGrpSpPr/>
            <p:nvPr/>
          </p:nvGrpSpPr>
          <p:grpSpPr>
            <a:xfrm>
              <a:off x="3882727" y="3987267"/>
              <a:ext cx="135993" cy="165433"/>
              <a:chOff x="6673854" y="2507796"/>
              <a:chExt cx="3493293" cy="3112296"/>
            </a:xfrm>
            <a:grpFill/>
          </p:grpSpPr>
          <p:sp>
            <p:nvSpPr>
              <p:cNvPr id="500" name="Freeform 844">
                <a:extLst>
                  <a:ext uri="{FF2B5EF4-FFF2-40B4-BE49-F238E27FC236}">
                    <a16:creationId xmlns:a16="http://schemas.microsoft.com/office/drawing/2014/main" id="{CA1598EF-5330-4AFC-8857-7AAA9C5733F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1" name="Freeform 845">
                <a:extLst>
                  <a:ext uri="{FF2B5EF4-FFF2-40B4-BE49-F238E27FC236}">
                    <a16:creationId xmlns:a16="http://schemas.microsoft.com/office/drawing/2014/main" id="{AE6B4933-7488-49B3-974D-C4B994AD8377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2" name="Freeform 846">
                <a:extLst>
                  <a:ext uri="{FF2B5EF4-FFF2-40B4-BE49-F238E27FC236}">
                    <a16:creationId xmlns:a16="http://schemas.microsoft.com/office/drawing/2014/main" id="{3C3ED32B-4D1B-4E92-A878-CDFF5450A047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96D1214E-6DAB-4457-A366-D4DD7D314F56}"/>
                </a:ext>
              </a:extLst>
            </p:cNvPr>
            <p:cNvGrpSpPr/>
            <p:nvPr/>
          </p:nvGrpSpPr>
          <p:grpSpPr>
            <a:xfrm>
              <a:off x="3814731" y="3855925"/>
              <a:ext cx="135993" cy="165433"/>
              <a:chOff x="6673854" y="2507796"/>
              <a:chExt cx="3493293" cy="3112296"/>
            </a:xfrm>
            <a:grpFill/>
          </p:grpSpPr>
          <p:sp>
            <p:nvSpPr>
              <p:cNvPr id="497" name="Freeform 838">
                <a:extLst>
                  <a:ext uri="{FF2B5EF4-FFF2-40B4-BE49-F238E27FC236}">
                    <a16:creationId xmlns:a16="http://schemas.microsoft.com/office/drawing/2014/main" id="{4FF52F31-6803-4F50-9894-2A8B9337BC04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8" name="Freeform 839">
                <a:extLst>
                  <a:ext uri="{FF2B5EF4-FFF2-40B4-BE49-F238E27FC236}">
                    <a16:creationId xmlns:a16="http://schemas.microsoft.com/office/drawing/2014/main" id="{BA3D7AFA-0961-45CD-833C-421A9374C0AD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9" name="Freeform 840">
                <a:extLst>
                  <a:ext uri="{FF2B5EF4-FFF2-40B4-BE49-F238E27FC236}">
                    <a16:creationId xmlns:a16="http://schemas.microsoft.com/office/drawing/2014/main" id="{74E257FC-CD51-4EC2-95AF-657E8E1AFF2E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5" name="Group 484">
              <a:extLst>
                <a:ext uri="{FF2B5EF4-FFF2-40B4-BE49-F238E27FC236}">
                  <a16:creationId xmlns:a16="http://schemas.microsoft.com/office/drawing/2014/main" id="{5224473C-8DE3-4047-8E06-B4E6028BA9DA}"/>
                </a:ext>
              </a:extLst>
            </p:cNvPr>
            <p:cNvGrpSpPr/>
            <p:nvPr/>
          </p:nvGrpSpPr>
          <p:grpSpPr>
            <a:xfrm>
              <a:off x="3882727" y="3889425"/>
              <a:ext cx="135993" cy="165433"/>
              <a:chOff x="6673854" y="2507796"/>
              <a:chExt cx="3493293" cy="3112296"/>
            </a:xfrm>
            <a:grpFill/>
          </p:grpSpPr>
          <p:sp>
            <p:nvSpPr>
              <p:cNvPr id="494" name="Freeform 835">
                <a:extLst>
                  <a:ext uri="{FF2B5EF4-FFF2-40B4-BE49-F238E27FC236}">
                    <a16:creationId xmlns:a16="http://schemas.microsoft.com/office/drawing/2014/main" id="{CDAFBBC4-1A8E-4073-9827-9E8819E3C22E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5" name="Freeform 836">
                <a:extLst>
                  <a:ext uri="{FF2B5EF4-FFF2-40B4-BE49-F238E27FC236}">
                    <a16:creationId xmlns:a16="http://schemas.microsoft.com/office/drawing/2014/main" id="{FB1B5BAC-22F9-4D44-BAFF-B87EE336BD69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6" name="Freeform 837">
                <a:extLst>
                  <a:ext uri="{FF2B5EF4-FFF2-40B4-BE49-F238E27FC236}">
                    <a16:creationId xmlns:a16="http://schemas.microsoft.com/office/drawing/2014/main" id="{C6EE3880-79EE-4ACD-B634-13A8CD6BCF32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6" name="Group 485">
              <a:extLst>
                <a:ext uri="{FF2B5EF4-FFF2-40B4-BE49-F238E27FC236}">
                  <a16:creationId xmlns:a16="http://schemas.microsoft.com/office/drawing/2014/main" id="{98513086-23D0-4A29-BD45-5C93ED374391}"/>
                </a:ext>
              </a:extLst>
            </p:cNvPr>
            <p:cNvGrpSpPr/>
            <p:nvPr/>
          </p:nvGrpSpPr>
          <p:grpSpPr>
            <a:xfrm>
              <a:off x="3814731" y="3758084"/>
              <a:ext cx="135993" cy="165433"/>
              <a:chOff x="6673852" y="2507796"/>
              <a:chExt cx="3493295" cy="3112291"/>
            </a:xfrm>
            <a:grpFill/>
          </p:grpSpPr>
          <p:sp>
            <p:nvSpPr>
              <p:cNvPr id="491" name="Freeform 829">
                <a:extLst>
                  <a:ext uri="{FF2B5EF4-FFF2-40B4-BE49-F238E27FC236}">
                    <a16:creationId xmlns:a16="http://schemas.microsoft.com/office/drawing/2014/main" id="{338A64C6-7ACA-49F5-8763-5A8B272B90A9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2" name="Freeform 830">
                <a:extLst>
                  <a:ext uri="{FF2B5EF4-FFF2-40B4-BE49-F238E27FC236}">
                    <a16:creationId xmlns:a16="http://schemas.microsoft.com/office/drawing/2014/main" id="{EF3E2564-2CCB-44EC-8EF4-8BB418C94363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3" name="Freeform 831">
                <a:extLst>
                  <a:ext uri="{FF2B5EF4-FFF2-40B4-BE49-F238E27FC236}">
                    <a16:creationId xmlns:a16="http://schemas.microsoft.com/office/drawing/2014/main" id="{462EFE11-509F-4010-9A69-7CF0303CC22C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7" name="Group 486">
              <a:extLst>
                <a:ext uri="{FF2B5EF4-FFF2-40B4-BE49-F238E27FC236}">
                  <a16:creationId xmlns:a16="http://schemas.microsoft.com/office/drawing/2014/main" id="{490BB0CB-415A-4CE3-B996-C9E407541F29}"/>
                </a:ext>
              </a:extLst>
            </p:cNvPr>
            <p:cNvGrpSpPr/>
            <p:nvPr/>
          </p:nvGrpSpPr>
          <p:grpSpPr>
            <a:xfrm>
              <a:off x="3882728" y="3791583"/>
              <a:ext cx="135993" cy="165433"/>
              <a:chOff x="6673854" y="2507796"/>
              <a:chExt cx="3493293" cy="3112296"/>
            </a:xfrm>
            <a:grpFill/>
          </p:grpSpPr>
          <p:sp>
            <p:nvSpPr>
              <p:cNvPr id="488" name="Freeform 826">
                <a:extLst>
                  <a:ext uri="{FF2B5EF4-FFF2-40B4-BE49-F238E27FC236}">
                    <a16:creationId xmlns:a16="http://schemas.microsoft.com/office/drawing/2014/main" id="{D702FF66-5FC3-408F-BDA6-2EBC9EE3A38B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9" name="Freeform 827">
                <a:extLst>
                  <a:ext uri="{FF2B5EF4-FFF2-40B4-BE49-F238E27FC236}">
                    <a16:creationId xmlns:a16="http://schemas.microsoft.com/office/drawing/2014/main" id="{03DA0007-0608-4667-A38C-10A8AA88350C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0" name="Freeform 828">
                <a:extLst>
                  <a:ext uri="{FF2B5EF4-FFF2-40B4-BE49-F238E27FC236}">
                    <a16:creationId xmlns:a16="http://schemas.microsoft.com/office/drawing/2014/main" id="{E7D44501-9E12-4CEF-98C2-75B49CD5D2DF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06" name="Group 505">
            <a:extLst>
              <a:ext uri="{FF2B5EF4-FFF2-40B4-BE49-F238E27FC236}">
                <a16:creationId xmlns:a16="http://schemas.microsoft.com/office/drawing/2014/main" id="{4B749A2F-CDA7-4480-B37A-885D779329DE}"/>
              </a:ext>
            </a:extLst>
          </p:cNvPr>
          <p:cNvGrpSpPr/>
          <p:nvPr/>
        </p:nvGrpSpPr>
        <p:grpSpPr>
          <a:xfrm>
            <a:off x="8355224" y="3360426"/>
            <a:ext cx="411826" cy="690369"/>
            <a:chOff x="3318979" y="4548087"/>
            <a:chExt cx="784194" cy="1086230"/>
          </a:xfrm>
        </p:grpSpPr>
        <p:grpSp>
          <p:nvGrpSpPr>
            <p:cNvPr id="507" name="Group 506">
              <a:extLst>
                <a:ext uri="{FF2B5EF4-FFF2-40B4-BE49-F238E27FC236}">
                  <a16:creationId xmlns:a16="http://schemas.microsoft.com/office/drawing/2014/main" id="{E7F9796C-4465-493D-BB0C-DDF794399829}"/>
                </a:ext>
              </a:extLst>
            </p:cNvPr>
            <p:cNvGrpSpPr/>
            <p:nvPr/>
          </p:nvGrpSpPr>
          <p:grpSpPr>
            <a:xfrm>
              <a:off x="3580450" y="5265673"/>
              <a:ext cx="258957" cy="260293"/>
              <a:chOff x="6673854" y="2507796"/>
              <a:chExt cx="3493293" cy="3112296"/>
            </a:xfrm>
            <a:solidFill>
              <a:srgbClr val="2383C1">
                <a:alpha val="50196"/>
              </a:srgbClr>
            </a:solidFill>
          </p:grpSpPr>
          <p:sp>
            <p:nvSpPr>
              <p:cNvPr id="580" name="Freeform 841">
                <a:extLst>
                  <a:ext uri="{FF2B5EF4-FFF2-40B4-BE49-F238E27FC236}">
                    <a16:creationId xmlns:a16="http://schemas.microsoft.com/office/drawing/2014/main" id="{95AD9773-F027-41BC-925C-E64817332912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1" name="Freeform 842">
                <a:extLst>
                  <a:ext uri="{FF2B5EF4-FFF2-40B4-BE49-F238E27FC236}">
                    <a16:creationId xmlns:a16="http://schemas.microsoft.com/office/drawing/2014/main" id="{56136C21-4F70-45CD-954C-1F7FBF130A98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2" name="Freeform 843">
                <a:extLst>
                  <a:ext uri="{FF2B5EF4-FFF2-40B4-BE49-F238E27FC236}">
                    <a16:creationId xmlns:a16="http://schemas.microsoft.com/office/drawing/2014/main" id="{DE7A6B7A-A5DB-4E4D-8DD2-6F3D0687889D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08" name="Group 507">
              <a:extLst>
                <a:ext uri="{FF2B5EF4-FFF2-40B4-BE49-F238E27FC236}">
                  <a16:creationId xmlns:a16="http://schemas.microsoft.com/office/drawing/2014/main" id="{B534B76E-E42F-4339-A293-E87B9F7A9096}"/>
                </a:ext>
              </a:extLst>
            </p:cNvPr>
            <p:cNvGrpSpPr/>
            <p:nvPr/>
          </p:nvGrpSpPr>
          <p:grpSpPr>
            <a:xfrm>
              <a:off x="3580450" y="5111727"/>
              <a:ext cx="258957" cy="260293"/>
              <a:chOff x="6673854" y="2507796"/>
              <a:chExt cx="3493293" cy="3112296"/>
            </a:xfrm>
            <a:solidFill>
              <a:srgbClr val="2383C1">
                <a:alpha val="50196"/>
              </a:srgbClr>
            </a:solidFill>
          </p:grpSpPr>
          <p:sp>
            <p:nvSpPr>
              <p:cNvPr id="577" name="Freeform 832">
                <a:extLst>
                  <a:ext uri="{FF2B5EF4-FFF2-40B4-BE49-F238E27FC236}">
                    <a16:creationId xmlns:a16="http://schemas.microsoft.com/office/drawing/2014/main" id="{0C314CC0-D0C9-47B2-A624-E6C49B64637D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8" name="Freeform 833">
                <a:extLst>
                  <a:ext uri="{FF2B5EF4-FFF2-40B4-BE49-F238E27FC236}">
                    <a16:creationId xmlns:a16="http://schemas.microsoft.com/office/drawing/2014/main" id="{54589E8E-9932-4F74-A204-177C69A31F13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9" name="Freeform 834">
                <a:extLst>
                  <a:ext uri="{FF2B5EF4-FFF2-40B4-BE49-F238E27FC236}">
                    <a16:creationId xmlns:a16="http://schemas.microsoft.com/office/drawing/2014/main" id="{59DB6DF8-15A9-4253-8118-C76A679B69B2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09" name="Group 508">
              <a:extLst>
                <a:ext uri="{FF2B5EF4-FFF2-40B4-BE49-F238E27FC236}">
                  <a16:creationId xmlns:a16="http://schemas.microsoft.com/office/drawing/2014/main" id="{84D9AFEA-5845-49FF-9AE0-D2D06243386C}"/>
                </a:ext>
              </a:extLst>
            </p:cNvPr>
            <p:cNvGrpSpPr/>
            <p:nvPr/>
          </p:nvGrpSpPr>
          <p:grpSpPr>
            <a:xfrm>
              <a:off x="3580450" y="4957783"/>
              <a:ext cx="258957" cy="260293"/>
              <a:chOff x="6673854" y="2507796"/>
              <a:chExt cx="3493293" cy="3112296"/>
            </a:xfrm>
            <a:solidFill>
              <a:srgbClr val="2383C1">
                <a:alpha val="50196"/>
              </a:srgbClr>
            </a:solidFill>
          </p:grpSpPr>
          <p:sp>
            <p:nvSpPr>
              <p:cNvPr id="574" name="Freeform 823">
                <a:extLst>
                  <a:ext uri="{FF2B5EF4-FFF2-40B4-BE49-F238E27FC236}">
                    <a16:creationId xmlns:a16="http://schemas.microsoft.com/office/drawing/2014/main" id="{324CC198-9D67-462A-B2A1-9D435B85995E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5" name="Freeform 824">
                <a:extLst>
                  <a:ext uri="{FF2B5EF4-FFF2-40B4-BE49-F238E27FC236}">
                    <a16:creationId xmlns:a16="http://schemas.microsoft.com/office/drawing/2014/main" id="{04D7A9D0-5ABE-4589-BF0A-FF650BCA48C4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6" name="Freeform 825">
                <a:extLst>
                  <a:ext uri="{FF2B5EF4-FFF2-40B4-BE49-F238E27FC236}">
                    <a16:creationId xmlns:a16="http://schemas.microsoft.com/office/drawing/2014/main" id="{F75F3830-641D-49D9-AF63-40B3FF636DA0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0" name="Group 509">
              <a:extLst>
                <a:ext uri="{FF2B5EF4-FFF2-40B4-BE49-F238E27FC236}">
                  <a16:creationId xmlns:a16="http://schemas.microsoft.com/office/drawing/2014/main" id="{76E20BBE-5602-4EF4-B04A-B1B2C2455311}"/>
                </a:ext>
              </a:extLst>
            </p:cNvPr>
            <p:cNvGrpSpPr/>
            <p:nvPr/>
          </p:nvGrpSpPr>
          <p:grpSpPr>
            <a:xfrm>
              <a:off x="3321111" y="4699282"/>
              <a:ext cx="258958" cy="260293"/>
              <a:chOff x="6673852" y="2507796"/>
              <a:chExt cx="3493295" cy="3112292"/>
            </a:xfrm>
            <a:solidFill>
              <a:srgbClr val="2383C1">
                <a:alpha val="50196"/>
              </a:srgbClr>
            </a:solidFill>
          </p:grpSpPr>
          <p:sp>
            <p:nvSpPr>
              <p:cNvPr id="571" name="Freeform 820">
                <a:extLst>
                  <a:ext uri="{FF2B5EF4-FFF2-40B4-BE49-F238E27FC236}">
                    <a16:creationId xmlns:a16="http://schemas.microsoft.com/office/drawing/2014/main" id="{77513398-B271-4E2E-A701-3038E045913F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2" name="Freeform 821">
                <a:extLst>
                  <a:ext uri="{FF2B5EF4-FFF2-40B4-BE49-F238E27FC236}">
                    <a16:creationId xmlns:a16="http://schemas.microsoft.com/office/drawing/2014/main" id="{BB67FC3D-5CB8-4C19-BB6F-3B824927A378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3" name="Freeform 822">
                <a:extLst>
                  <a:ext uri="{FF2B5EF4-FFF2-40B4-BE49-F238E27FC236}">
                    <a16:creationId xmlns:a16="http://schemas.microsoft.com/office/drawing/2014/main" id="{C40EC7C7-0161-466A-B4BF-26D9A7FBA629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1" name="Group 510">
              <a:extLst>
                <a:ext uri="{FF2B5EF4-FFF2-40B4-BE49-F238E27FC236}">
                  <a16:creationId xmlns:a16="http://schemas.microsoft.com/office/drawing/2014/main" id="{4CA06165-051E-4220-835E-95C802AEB2D3}"/>
                </a:ext>
              </a:extLst>
            </p:cNvPr>
            <p:cNvGrpSpPr/>
            <p:nvPr/>
          </p:nvGrpSpPr>
          <p:grpSpPr>
            <a:xfrm>
              <a:off x="3450588" y="4751991"/>
              <a:ext cx="258957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68" name="Freeform 817">
                <a:extLst>
                  <a:ext uri="{FF2B5EF4-FFF2-40B4-BE49-F238E27FC236}">
                    <a16:creationId xmlns:a16="http://schemas.microsoft.com/office/drawing/2014/main" id="{C27EA12C-72F8-494F-AB92-46705C1D759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9" name="Freeform 818">
                <a:extLst>
                  <a:ext uri="{FF2B5EF4-FFF2-40B4-BE49-F238E27FC236}">
                    <a16:creationId xmlns:a16="http://schemas.microsoft.com/office/drawing/2014/main" id="{8DD3B8ED-CFAA-400E-9152-EB023AB8FC0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0" name="Freeform 819">
                <a:extLst>
                  <a:ext uri="{FF2B5EF4-FFF2-40B4-BE49-F238E27FC236}">
                    <a16:creationId xmlns:a16="http://schemas.microsoft.com/office/drawing/2014/main" id="{F83B3909-27B2-4028-8DCD-7C590F8063B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2" name="Group 511">
              <a:extLst>
                <a:ext uri="{FF2B5EF4-FFF2-40B4-BE49-F238E27FC236}">
                  <a16:creationId xmlns:a16="http://schemas.microsoft.com/office/drawing/2014/main" id="{AA209515-3FB1-41EF-A617-F879A790C710}"/>
                </a:ext>
              </a:extLst>
            </p:cNvPr>
            <p:cNvGrpSpPr/>
            <p:nvPr/>
          </p:nvGrpSpPr>
          <p:grpSpPr>
            <a:xfrm>
              <a:off x="3580067" y="4804702"/>
              <a:ext cx="258957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65" name="Freeform 814">
                <a:extLst>
                  <a:ext uri="{FF2B5EF4-FFF2-40B4-BE49-F238E27FC236}">
                    <a16:creationId xmlns:a16="http://schemas.microsoft.com/office/drawing/2014/main" id="{87C9862B-F15F-479D-A1DB-169D03E0599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6" name="Freeform 815">
                <a:extLst>
                  <a:ext uri="{FF2B5EF4-FFF2-40B4-BE49-F238E27FC236}">
                    <a16:creationId xmlns:a16="http://schemas.microsoft.com/office/drawing/2014/main" id="{9A20523D-48BB-4D77-BF96-138FB9860A3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7" name="Freeform 816">
                <a:extLst>
                  <a:ext uri="{FF2B5EF4-FFF2-40B4-BE49-F238E27FC236}">
                    <a16:creationId xmlns:a16="http://schemas.microsoft.com/office/drawing/2014/main" id="{9117273D-EBF0-4FD8-AD4E-218CEE5C135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3" name="Group 512">
              <a:extLst>
                <a:ext uri="{FF2B5EF4-FFF2-40B4-BE49-F238E27FC236}">
                  <a16:creationId xmlns:a16="http://schemas.microsoft.com/office/drawing/2014/main" id="{EC318E75-D5EB-49EE-A07D-06372741D374}"/>
                </a:ext>
              </a:extLst>
            </p:cNvPr>
            <p:cNvGrpSpPr/>
            <p:nvPr/>
          </p:nvGrpSpPr>
          <p:grpSpPr>
            <a:xfrm>
              <a:off x="3711892" y="5318688"/>
              <a:ext cx="258957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62" name="Freeform 811">
                <a:extLst>
                  <a:ext uri="{FF2B5EF4-FFF2-40B4-BE49-F238E27FC236}">
                    <a16:creationId xmlns:a16="http://schemas.microsoft.com/office/drawing/2014/main" id="{011E04C4-4618-4CD8-9906-63B02C4708A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3" name="Freeform 812">
                <a:extLst>
                  <a:ext uri="{FF2B5EF4-FFF2-40B4-BE49-F238E27FC236}">
                    <a16:creationId xmlns:a16="http://schemas.microsoft.com/office/drawing/2014/main" id="{22DED566-F5EC-41D8-9BEB-BFE56024143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4" name="Freeform 813">
                <a:extLst>
                  <a:ext uri="{FF2B5EF4-FFF2-40B4-BE49-F238E27FC236}">
                    <a16:creationId xmlns:a16="http://schemas.microsoft.com/office/drawing/2014/main" id="{8545BB5F-E8E4-4494-83FF-3D0CCD1AC99A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4" name="Group 513">
              <a:extLst>
                <a:ext uri="{FF2B5EF4-FFF2-40B4-BE49-F238E27FC236}">
                  <a16:creationId xmlns:a16="http://schemas.microsoft.com/office/drawing/2014/main" id="{DBCD178B-DCB8-4DEB-8B78-4A725E4B1286}"/>
                </a:ext>
              </a:extLst>
            </p:cNvPr>
            <p:cNvGrpSpPr/>
            <p:nvPr/>
          </p:nvGrpSpPr>
          <p:grpSpPr>
            <a:xfrm>
              <a:off x="3711892" y="5164742"/>
              <a:ext cx="258957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59" name="Freeform 808">
                <a:extLst>
                  <a:ext uri="{FF2B5EF4-FFF2-40B4-BE49-F238E27FC236}">
                    <a16:creationId xmlns:a16="http://schemas.microsoft.com/office/drawing/2014/main" id="{10B3BBB1-F814-4CE6-8A92-F82A82C38DD5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0" name="Freeform 809">
                <a:extLst>
                  <a:ext uri="{FF2B5EF4-FFF2-40B4-BE49-F238E27FC236}">
                    <a16:creationId xmlns:a16="http://schemas.microsoft.com/office/drawing/2014/main" id="{F39B2C7B-861F-494F-87BC-9D8E9290B25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1" name="Freeform 810">
                <a:extLst>
                  <a:ext uri="{FF2B5EF4-FFF2-40B4-BE49-F238E27FC236}">
                    <a16:creationId xmlns:a16="http://schemas.microsoft.com/office/drawing/2014/main" id="{FFD8CA6B-5C7F-41CF-97E9-53111D4030D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5" name="Group 514">
              <a:extLst>
                <a:ext uri="{FF2B5EF4-FFF2-40B4-BE49-F238E27FC236}">
                  <a16:creationId xmlns:a16="http://schemas.microsoft.com/office/drawing/2014/main" id="{3008E03D-0503-4BDF-BC0A-5F3A55E72C34}"/>
                </a:ext>
              </a:extLst>
            </p:cNvPr>
            <p:cNvGrpSpPr/>
            <p:nvPr/>
          </p:nvGrpSpPr>
          <p:grpSpPr>
            <a:xfrm>
              <a:off x="3711892" y="5010798"/>
              <a:ext cx="258957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56" name="Freeform 805">
                <a:extLst>
                  <a:ext uri="{FF2B5EF4-FFF2-40B4-BE49-F238E27FC236}">
                    <a16:creationId xmlns:a16="http://schemas.microsoft.com/office/drawing/2014/main" id="{BC9DD1AD-46E7-4CD3-A848-51CFDAC48AA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7" name="Freeform 806">
                <a:extLst>
                  <a:ext uri="{FF2B5EF4-FFF2-40B4-BE49-F238E27FC236}">
                    <a16:creationId xmlns:a16="http://schemas.microsoft.com/office/drawing/2014/main" id="{1F427275-1822-4A4B-8AC0-333C6F892E6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8" name="Freeform 807">
                <a:extLst>
                  <a:ext uri="{FF2B5EF4-FFF2-40B4-BE49-F238E27FC236}">
                    <a16:creationId xmlns:a16="http://schemas.microsoft.com/office/drawing/2014/main" id="{B1AAE0FE-5360-4C5E-890C-8F627EB02F5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6" name="Group 515">
              <a:extLst>
                <a:ext uri="{FF2B5EF4-FFF2-40B4-BE49-F238E27FC236}">
                  <a16:creationId xmlns:a16="http://schemas.microsoft.com/office/drawing/2014/main" id="{6A82943C-8BBF-4AC5-9235-9C24FCFC18EC}"/>
                </a:ext>
              </a:extLst>
            </p:cNvPr>
            <p:cNvGrpSpPr/>
            <p:nvPr/>
          </p:nvGrpSpPr>
          <p:grpSpPr>
            <a:xfrm>
              <a:off x="3711510" y="4857715"/>
              <a:ext cx="258957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53" name="Freeform 802">
                <a:extLst>
                  <a:ext uri="{FF2B5EF4-FFF2-40B4-BE49-F238E27FC236}">
                    <a16:creationId xmlns:a16="http://schemas.microsoft.com/office/drawing/2014/main" id="{358DD6C9-09CF-402C-BE53-F5F1ECD220E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4" name="Freeform 803">
                <a:extLst>
                  <a:ext uri="{FF2B5EF4-FFF2-40B4-BE49-F238E27FC236}">
                    <a16:creationId xmlns:a16="http://schemas.microsoft.com/office/drawing/2014/main" id="{ABDE95B5-DED8-4C2C-A087-3D4E2DC338F0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5" name="Freeform 804">
                <a:extLst>
                  <a:ext uri="{FF2B5EF4-FFF2-40B4-BE49-F238E27FC236}">
                    <a16:creationId xmlns:a16="http://schemas.microsoft.com/office/drawing/2014/main" id="{4D2A36B9-79C5-49D6-A93F-D4B338821AB6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7" name="Group 516">
              <a:extLst>
                <a:ext uri="{FF2B5EF4-FFF2-40B4-BE49-F238E27FC236}">
                  <a16:creationId xmlns:a16="http://schemas.microsoft.com/office/drawing/2014/main" id="{A6F74DC1-7F21-4D81-BA18-2E988296C6D9}"/>
                </a:ext>
              </a:extLst>
            </p:cNvPr>
            <p:cNvGrpSpPr/>
            <p:nvPr/>
          </p:nvGrpSpPr>
          <p:grpSpPr>
            <a:xfrm>
              <a:off x="3844215" y="5374024"/>
              <a:ext cx="258958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50" name="Freeform 799">
                <a:extLst>
                  <a:ext uri="{FF2B5EF4-FFF2-40B4-BE49-F238E27FC236}">
                    <a16:creationId xmlns:a16="http://schemas.microsoft.com/office/drawing/2014/main" id="{4C533783-C984-4035-B657-A82D5959741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1" name="Freeform 800">
                <a:extLst>
                  <a:ext uri="{FF2B5EF4-FFF2-40B4-BE49-F238E27FC236}">
                    <a16:creationId xmlns:a16="http://schemas.microsoft.com/office/drawing/2014/main" id="{2C3E72D8-8FE4-4060-AF2F-DBD52377D760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2" name="Freeform 801">
                <a:extLst>
                  <a:ext uri="{FF2B5EF4-FFF2-40B4-BE49-F238E27FC236}">
                    <a16:creationId xmlns:a16="http://schemas.microsoft.com/office/drawing/2014/main" id="{D5A7DC1D-9515-4612-8E6A-371487E10EE4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8" name="Group 517">
              <a:extLst>
                <a:ext uri="{FF2B5EF4-FFF2-40B4-BE49-F238E27FC236}">
                  <a16:creationId xmlns:a16="http://schemas.microsoft.com/office/drawing/2014/main" id="{55BDD998-C58E-46DF-A2C6-5593BC6BFFC4}"/>
                </a:ext>
              </a:extLst>
            </p:cNvPr>
            <p:cNvGrpSpPr/>
            <p:nvPr/>
          </p:nvGrpSpPr>
          <p:grpSpPr>
            <a:xfrm>
              <a:off x="3844215" y="5220079"/>
              <a:ext cx="258958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47" name="Freeform 796">
                <a:extLst>
                  <a:ext uri="{FF2B5EF4-FFF2-40B4-BE49-F238E27FC236}">
                    <a16:creationId xmlns:a16="http://schemas.microsoft.com/office/drawing/2014/main" id="{744BB373-504A-4ADC-A62B-1CD9B471D2C5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8" name="Freeform 797">
                <a:extLst>
                  <a:ext uri="{FF2B5EF4-FFF2-40B4-BE49-F238E27FC236}">
                    <a16:creationId xmlns:a16="http://schemas.microsoft.com/office/drawing/2014/main" id="{030C07DB-EC4A-4209-9DA9-79FF3188B33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9" name="Freeform 798">
                <a:extLst>
                  <a:ext uri="{FF2B5EF4-FFF2-40B4-BE49-F238E27FC236}">
                    <a16:creationId xmlns:a16="http://schemas.microsoft.com/office/drawing/2014/main" id="{004256F5-2186-42FC-82BB-D528032DEA2A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9" name="Group 518">
              <a:extLst>
                <a:ext uri="{FF2B5EF4-FFF2-40B4-BE49-F238E27FC236}">
                  <a16:creationId xmlns:a16="http://schemas.microsoft.com/office/drawing/2014/main" id="{BE745A1B-EF9A-4EDB-90E6-49ADC65BF21B}"/>
                </a:ext>
              </a:extLst>
            </p:cNvPr>
            <p:cNvGrpSpPr/>
            <p:nvPr/>
          </p:nvGrpSpPr>
          <p:grpSpPr>
            <a:xfrm>
              <a:off x="3844215" y="5066134"/>
              <a:ext cx="258958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44" name="Freeform 793">
                <a:extLst>
                  <a:ext uri="{FF2B5EF4-FFF2-40B4-BE49-F238E27FC236}">
                    <a16:creationId xmlns:a16="http://schemas.microsoft.com/office/drawing/2014/main" id="{BCED64BD-9578-4960-AFD1-C00C7E77C6B0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5" name="Freeform 794">
                <a:extLst>
                  <a:ext uri="{FF2B5EF4-FFF2-40B4-BE49-F238E27FC236}">
                    <a16:creationId xmlns:a16="http://schemas.microsoft.com/office/drawing/2014/main" id="{125A6D11-F7E7-4C78-A686-19F246AB96B2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6" name="Freeform 795">
                <a:extLst>
                  <a:ext uri="{FF2B5EF4-FFF2-40B4-BE49-F238E27FC236}">
                    <a16:creationId xmlns:a16="http://schemas.microsoft.com/office/drawing/2014/main" id="{1F7AD109-E3E2-4B0B-8EA4-60599026E02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20" name="Group 519">
              <a:extLst>
                <a:ext uri="{FF2B5EF4-FFF2-40B4-BE49-F238E27FC236}">
                  <a16:creationId xmlns:a16="http://schemas.microsoft.com/office/drawing/2014/main" id="{5A34EE52-9126-4329-B4DB-7B45F85FAB43}"/>
                </a:ext>
              </a:extLst>
            </p:cNvPr>
            <p:cNvGrpSpPr/>
            <p:nvPr/>
          </p:nvGrpSpPr>
          <p:grpSpPr>
            <a:xfrm>
              <a:off x="3843833" y="4913052"/>
              <a:ext cx="258958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41" name="Freeform 790">
                <a:extLst>
                  <a:ext uri="{FF2B5EF4-FFF2-40B4-BE49-F238E27FC236}">
                    <a16:creationId xmlns:a16="http://schemas.microsoft.com/office/drawing/2014/main" id="{BCD842C9-B967-43DF-BDA6-D2784F388B6D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2" name="Freeform 791">
                <a:extLst>
                  <a:ext uri="{FF2B5EF4-FFF2-40B4-BE49-F238E27FC236}">
                    <a16:creationId xmlns:a16="http://schemas.microsoft.com/office/drawing/2014/main" id="{D92B15D5-4BA2-4762-92C2-45D732991BB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3" name="Freeform 792">
                <a:extLst>
                  <a:ext uri="{FF2B5EF4-FFF2-40B4-BE49-F238E27FC236}">
                    <a16:creationId xmlns:a16="http://schemas.microsoft.com/office/drawing/2014/main" id="{78A04B56-2CF1-419E-A0B7-4C0CD876355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21" name="Group 520">
              <a:extLst>
                <a:ext uri="{FF2B5EF4-FFF2-40B4-BE49-F238E27FC236}">
                  <a16:creationId xmlns:a16="http://schemas.microsoft.com/office/drawing/2014/main" id="{FEAD9B68-C769-49C1-A107-73F16E45976B}"/>
                </a:ext>
              </a:extLst>
            </p:cNvPr>
            <p:cNvGrpSpPr/>
            <p:nvPr/>
          </p:nvGrpSpPr>
          <p:grpSpPr>
            <a:xfrm>
              <a:off x="3318979" y="4548087"/>
              <a:ext cx="258958" cy="260293"/>
              <a:chOff x="6673852" y="2507796"/>
              <a:chExt cx="3493295" cy="3112292"/>
            </a:xfrm>
            <a:solidFill>
              <a:srgbClr val="2383C1">
                <a:alpha val="50196"/>
              </a:srgbClr>
            </a:solidFill>
          </p:grpSpPr>
          <p:sp>
            <p:nvSpPr>
              <p:cNvPr id="538" name="Freeform 787">
                <a:extLst>
                  <a:ext uri="{FF2B5EF4-FFF2-40B4-BE49-F238E27FC236}">
                    <a16:creationId xmlns:a16="http://schemas.microsoft.com/office/drawing/2014/main" id="{3F32086A-BCCA-4303-815B-B532E0941A53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9" name="Freeform 788">
                <a:extLst>
                  <a:ext uri="{FF2B5EF4-FFF2-40B4-BE49-F238E27FC236}">
                    <a16:creationId xmlns:a16="http://schemas.microsoft.com/office/drawing/2014/main" id="{BB091587-3D31-4B56-B4B8-DD56B1666DB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0" name="Freeform 789">
                <a:extLst>
                  <a:ext uri="{FF2B5EF4-FFF2-40B4-BE49-F238E27FC236}">
                    <a16:creationId xmlns:a16="http://schemas.microsoft.com/office/drawing/2014/main" id="{800EBB12-2620-4857-97D5-0A7A11A3343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22" name="Group 521">
              <a:extLst>
                <a:ext uri="{FF2B5EF4-FFF2-40B4-BE49-F238E27FC236}">
                  <a16:creationId xmlns:a16="http://schemas.microsoft.com/office/drawing/2014/main" id="{5D2739F2-1159-41B0-89B8-B42D858F388C}"/>
                </a:ext>
              </a:extLst>
            </p:cNvPr>
            <p:cNvGrpSpPr/>
            <p:nvPr/>
          </p:nvGrpSpPr>
          <p:grpSpPr>
            <a:xfrm>
              <a:off x="3448456" y="4600796"/>
              <a:ext cx="258957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35" name="Freeform 784">
                <a:extLst>
                  <a:ext uri="{FF2B5EF4-FFF2-40B4-BE49-F238E27FC236}">
                    <a16:creationId xmlns:a16="http://schemas.microsoft.com/office/drawing/2014/main" id="{7076A835-295D-497C-BC31-6189D057B048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6" name="Freeform 785">
                <a:extLst>
                  <a:ext uri="{FF2B5EF4-FFF2-40B4-BE49-F238E27FC236}">
                    <a16:creationId xmlns:a16="http://schemas.microsoft.com/office/drawing/2014/main" id="{FC144403-6B40-4169-A10F-721EAC355F0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7" name="Freeform 786">
                <a:extLst>
                  <a:ext uri="{FF2B5EF4-FFF2-40B4-BE49-F238E27FC236}">
                    <a16:creationId xmlns:a16="http://schemas.microsoft.com/office/drawing/2014/main" id="{EEB0A365-D665-4407-BF91-041529135BD9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23" name="Group 522">
              <a:extLst>
                <a:ext uri="{FF2B5EF4-FFF2-40B4-BE49-F238E27FC236}">
                  <a16:creationId xmlns:a16="http://schemas.microsoft.com/office/drawing/2014/main" id="{AC533292-4EF0-4DB6-B39F-8290317DB032}"/>
                </a:ext>
              </a:extLst>
            </p:cNvPr>
            <p:cNvGrpSpPr/>
            <p:nvPr/>
          </p:nvGrpSpPr>
          <p:grpSpPr>
            <a:xfrm>
              <a:off x="3577935" y="4653506"/>
              <a:ext cx="258957" cy="260293"/>
              <a:chOff x="6673860" y="2507796"/>
              <a:chExt cx="3493287" cy="3112300"/>
            </a:xfrm>
            <a:solidFill>
              <a:srgbClr val="2383C1">
                <a:alpha val="50196"/>
              </a:srgbClr>
            </a:solidFill>
          </p:grpSpPr>
          <p:sp>
            <p:nvSpPr>
              <p:cNvPr id="532" name="Freeform 781">
                <a:extLst>
                  <a:ext uri="{FF2B5EF4-FFF2-40B4-BE49-F238E27FC236}">
                    <a16:creationId xmlns:a16="http://schemas.microsoft.com/office/drawing/2014/main" id="{AED6183B-268A-49DA-80DC-8159884F0CEF}"/>
                  </a:ext>
                </a:extLst>
              </p:cNvPr>
              <p:cNvSpPr/>
              <p:nvPr/>
            </p:nvSpPr>
            <p:spPr>
              <a:xfrm>
                <a:off x="6673860" y="3138036"/>
                <a:ext cx="1764505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3" name="Freeform 782">
                <a:extLst>
                  <a:ext uri="{FF2B5EF4-FFF2-40B4-BE49-F238E27FC236}">
                    <a16:creationId xmlns:a16="http://schemas.microsoft.com/office/drawing/2014/main" id="{1102DB8C-A2E8-4E54-80DF-7FEA226B6A0D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4" name="Freeform 783">
                <a:extLst>
                  <a:ext uri="{FF2B5EF4-FFF2-40B4-BE49-F238E27FC236}">
                    <a16:creationId xmlns:a16="http://schemas.microsoft.com/office/drawing/2014/main" id="{F3A8C309-9525-4980-B832-9C20FC991B9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24" name="Group 523">
              <a:extLst>
                <a:ext uri="{FF2B5EF4-FFF2-40B4-BE49-F238E27FC236}">
                  <a16:creationId xmlns:a16="http://schemas.microsoft.com/office/drawing/2014/main" id="{CB3A85B6-B820-443D-96BD-6B32C8EE0262}"/>
                </a:ext>
              </a:extLst>
            </p:cNvPr>
            <p:cNvGrpSpPr/>
            <p:nvPr/>
          </p:nvGrpSpPr>
          <p:grpSpPr>
            <a:xfrm>
              <a:off x="3709378" y="4706520"/>
              <a:ext cx="258957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29" name="Freeform 778">
                <a:extLst>
                  <a:ext uri="{FF2B5EF4-FFF2-40B4-BE49-F238E27FC236}">
                    <a16:creationId xmlns:a16="http://schemas.microsoft.com/office/drawing/2014/main" id="{A27DAA93-27E5-4F37-8018-321C8C6C8A90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0" name="Freeform 779">
                <a:extLst>
                  <a:ext uri="{FF2B5EF4-FFF2-40B4-BE49-F238E27FC236}">
                    <a16:creationId xmlns:a16="http://schemas.microsoft.com/office/drawing/2014/main" id="{394EDB1B-A5D8-402B-81CF-64CD7F87F60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1" name="Freeform 780">
                <a:extLst>
                  <a:ext uri="{FF2B5EF4-FFF2-40B4-BE49-F238E27FC236}">
                    <a16:creationId xmlns:a16="http://schemas.microsoft.com/office/drawing/2014/main" id="{970FBCB8-CEE0-423C-9D3F-912DA4829AD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95DD4215-3A82-40B8-85A1-F38D27F191AA}"/>
                </a:ext>
              </a:extLst>
            </p:cNvPr>
            <p:cNvGrpSpPr/>
            <p:nvPr/>
          </p:nvGrpSpPr>
          <p:grpSpPr>
            <a:xfrm>
              <a:off x="3841701" y="4761857"/>
              <a:ext cx="258958" cy="260293"/>
              <a:chOff x="6673854" y="2507796"/>
              <a:chExt cx="3493293" cy="3112295"/>
            </a:xfrm>
            <a:solidFill>
              <a:srgbClr val="2383C1">
                <a:alpha val="50196"/>
              </a:srgbClr>
            </a:solidFill>
          </p:grpSpPr>
          <p:sp>
            <p:nvSpPr>
              <p:cNvPr id="526" name="Freeform 775">
                <a:extLst>
                  <a:ext uri="{FF2B5EF4-FFF2-40B4-BE49-F238E27FC236}">
                    <a16:creationId xmlns:a16="http://schemas.microsoft.com/office/drawing/2014/main" id="{572F7875-C46F-4430-9BD6-C869849E8C4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7" name="Freeform 776">
                <a:extLst>
                  <a:ext uri="{FF2B5EF4-FFF2-40B4-BE49-F238E27FC236}">
                    <a16:creationId xmlns:a16="http://schemas.microsoft.com/office/drawing/2014/main" id="{4EC926A7-2A2C-4D20-BFED-DC39FABBBE89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8" name="Freeform 777">
                <a:extLst>
                  <a:ext uri="{FF2B5EF4-FFF2-40B4-BE49-F238E27FC236}">
                    <a16:creationId xmlns:a16="http://schemas.microsoft.com/office/drawing/2014/main" id="{3797DC8B-0E26-4E72-A08C-60F0CB1CEF66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66" name="Rectangle: Rounded Corners 1065">
            <a:extLst>
              <a:ext uri="{FF2B5EF4-FFF2-40B4-BE49-F238E27FC236}">
                <a16:creationId xmlns:a16="http://schemas.microsoft.com/office/drawing/2014/main" id="{78F7E60A-7754-4EE3-AFD2-83E94995D14A}"/>
              </a:ext>
            </a:extLst>
          </p:cNvPr>
          <p:cNvSpPr/>
          <p:nvPr/>
        </p:nvSpPr>
        <p:spPr>
          <a:xfrm rot="1607492">
            <a:off x="8681089" y="3265101"/>
            <a:ext cx="457200" cy="121409"/>
          </a:xfrm>
          <a:prstGeom prst="roundRect">
            <a:avLst>
              <a:gd name="adj" fmla="val 50000"/>
            </a:avLst>
          </a:prstGeom>
          <a:solidFill>
            <a:srgbClr val="FFFFFF">
              <a:alpha val="50196"/>
            </a:srgbClr>
          </a:solidFill>
          <a:ln w="3175" cap="flat">
            <a:noFill/>
            <a:prstDash val="solid"/>
            <a:miter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tats Prog.</a:t>
            </a:r>
          </a:p>
        </p:txBody>
      </p:sp>
      <p:sp>
        <p:nvSpPr>
          <p:cNvPr id="1067" name="Rectangle: Rounded Corners 1066">
            <a:extLst>
              <a:ext uri="{FF2B5EF4-FFF2-40B4-BE49-F238E27FC236}">
                <a16:creationId xmlns:a16="http://schemas.microsoft.com/office/drawing/2014/main" id="{21D4ACF1-592D-45CF-83C6-5D905D1EECAB}"/>
              </a:ext>
            </a:extLst>
          </p:cNvPr>
          <p:cNvSpPr/>
          <p:nvPr/>
        </p:nvSpPr>
        <p:spPr>
          <a:xfrm rot="1607492">
            <a:off x="8506323" y="3354427"/>
            <a:ext cx="457200" cy="121409"/>
          </a:xfrm>
          <a:prstGeom prst="roundRect">
            <a:avLst>
              <a:gd name="adj" fmla="val 50000"/>
            </a:avLst>
          </a:prstGeom>
          <a:solidFill>
            <a:srgbClr val="FFFFFF">
              <a:alpha val="50196"/>
            </a:srgbClr>
          </a:solidFill>
          <a:ln w="3175" cap="flat">
            <a:noFill/>
            <a:prstDash val="solid"/>
            <a:miter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tats Prog.</a:t>
            </a:r>
          </a:p>
        </p:txBody>
      </p:sp>
      <p:sp>
        <p:nvSpPr>
          <p:cNvPr id="1068" name="Rectangle: Rounded Corners 1067">
            <a:extLst>
              <a:ext uri="{FF2B5EF4-FFF2-40B4-BE49-F238E27FC236}">
                <a16:creationId xmlns:a16="http://schemas.microsoft.com/office/drawing/2014/main" id="{B51E6320-46F4-4EEA-8BDE-396309B9C799}"/>
              </a:ext>
            </a:extLst>
          </p:cNvPr>
          <p:cNvSpPr/>
          <p:nvPr/>
        </p:nvSpPr>
        <p:spPr>
          <a:xfrm rot="1607492">
            <a:off x="8352989" y="3444021"/>
            <a:ext cx="399836" cy="121409"/>
          </a:xfrm>
          <a:prstGeom prst="roundRect">
            <a:avLst>
              <a:gd name="adj" fmla="val 50000"/>
            </a:avLst>
          </a:prstGeom>
          <a:solidFill>
            <a:srgbClr val="FFFFFF">
              <a:alpha val="50196"/>
            </a:srgbClr>
          </a:solidFill>
          <a:ln w="3175" cap="flat">
            <a:noFill/>
            <a:prstDash val="solid"/>
            <a:miter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ite Ops</a:t>
            </a:r>
          </a:p>
        </p:txBody>
      </p:sp>
      <p:sp>
        <p:nvSpPr>
          <p:cNvPr id="1069" name="Rectangle: Rounded Corners 1068">
            <a:extLst>
              <a:ext uri="{FF2B5EF4-FFF2-40B4-BE49-F238E27FC236}">
                <a16:creationId xmlns:a16="http://schemas.microsoft.com/office/drawing/2014/main" id="{6DEF6EBE-147F-4C37-9D61-1E3E614475A3}"/>
              </a:ext>
            </a:extLst>
          </p:cNvPr>
          <p:cNvSpPr/>
          <p:nvPr/>
        </p:nvSpPr>
        <p:spPr>
          <a:xfrm rot="1607492">
            <a:off x="8243980" y="3642024"/>
            <a:ext cx="228614" cy="121409"/>
          </a:xfrm>
          <a:prstGeom prst="roundRect">
            <a:avLst>
              <a:gd name="adj" fmla="val 50000"/>
            </a:avLst>
          </a:prstGeom>
          <a:solidFill>
            <a:srgbClr val="FFFFFF">
              <a:alpha val="50196"/>
            </a:srgbClr>
          </a:solidFill>
          <a:ln w="3175" cap="flat">
            <a:noFill/>
            <a:prstDash val="solid"/>
            <a:miter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afety</a:t>
            </a:r>
          </a:p>
        </p:txBody>
      </p:sp>
      <p:sp>
        <p:nvSpPr>
          <p:cNvPr id="1070" name="Rectangle: Rounded Corners 1069">
            <a:extLst>
              <a:ext uri="{FF2B5EF4-FFF2-40B4-BE49-F238E27FC236}">
                <a16:creationId xmlns:a16="http://schemas.microsoft.com/office/drawing/2014/main" id="{F0B6FE93-FF8A-4FA3-83A6-55BE338CBABF}"/>
              </a:ext>
            </a:extLst>
          </p:cNvPr>
          <p:cNvSpPr/>
          <p:nvPr/>
        </p:nvSpPr>
        <p:spPr>
          <a:xfrm rot="1607492">
            <a:off x="8858762" y="3171507"/>
            <a:ext cx="457200" cy="121409"/>
          </a:xfrm>
          <a:prstGeom prst="roundRect">
            <a:avLst>
              <a:gd name="adj" fmla="val 50000"/>
            </a:avLst>
          </a:prstGeom>
          <a:solidFill>
            <a:srgbClr val="FFFFFF">
              <a:alpha val="50196"/>
            </a:srgbClr>
          </a:solidFill>
          <a:ln w="3175" cap="flat">
            <a:noFill/>
            <a:prstDash val="solid"/>
            <a:miter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Q&amp;C</a:t>
            </a:r>
          </a:p>
        </p:txBody>
      </p:sp>
      <p:grpSp>
        <p:nvGrpSpPr>
          <p:cNvPr id="1071" name="Group 1070">
            <a:extLst>
              <a:ext uri="{FF2B5EF4-FFF2-40B4-BE49-F238E27FC236}">
                <a16:creationId xmlns:a16="http://schemas.microsoft.com/office/drawing/2014/main" id="{A6BE25B3-E2EF-4FAB-811D-5EE95F3AE81B}"/>
              </a:ext>
            </a:extLst>
          </p:cNvPr>
          <p:cNvGrpSpPr/>
          <p:nvPr/>
        </p:nvGrpSpPr>
        <p:grpSpPr>
          <a:xfrm>
            <a:off x="10148219" y="3048086"/>
            <a:ext cx="549957" cy="852080"/>
            <a:chOff x="7923767" y="2537905"/>
            <a:chExt cx="873490" cy="1162881"/>
          </a:xfrm>
        </p:grpSpPr>
        <p:grpSp>
          <p:nvGrpSpPr>
            <p:cNvPr id="1072" name="Group 1071">
              <a:extLst>
                <a:ext uri="{FF2B5EF4-FFF2-40B4-BE49-F238E27FC236}">
                  <a16:creationId xmlns:a16="http://schemas.microsoft.com/office/drawing/2014/main" id="{47BC409C-107F-4150-8DDD-20E4F53E9CC9}"/>
                </a:ext>
              </a:extLst>
            </p:cNvPr>
            <p:cNvGrpSpPr/>
            <p:nvPr/>
          </p:nvGrpSpPr>
          <p:grpSpPr>
            <a:xfrm>
              <a:off x="7926569" y="3193270"/>
              <a:ext cx="288445" cy="278660"/>
              <a:chOff x="6673854" y="2507796"/>
              <a:chExt cx="3493293" cy="3112296"/>
            </a:xfrm>
            <a:solidFill>
              <a:srgbClr val="97D9A9">
                <a:alpha val="89804"/>
              </a:srgbClr>
            </a:solidFill>
          </p:grpSpPr>
          <p:sp>
            <p:nvSpPr>
              <p:cNvPr id="1169" name="Freeform 479">
                <a:extLst>
                  <a:ext uri="{FF2B5EF4-FFF2-40B4-BE49-F238E27FC236}">
                    <a16:creationId xmlns:a16="http://schemas.microsoft.com/office/drawing/2014/main" id="{4D189CFA-47BF-4732-9FC4-FD102658033B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0" name="Freeform 480">
                <a:extLst>
                  <a:ext uri="{FF2B5EF4-FFF2-40B4-BE49-F238E27FC236}">
                    <a16:creationId xmlns:a16="http://schemas.microsoft.com/office/drawing/2014/main" id="{B21BFED0-93B1-4D32-85D4-FA3CDD6ACB0A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1" name="Freeform 481">
                <a:extLst>
                  <a:ext uri="{FF2B5EF4-FFF2-40B4-BE49-F238E27FC236}">
                    <a16:creationId xmlns:a16="http://schemas.microsoft.com/office/drawing/2014/main" id="{03AB4AA0-C6BC-4A5C-9A00-3D1409588CF2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73" name="Group 1072">
              <a:extLst>
                <a:ext uri="{FF2B5EF4-FFF2-40B4-BE49-F238E27FC236}">
                  <a16:creationId xmlns:a16="http://schemas.microsoft.com/office/drawing/2014/main" id="{012F465E-B016-4BE7-A1AB-A8FA358C7AAA}"/>
                </a:ext>
              </a:extLst>
            </p:cNvPr>
            <p:cNvGrpSpPr/>
            <p:nvPr/>
          </p:nvGrpSpPr>
          <p:grpSpPr>
            <a:xfrm>
              <a:off x="8070792" y="3249699"/>
              <a:ext cx="288445" cy="278660"/>
              <a:chOff x="6673854" y="2507796"/>
              <a:chExt cx="3493293" cy="3112296"/>
            </a:xfrm>
            <a:solidFill>
              <a:srgbClr val="97D9A9">
                <a:alpha val="89804"/>
              </a:srgbClr>
            </a:solidFill>
          </p:grpSpPr>
          <p:sp>
            <p:nvSpPr>
              <p:cNvPr id="1166" name="Freeform 483">
                <a:extLst>
                  <a:ext uri="{FF2B5EF4-FFF2-40B4-BE49-F238E27FC236}">
                    <a16:creationId xmlns:a16="http://schemas.microsoft.com/office/drawing/2014/main" id="{A20F4E75-0B91-490D-8F9E-C4D71C3374A7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7" name="Freeform 484">
                <a:extLst>
                  <a:ext uri="{FF2B5EF4-FFF2-40B4-BE49-F238E27FC236}">
                    <a16:creationId xmlns:a16="http://schemas.microsoft.com/office/drawing/2014/main" id="{21896C6D-753A-4659-8185-CD94FC28FD74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8" name="Freeform 485">
                <a:extLst>
                  <a:ext uri="{FF2B5EF4-FFF2-40B4-BE49-F238E27FC236}">
                    <a16:creationId xmlns:a16="http://schemas.microsoft.com/office/drawing/2014/main" id="{12F0C9BF-AB06-465E-A49C-BC78EAD7370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74" name="Group 1073">
              <a:extLst>
                <a:ext uri="{FF2B5EF4-FFF2-40B4-BE49-F238E27FC236}">
                  <a16:creationId xmlns:a16="http://schemas.microsoft.com/office/drawing/2014/main" id="{BF97FC0A-BA02-4744-BA16-65F9A80DF5EC}"/>
                </a:ext>
              </a:extLst>
            </p:cNvPr>
            <p:cNvGrpSpPr/>
            <p:nvPr/>
          </p:nvGrpSpPr>
          <p:grpSpPr>
            <a:xfrm>
              <a:off x="8215014" y="3306128"/>
              <a:ext cx="288445" cy="278660"/>
              <a:chOff x="6673854" y="2507796"/>
              <a:chExt cx="3493293" cy="3112296"/>
            </a:xfrm>
            <a:solidFill>
              <a:srgbClr val="3E92C8">
                <a:alpha val="50196"/>
              </a:srgbClr>
            </a:solidFill>
          </p:grpSpPr>
          <p:sp>
            <p:nvSpPr>
              <p:cNvPr id="1163" name="Freeform 487">
                <a:extLst>
                  <a:ext uri="{FF2B5EF4-FFF2-40B4-BE49-F238E27FC236}">
                    <a16:creationId xmlns:a16="http://schemas.microsoft.com/office/drawing/2014/main" id="{3BF218BA-1CEC-44EC-A4F8-9CFEE02C1FE6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4" name="Freeform 488">
                <a:extLst>
                  <a:ext uri="{FF2B5EF4-FFF2-40B4-BE49-F238E27FC236}">
                    <a16:creationId xmlns:a16="http://schemas.microsoft.com/office/drawing/2014/main" id="{45BC8A56-940D-418A-AAC7-FCAF700BD72E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5" name="Freeform 489">
                <a:extLst>
                  <a:ext uri="{FF2B5EF4-FFF2-40B4-BE49-F238E27FC236}">
                    <a16:creationId xmlns:a16="http://schemas.microsoft.com/office/drawing/2014/main" id="{5D7F4601-2BA5-44CA-A5FF-1C276C061C3C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75" name="Group 1074">
              <a:extLst>
                <a:ext uri="{FF2B5EF4-FFF2-40B4-BE49-F238E27FC236}">
                  <a16:creationId xmlns:a16="http://schemas.microsoft.com/office/drawing/2014/main" id="{80FAF238-EED8-4A4D-AABB-24A83B9BE952}"/>
                </a:ext>
              </a:extLst>
            </p:cNvPr>
            <p:cNvGrpSpPr/>
            <p:nvPr/>
          </p:nvGrpSpPr>
          <p:grpSpPr>
            <a:xfrm>
              <a:off x="7926569" y="3028462"/>
              <a:ext cx="288445" cy="278660"/>
              <a:chOff x="6673854" y="2507796"/>
              <a:chExt cx="3493293" cy="3112296"/>
            </a:xfrm>
            <a:solidFill>
              <a:srgbClr val="97D9A9">
                <a:alpha val="89804"/>
              </a:srgbClr>
            </a:solidFill>
          </p:grpSpPr>
          <p:sp>
            <p:nvSpPr>
              <p:cNvPr id="1160" name="Freeform 491">
                <a:extLst>
                  <a:ext uri="{FF2B5EF4-FFF2-40B4-BE49-F238E27FC236}">
                    <a16:creationId xmlns:a16="http://schemas.microsoft.com/office/drawing/2014/main" id="{2F724EF5-6EDF-48F6-88EB-2FAECBF478C0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1" name="Freeform 492">
                <a:extLst>
                  <a:ext uri="{FF2B5EF4-FFF2-40B4-BE49-F238E27FC236}">
                    <a16:creationId xmlns:a16="http://schemas.microsoft.com/office/drawing/2014/main" id="{DA701912-FB96-4608-93E0-3A3094321190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2" name="Freeform 493">
                <a:extLst>
                  <a:ext uri="{FF2B5EF4-FFF2-40B4-BE49-F238E27FC236}">
                    <a16:creationId xmlns:a16="http://schemas.microsoft.com/office/drawing/2014/main" id="{FBD6677B-8C93-4799-807C-60566E00AC6F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76" name="Group 1075">
              <a:extLst>
                <a:ext uri="{FF2B5EF4-FFF2-40B4-BE49-F238E27FC236}">
                  <a16:creationId xmlns:a16="http://schemas.microsoft.com/office/drawing/2014/main" id="{45F6B48B-A354-474C-9D1A-4B819F5D8F95}"/>
                </a:ext>
              </a:extLst>
            </p:cNvPr>
            <p:cNvGrpSpPr/>
            <p:nvPr/>
          </p:nvGrpSpPr>
          <p:grpSpPr>
            <a:xfrm>
              <a:off x="8070792" y="3084891"/>
              <a:ext cx="288445" cy="278660"/>
              <a:chOff x="6673854" y="2507796"/>
              <a:chExt cx="3493293" cy="3112296"/>
            </a:xfrm>
            <a:solidFill>
              <a:srgbClr val="97D9A9">
                <a:alpha val="89804"/>
              </a:srgbClr>
            </a:solidFill>
          </p:grpSpPr>
          <p:sp>
            <p:nvSpPr>
              <p:cNvPr id="1157" name="Freeform 495">
                <a:extLst>
                  <a:ext uri="{FF2B5EF4-FFF2-40B4-BE49-F238E27FC236}">
                    <a16:creationId xmlns:a16="http://schemas.microsoft.com/office/drawing/2014/main" id="{3D61558A-E80F-4D7E-AE82-63FBEB0492AB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8" name="Freeform 496">
                <a:extLst>
                  <a:ext uri="{FF2B5EF4-FFF2-40B4-BE49-F238E27FC236}">
                    <a16:creationId xmlns:a16="http://schemas.microsoft.com/office/drawing/2014/main" id="{24B7610D-5BD5-4367-983D-11B265481841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9" name="Freeform 497">
                <a:extLst>
                  <a:ext uri="{FF2B5EF4-FFF2-40B4-BE49-F238E27FC236}">
                    <a16:creationId xmlns:a16="http://schemas.microsoft.com/office/drawing/2014/main" id="{8A3543CD-4B48-4C9B-9CAC-649C63120EF5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77" name="Group 1076">
              <a:extLst>
                <a:ext uri="{FF2B5EF4-FFF2-40B4-BE49-F238E27FC236}">
                  <a16:creationId xmlns:a16="http://schemas.microsoft.com/office/drawing/2014/main" id="{6C7FB493-2833-46B4-B2BE-F54D716996ED}"/>
                </a:ext>
              </a:extLst>
            </p:cNvPr>
            <p:cNvGrpSpPr/>
            <p:nvPr/>
          </p:nvGrpSpPr>
          <p:grpSpPr>
            <a:xfrm>
              <a:off x="8215014" y="3141320"/>
              <a:ext cx="288445" cy="278660"/>
              <a:chOff x="6673854" y="2507796"/>
              <a:chExt cx="3493293" cy="3112296"/>
            </a:xfrm>
            <a:solidFill>
              <a:srgbClr val="97D9A9">
                <a:alpha val="89804"/>
              </a:srgbClr>
            </a:solidFill>
          </p:grpSpPr>
          <p:sp>
            <p:nvSpPr>
              <p:cNvPr id="1154" name="Freeform 499">
                <a:extLst>
                  <a:ext uri="{FF2B5EF4-FFF2-40B4-BE49-F238E27FC236}">
                    <a16:creationId xmlns:a16="http://schemas.microsoft.com/office/drawing/2014/main" id="{3D6C766B-61D3-4C7A-8F44-18C3CFB45BFD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5" name="Freeform 500">
                <a:extLst>
                  <a:ext uri="{FF2B5EF4-FFF2-40B4-BE49-F238E27FC236}">
                    <a16:creationId xmlns:a16="http://schemas.microsoft.com/office/drawing/2014/main" id="{380FF763-1FD4-4928-B9C8-537596F30523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6" name="Freeform 501">
                <a:extLst>
                  <a:ext uri="{FF2B5EF4-FFF2-40B4-BE49-F238E27FC236}">
                    <a16:creationId xmlns:a16="http://schemas.microsoft.com/office/drawing/2014/main" id="{A19F237A-BAEA-4406-B0C5-1F4C5D8B9BEB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78" name="Group 1077">
              <a:extLst>
                <a:ext uri="{FF2B5EF4-FFF2-40B4-BE49-F238E27FC236}">
                  <a16:creationId xmlns:a16="http://schemas.microsoft.com/office/drawing/2014/main" id="{D93611CA-C5FD-41C4-A3C1-902E3B137402}"/>
                </a:ext>
              </a:extLst>
            </p:cNvPr>
            <p:cNvGrpSpPr/>
            <p:nvPr/>
          </p:nvGrpSpPr>
          <p:grpSpPr>
            <a:xfrm>
              <a:off x="7926569" y="2863654"/>
              <a:ext cx="288445" cy="278660"/>
              <a:chOff x="6673852" y="2507796"/>
              <a:chExt cx="3493295" cy="3112291"/>
            </a:xfrm>
            <a:solidFill>
              <a:srgbClr val="3E92C8">
                <a:alpha val="50196"/>
              </a:srgbClr>
            </a:solidFill>
          </p:grpSpPr>
          <p:sp>
            <p:nvSpPr>
              <p:cNvPr id="1151" name="Freeform 503">
                <a:extLst>
                  <a:ext uri="{FF2B5EF4-FFF2-40B4-BE49-F238E27FC236}">
                    <a16:creationId xmlns:a16="http://schemas.microsoft.com/office/drawing/2014/main" id="{7B2ED37D-B884-49B6-81DA-D4E5FE96173D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2" name="Freeform 504">
                <a:extLst>
                  <a:ext uri="{FF2B5EF4-FFF2-40B4-BE49-F238E27FC236}">
                    <a16:creationId xmlns:a16="http://schemas.microsoft.com/office/drawing/2014/main" id="{B13DD00A-7688-4522-9D55-08E4E03B641F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3" name="Freeform 505">
                <a:extLst>
                  <a:ext uri="{FF2B5EF4-FFF2-40B4-BE49-F238E27FC236}">
                    <a16:creationId xmlns:a16="http://schemas.microsoft.com/office/drawing/2014/main" id="{6DB0553D-400C-4AEE-8735-DE53C3D1CE8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79" name="Group 1078">
              <a:extLst>
                <a:ext uri="{FF2B5EF4-FFF2-40B4-BE49-F238E27FC236}">
                  <a16:creationId xmlns:a16="http://schemas.microsoft.com/office/drawing/2014/main" id="{65579758-CE39-401F-A6F3-3A929B01911F}"/>
                </a:ext>
              </a:extLst>
            </p:cNvPr>
            <p:cNvGrpSpPr/>
            <p:nvPr/>
          </p:nvGrpSpPr>
          <p:grpSpPr>
            <a:xfrm>
              <a:off x="8070792" y="2920083"/>
              <a:ext cx="288445" cy="278660"/>
              <a:chOff x="6673854" y="2507796"/>
              <a:chExt cx="3493293" cy="3112296"/>
            </a:xfrm>
            <a:solidFill>
              <a:srgbClr val="3E92C8">
                <a:alpha val="50196"/>
              </a:srgbClr>
            </a:solidFill>
          </p:grpSpPr>
          <p:sp>
            <p:nvSpPr>
              <p:cNvPr id="1148" name="Freeform 507">
                <a:extLst>
                  <a:ext uri="{FF2B5EF4-FFF2-40B4-BE49-F238E27FC236}">
                    <a16:creationId xmlns:a16="http://schemas.microsoft.com/office/drawing/2014/main" id="{5782BEC8-7A60-4313-A755-B91E92E19550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9" name="Freeform 508">
                <a:extLst>
                  <a:ext uri="{FF2B5EF4-FFF2-40B4-BE49-F238E27FC236}">
                    <a16:creationId xmlns:a16="http://schemas.microsoft.com/office/drawing/2014/main" id="{922D3025-699D-45BA-8909-16255B064455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0" name="Freeform 509">
                <a:extLst>
                  <a:ext uri="{FF2B5EF4-FFF2-40B4-BE49-F238E27FC236}">
                    <a16:creationId xmlns:a16="http://schemas.microsoft.com/office/drawing/2014/main" id="{029F9FCB-DA73-4AB7-A09B-B7B7C3D68232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0" name="Group 1079">
              <a:extLst>
                <a:ext uri="{FF2B5EF4-FFF2-40B4-BE49-F238E27FC236}">
                  <a16:creationId xmlns:a16="http://schemas.microsoft.com/office/drawing/2014/main" id="{F1180859-28D6-4B67-B324-2C9F0F852665}"/>
                </a:ext>
              </a:extLst>
            </p:cNvPr>
            <p:cNvGrpSpPr/>
            <p:nvPr/>
          </p:nvGrpSpPr>
          <p:grpSpPr>
            <a:xfrm>
              <a:off x="8215014" y="2976511"/>
              <a:ext cx="288445" cy="278660"/>
              <a:chOff x="6673854" y="2507796"/>
              <a:chExt cx="3493293" cy="3112296"/>
            </a:xfrm>
            <a:solidFill>
              <a:srgbClr val="3E92C8">
                <a:alpha val="50196"/>
              </a:srgbClr>
            </a:solidFill>
          </p:grpSpPr>
          <p:sp>
            <p:nvSpPr>
              <p:cNvPr id="1145" name="Freeform 511">
                <a:extLst>
                  <a:ext uri="{FF2B5EF4-FFF2-40B4-BE49-F238E27FC236}">
                    <a16:creationId xmlns:a16="http://schemas.microsoft.com/office/drawing/2014/main" id="{3FBA6503-F694-4E68-938F-DD18EBC2B749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6" name="Freeform 512">
                <a:extLst>
                  <a:ext uri="{FF2B5EF4-FFF2-40B4-BE49-F238E27FC236}">
                    <a16:creationId xmlns:a16="http://schemas.microsoft.com/office/drawing/2014/main" id="{73193464-305B-4E0B-981C-F0BE202890B6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7" name="Freeform 513">
                <a:extLst>
                  <a:ext uri="{FF2B5EF4-FFF2-40B4-BE49-F238E27FC236}">
                    <a16:creationId xmlns:a16="http://schemas.microsoft.com/office/drawing/2014/main" id="{1D98BF87-FC07-4FFC-A221-382703E97F1C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1" name="Group 1080">
              <a:extLst>
                <a:ext uri="{FF2B5EF4-FFF2-40B4-BE49-F238E27FC236}">
                  <a16:creationId xmlns:a16="http://schemas.microsoft.com/office/drawing/2014/main" id="{63A81AFC-82B7-420F-BE91-692010433826}"/>
                </a:ext>
              </a:extLst>
            </p:cNvPr>
            <p:cNvGrpSpPr/>
            <p:nvPr/>
          </p:nvGrpSpPr>
          <p:grpSpPr>
            <a:xfrm>
              <a:off x="7926142" y="2699769"/>
              <a:ext cx="288445" cy="278661"/>
              <a:chOff x="6673852" y="2507796"/>
              <a:chExt cx="3493295" cy="3112292"/>
            </a:xfrm>
            <a:solidFill>
              <a:srgbClr val="3E92C8">
                <a:alpha val="50196"/>
              </a:srgbClr>
            </a:solidFill>
          </p:grpSpPr>
          <p:sp>
            <p:nvSpPr>
              <p:cNvPr id="1142" name="Freeform 515">
                <a:extLst>
                  <a:ext uri="{FF2B5EF4-FFF2-40B4-BE49-F238E27FC236}">
                    <a16:creationId xmlns:a16="http://schemas.microsoft.com/office/drawing/2014/main" id="{73C5CF26-708B-41A5-8B32-4D6699B0F6EE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3" name="Freeform 516">
                <a:extLst>
                  <a:ext uri="{FF2B5EF4-FFF2-40B4-BE49-F238E27FC236}">
                    <a16:creationId xmlns:a16="http://schemas.microsoft.com/office/drawing/2014/main" id="{4204C89B-4F13-41A7-AA16-BDD0856F5540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4" name="Freeform 517">
                <a:extLst>
                  <a:ext uri="{FF2B5EF4-FFF2-40B4-BE49-F238E27FC236}">
                    <a16:creationId xmlns:a16="http://schemas.microsoft.com/office/drawing/2014/main" id="{C903E987-2E5C-4D22-8821-C9CA3234D98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2" name="Group 1081">
              <a:extLst>
                <a:ext uri="{FF2B5EF4-FFF2-40B4-BE49-F238E27FC236}">
                  <a16:creationId xmlns:a16="http://schemas.microsoft.com/office/drawing/2014/main" id="{A4E16639-23F1-4089-9727-F4312E6B8DC7}"/>
                </a:ext>
              </a:extLst>
            </p:cNvPr>
            <p:cNvGrpSpPr/>
            <p:nvPr/>
          </p:nvGrpSpPr>
          <p:grpSpPr>
            <a:xfrm>
              <a:off x="8070364" y="2756197"/>
              <a:ext cx="288445" cy="278661"/>
              <a:chOff x="6673854" y="2507796"/>
              <a:chExt cx="3493293" cy="3112295"/>
            </a:xfrm>
            <a:solidFill>
              <a:srgbClr val="3E92C8">
                <a:alpha val="50196"/>
              </a:srgbClr>
            </a:solidFill>
          </p:grpSpPr>
          <p:sp>
            <p:nvSpPr>
              <p:cNvPr id="1139" name="Freeform 519">
                <a:extLst>
                  <a:ext uri="{FF2B5EF4-FFF2-40B4-BE49-F238E27FC236}">
                    <a16:creationId xmlns:a16="http://schemas.microsoft.com/office/drawing/2014/main" id="{263B4BC6-030E-43D4-B3AE-6657CDD5BD5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0" name="Freeform 520">
                <a:extLst>
                  <a:ext uri="{FF2B5EF4-FFF2-40B4-BE49-F238E27FC236}">
                    <a16:creationId xmlns:a16="http://schemas.microsoft.com/office/drawing/2014/main" id="{0F452A06-5F31-44B0-827A-14E34CF3832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1" name="Freeform 521">
                <a:extLst>
                  <a:ext uri="{FF2B5EF4-FFF2-40B4-BE49-F238E27FC236}">
                    <a16:creationId xmlns:a16="http://schemas.microsoft.com/office/drawing/2014/main" id="{333B9368-77B5-44A5-B939-98D9FBB7E4D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3" name="Group 1082">
              <a:extLst>
                <a:ext uri="{FF2B5EF4-FFF2-40B4-BE49-F238E27FC236}">
                  <a16:creationId xmlns:a16="http://schemas.microsoft.com/office/drawing/2014/main" id="{7F5C6A1E-5D9A-4357-9403-A9A7E14C11EC}"/>
                </a:ext>
              </a:extLst>
            </p:cNvPr>
            <p:cNvGrpSpPr/>
            <p:nvPr/>
          </p:nvGrpSpPr>
          <p:grpSpPr>
            <a:xfrm>
              <a:off x="8214586" y="2812628"/>
              <a:ext cx="288445" cy="278661"/>
              <a:chOff x="6673854" y="2507796"/>
              <a:chExt cx="3493293" cy="3112295"/>
            </a:xfrm>
            <a:solidFill>
              <a:srgbClr val="97D9A9">
                <a:alpha val="89804"/>
              </a:srgbClr>
            </a:solidFill>
          </p:grpSpPr>
          <p:sp>
            <p:nvSpPr>
              <p:cNvPr id="1136" name="Freeform 523">
                <a:extLst>
                  <a:ext uri="{FF2B5EF4-FFF2-40B4-BE49-F238E27FC236}">
                    <a16:creationId xmlns:a16="http://schemas.microsoft.com/office/drawing/2014/main" id="{004C971B-302E-4318-ABAC-CDCDFFE29DB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7" name="Freeform 524">
                <a:extLst>
                  <a:ext uri="{FF2B5EF4-FFF2-40B4-BE49-F238E27FC236}">
                    <a16:creationId xmlns:a16="http://schemas.microsoft.com/office/drawing/2014/main" id="{E061EBC1-98A7-4994-9388-9110F2D391D1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8" name="Freeform 525">
                <a:extLst>
                  <a:ext uri="{FF2B5EF4-FFF2-40B4-BE49-F238E27FC236}">
                    <a16:creationId xmlns:a16="http://schemas.microsoft.com/office/drawing/2014/main" id="{2DE08E87-3B4A-4324-AB62-C447E570D8C9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4" name="Group 1083">
              <a:extLst>
                <a:ext uri="{FF2B5EF4-FFF2-40B4-BE49-F238E27FC236}">
                  <a16:creationId xmlns:a16="http://schemas.microsoft.com/office/drawing/2014/main" id="{C8755881-3AEB-4EA5-AD9C-AF1E4BE317AC}"/>
                </a:ext>
              </a:extLst>
            </p:cNvPr>
            <p:cNvGrpSpPr/>
            <p:nvPr/>
          </p:nvGrpSpPr>
          <p:grpSpPr>
            <a:xfrm>
              <a:off x="8361422" y="3362884"/>
              <a:ext cx="288445" cy="278660"/>
              <a:chOff x="6673854" y="2507796"/>
              <a:chExt cx="3493293" cy="3112295"/>
            </a:xfrm>
            <a:solidFill>
              <a:srgbClr val="3E92C8">
                <a:alpha val="50196"/>
              </a:srgbClr>
            </a:solidFill>
          </p:grpSpPr>
          <p:sp>
            <p:nvSpPr>
              <p:cNvPr id="1133" name="Freeform 527">
                <a:extLst>
                  <a:ext uri="{FF2B5EF4-FFF2-40B4-BE49-F238E27FC236}">
                    <a16:creationId xmlns:a16="http://schemas.microsoft.com/office/drawing/2014/main" id="{ABB8B31B-03D1-452D-BA86-017E74697B6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4" name="Freeform 528">
                <a:extLst>
                  <a:ext uri="{FF2B5EF4-FFF2-40B4-BE49-F238E27FC236}">
                    <a16:creationId xmlns:a16="http://schemas.microsoft.com/office/drawing/2014/main" id="{A38E5EB3-0268-4864-A075-484F24226511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5" name="Freeform 529">
                <a:extLst>
                  <a:ext uri="{FF2B5EF4-FFF2-40B4-BE49-F238E27FC236}">
                    <a16:creationId xmlns:a16="http://schemas.microsoft.com/office/drawing/2014/main" id="{9B2A61BF-B479-4E1C-90D3-45A7EE2C28C2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5" name="Group 1084">
              <a:extLst>
                <a:ext uri="{FF2B5EF4-FFF2-40B4-BE49-F238E27FC236}">
                  <a16:creationId xmlns:a16="http://schemas.microsoft.com/office/drawing/2014/main" id="{02E06B66-4921-42BC-87D3-B25490209AE7}"/>
                </a:ext>
              </a:extLst>
            </p:cNvPr>
            <p:cNvGrpSpPr/>
            <p:nvPr/>
          </p:nvGrpSpPr>
          <p:grpSpPr>
            <a:xfrm>
              <a:off x="8361422" y="3198076"/>
              <a:ext cx="288445" cy="278660"/>
              <a:chOff x="6673854" y="2507796"/>
              <a:chExt cx="3493293" cy="3112295"/>
            </a:xfrm>
            <a:solidFill>
              <a:srgbClr val="3E92C8">
                <a:alpha val="50196"/>
              </a:srgbClr>
            </a:solidFill>
          </p:grpSpPr>
          <p:sp>
            <p:nvSpPr>
              <p:cNvPr id="1130" name="Freeform 531">
                <a:extLst>
                  <a:ext uri="{FF2B5EF4-FFF2-40B4-BE49-F238E27FC236}">
                    <a16:creationId xmlns:a16="http://schemas.microsoft.com/office/drawing/2014/main" id="{AFBB3302-33D8-447B-98DB-22E33BFE818F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1" name="Freeform 532">
                <a:extLst>
                  <a:ext uri="{FF2B5EF4-FFF2-40B4-BE49-F238E27FC236}">
                    <a16:creationId xmlns:a16="http://schemas.microsoft.com/office/drawing/2014/main" id="{E3543E58-AEAA-496C-840E-588F02EBAA8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2" name="Freeform 533">
                <a:extLst>
                  <a:ext uri="{FF2B5EF4-FFF2-40B4-BE49-F238E27FC236}">
                    <a16:creationId xmlns:a16="http://schemas.microsoft.com/office/drawing/2014/main" id="{14056783-33DB-417D-921E-5732941AAC9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6" name="Group 1085">
              <a:extLst>
                <a:ext uri="{FF2B5EF4-FFF2-40B4-BE49-F238E27FC236}">
                  <a16:creationId xmlns:a16="http://schemas.microsoft.com/office/drawing/2014/main" id="{E52953AC-5F1B-41E7-9EC7-E7A193F8AB0D}"/>
                </a:ext>
              </a:extLst>
            </p:cNvPr>
            <p:cNvGrpSpPr/>
            <p:nvPr/>
          </p:nvGrpSpPr>
          <p:grpSpPr>
            <a:xfrm>
              <a:off x="8361422" y="3033267"/>
              <a:ext cx="288445" cy="278660"/>
              <a:chOff x="6673854" y="2507796"/>
              <a:chExt cx="3493293" cy="3112295"/>
            </a:xfrm>
            <a:solidFill>
              <a:srgbClr val="3E92C8">
                <a:alpha val="50196"/>
              </a:srgbClr>
            </a:solidFill>
          </p:grpSpPr>
          <p:sp>
            <p:nvSpPr>
              <p:cNvPr id="1127" name="Freeform 535">
                <a:extLst>
                  <a:ext uri="{FF2B5EF4-FFF2-40B4-BE49-F238E27FC236}">
                    <a16:creationId xmlns:a16="http://schemas.microsoft.com/office/drawing/2014/main" id="{8653B9BC-5199-4A97-ACD8-9711091ECDD9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8" name="Freeform 536">
                <a:extLst>
                  <a:ext uri="{FF2B5EF4-FFF2-40B4-BE49-F238E27FC236}">
                    <a16:creationId xmlns:a16="http://schemas.microsoft.com/office/drawing/2014/main" id="{6F0DB7A2-0D3A-4605-851F-D337F0CD5DB0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9" name="Freeform 537">
                <a:extLst>
                  <a:ext uri="{FF2B5EF4-FFF2-40B4-BE49-F238E27FC236}">
                    <a16:creationId xmlns:a16="http://schemas.microsoft.com/office/drawing/2014/main" id="{B0DB26CF-E4A2-4C40-AF6A-AD7B6EB81ABF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7" name="Group 1086">
              <a:extLst>
                <a:ext uri="{FF2B5EF4-FFF2-40B4-BE49-F238E27FC236}">
                  <a16:creationId xmlns:a16="http://schemas.microsoft.com/office/drawing/2014/main" id="{55DA6DA0-631D-476A-B212-AC461EDB65A3}"/>
                </a:ext>
              </a:extLst>
            </p:cNvPr>
            <p:cNvGrpSpPr/>
            <p:nvPr/>
          </p:nvGrpSpPr>
          <p:grpSpPr>
            <a:xfrm>
              <a:off x="8360996" y="2869383"/>
              <a:ext cx="288445" cy="278660"/>
              <a:chOff x="6673854" y="2507796"/>
              <a:chExt cx="3493293" cy="3112295"/>
            </a:xfrm>
            <a:solidFill>
              <a:srgbClr val="97D9A9">
                <a:alpha val="89804"/>
              </a:srgbClr>
            </a:solidFill>
          </p:grpSpPr>
          <p:sp>
            <p:nvSpPr>
              <p:cNvPr id="1124" name="Freeform 539">
                <a:extLst>
                  <a:ext uri="{FF2B5EF4-FFF2-40B4-BE49-F238E27FC236}">
                    <a16:creationId xmlns:a16="http://schemas.microsoft.com/office/drawing/2014/main" id="{F7CD6C0E-1036-4278-8DBE-F90A4BA3BDB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5" name="Freeform 540">
                <a:extLst>
                  <a:ext uri="{FF2B5EF4-FFF2-40B4-BE49-F238E27FC236}">
                    <a16:creationId xmlns:a16="http://schemas.microsoft.com/office/drawing/2014/main" id="{3C416060-B1D3-4910-AE42-EAA6E04F925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6" name="Freeform 541">
                <a:extLst>
                  <a:ext uri="{FF2B5EF4-FFF2-40B4-BE49-F238E27FC236}">
                    <a16:creationId xmlns:a16="http://schemas.microsoft.com/office/drawing/2014/main" id="{8A5CA4E2-A102-4D48-B04B-A9326946A27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8" name="Group 1087">
              <a:extLst>
                <a:ext uri="{FF2B5EF4-FFF2-40B4-BE49-F238E27FC236}">
                  <a16:creationId xmlns:a16="http://schemas.microsoft.com/office/drawing/2014/main" id="{449018D8-C5EF-4CE5-ABF3-550BD12D3082}"/>
                </a:ext>
              </a:extLst>
            </p:cNvPr>
            <p:cNvGrpSpPr/>
            <p:nvPr/>
          </p:nvGrpSpPr>
          <p:grpSpPr>
            <a:xfrm>
              <a:off x="8508812" y="3422126"/>
              <a:ext cx="288445" cy="278660"/>
              <a:chOff x="6673854" y="2507796"/>
              <a:chExt cx="3493293" cy="3112295"/>
            </a:xfrm>
            <a:solidFill>
              <a:srgbClr val="97D9A9">
                <a:alpha val="89804"/>
              </a:srgbClr>
            </a:solidFill>
          </p:grpSpPr>
          <p:sp>
            <p:nvSpPr>
              <p:cNvPr id="1121" name="Freeform 543">
                <a:extLst>
                  <a:ext uri="{FF2B5EF4-FFF2-40B4-BE49-F238E27FC236}">
                    <a16:creationId xmlns:a16="http://schemas.microsoft.com/office/drawing/2014/main" id="{D3C26E1C-37CC-4B51-B5ED-904E1EA004A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2" name="Freeform 544">
                <a:extLst>
                  <a:ext uri="{FF2B5EF4-FFF2-40B4-BE49-F238E27FC236}">
                    <a16:creationId xmlns:a16="http://schemas.microsoft.com/office/drawing/2014/main" id="{4DAC8F37-8ADC-43D1-A832-3D41D62824D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3" name="Freeform 545">
                <a:extLst>
                  <a:ext uri="{FF2B5EF4-FFF2-40B4-BE49-F238E27FC236}">
                    <a16:creationId xmlns:a16="http://schemas.microsoft.com/office/drawing/2014/main" id="{BD5F5036-AB56-4C7B-8674-D3FB10E534F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89" name="Group 1088">
              <a:extLst>
                <a:ext uri="{FF2B5EF4-FFF2-40B4-BE49-F238E27FC236}">
                  <a16:creationId xmlns:a16="http://schemas.microsoft.com/office/drawing/2014/main" id="{95A01A00-8201-4C3C-9E9A-31B9D5AC9A93}"/>
                </a:ext>
              </a:extLst>
            </p:cNvPr>
            <p:cNvGrpSpPr/>
            <p:nvPr/>
          </p:nvGrpSpPr>
          <p:grpSpPr>
            <a:xfrm>
              <a:off x="8508812" y="3257317"/>
              <a:ext cx="288445" cy="278660"/>
              <a:chOff x="6673854" y="2507796"/>
              <a:chExt cx="3493293" cy="3112295"/>
            </a:xfrm>
            <a:solidFill>
              <a:srgbClr val="3E92C8">
                <a:alpha val="50196"/>
              </a:srgbClr>
            </a:solidFill>
          </p:grpSpPr>
          <p:sp>
            <p:nvSpPr>
              <p:cNvPr id="1118" name="Freeform 547">
                <a:extLst>
                  <a:ext uri="{FF2B5EF4-FFF2-40B4-BE49-F238E27FC236}">
                    <a16:creationId xmlns:a16="http://schemas.microsoft.com/office/drawing/2014/main" id="{0BC327FC-D042-4512-BD4B-31D936407E0F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9" name="Freeform 548">
                <a:extLst>
                  <a:ext uri="{FF2B5EF4-FFF2-40B4-BE49-F238E27FC236}">
                    <a16:creationId xmlns:a16="http://schemas.microsoft.com/office/drawing/2014/main" id="{46F1AACC-3869-4318-A3A6-662D6B87263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0" name="Freeform 549">
                <a:extLst>
                  <a:ext uri="{FF2B5EF4-FFF2-40B4-BE49-F238E27FC236}">
                    <a16:creationId xmlns:a16="http://schemas.microsoft.com/office/drawing/2014/main" id="{6F82E7BD-3B62-42A7-A991-A230729BF5D0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90" name="Group 1089">
              <a:extLst>
                <a:ext uri="{FF2B5EF4-FFF2-40B4-BE49-F238E27FC236}">
                  <a16:creationId xmlns:a16="http://schemas.microsoft.com/office/drawing/2014/main" id="{B8D87675-6209-4674-9621-BCBD5922D336}"/>
                </a:ext>
              </a:extLst>
            </p:cNvPr>
            <p:cNvGrpSpPr/>
            <p:nvPr/>
          </p:nvGrpSpPr>
          <p:grpSpPr>
            <a:xfrm>
              <a:off x="8508812" y="3092508"/>
              <a:ext cx="288445" cy="278660"/>
              <a:chOff x="6673854" y="2507796"/>
              <a:chExt cx="3493293" cy="3112295"/>
            </a:xfrm>
            <a:solidFill>
              <a:srgbClr val="3E92C8">
                <a:alpha val="50196"/>
              </a:srgbClr>
            </a:solidFill>
          </p:grpSpPr>
          <p:sp>
            <p:nvSpPr>
              <p:cNvPr id="1115" name="Freeform 551">
                <a:extLst>
                  <a:ext uri="{FF2B5EF4-FFF2-40B4-BE49-F238E27FC236}">
                    <a16:creationId xmlns:a16="http://schemas.microsoft.com/office/drawing/2014/main" id="{E35FC24D-FF4A-4E12-B2D8-2C04A927A26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6" name="Freeform 552">
                <a:extLst>
                  <a:ext uri="{FF2B5EF4-FFF2-40B4-BE49-F238E27FC236}">
                    <a16:creationId xmlns:a16="http://schemas.microsoft.com/office/drawing/2014/main" id="{3CD5C4BC-DBAB-4D7B-B9F5-00A6FCA3559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7" name="Freeform 553">
                <a:extLst>
                  <a:ext uri="{FF2B5EF4-FFF2-40B4-BE49-F238E27FC236}">
                    <a16:creationId xmlns:a16="http://schemas.microsoft.com/office/drawing/2014/main" id="{57FE88C2-B312-44DB-99BF-58D714C2DBEF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91" name="Group 1090">
              <a:extLst>
                <a:ext uri="{FF2B5EF4-FFF2-40B4-BE49-F238E27FC236}">
                  <a16:creationId xmlns:a16="http://schemas.microsoft.com/office/drawing/2014/main" id="{10391649-39D4-44C4-8DEA-ABCF06E26051}"/>
                </a:ext>
              </a:extLst>
            </p:cNvPr>
            <p:cNvGrpSpPr/>
            <p:nvPr/>
          </p:nvGrpSpPr>
          <p:grpSpPr>
            <a:xfrm>
              <a:off x="8508386" y="2928624"/>
              <a:ext cx="288445" cy="278660"/>
              <a:chOff x="6673854" y="2507796"/>
              <a:chExt cx="3493293" cy="3112295"/>
            </a:xfrm>
            <a:solidFill>
              <a:srgbClr val="3E92C8">
                <a:alpha val="50196"/>
              </a:srgbClr>
            </a:solidFill>
          </p:grpSpPr>
          <p:sp>
            <p:nvSpPr>
              <p:cNvPr id="1112" name="Freeform 555">
                <a:extLst>
                  <a:ext uri="{FF2B5EF4-FFF2-40B4-BE49-F238E27FC236}">
                    <a16:creationId xmlns:a16="http://schemas.microsoft.com/office/drawing/2014/main" id="{E1B9F0E5-D408-4A58-B716-907EA8443064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3" name="Freeform 556">
                <a:extLst>
                  <a:ext uri="{FF2B5EF4-FFF2-40B4-BE49-F238E27FC236}">
                    <a16:creationId xmlns:a16="http://schemas.microsoft.com/office/drawing/2014/main" id="{133145F6-6938-4D37-8C07-1C98C4CBC8B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4" name="Freeform 557">
                <a:extLst>
                  <a:ext uri="{FF2B5EF4-FFF2-40B4-BE49-F238E27FC236}">
                    <a16:creationId xmlns:a16="http://schemas.microsoft.com/office/drawing/2014/main" id="{DB3BE607-C562-4915-9B56-FDF3855A446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92" name="Group 1091">
              <a:extLst>
                <a:ext uri="{FF2B5EF4-FFF2-40B4-BE49-F238E27FC236}">
                  <a16:creationId xmlns:a16="http://schemas.microsoft.com/office/drawing/2014/main" id="{6EC62D8D-5FB0-4457-B3B7-A4A108AB9551}"/>
                </a:ext>
              </a:extLst>
            </p:cNvPr>
            <p:cNvGrpSpPr/>
            <p:nvPr/>
          </p:nvGrpSpPr>
          <p:grpSpPr>
            <a:xfrm>
              <a:off x="7923767" y="2537905"/>
              <a:ext cx="288445" cy="278661"/>
              <a:chOff x="6673852" y="2507796"/>
              <a:chExt cx="3493295" cy="3112292"/>
            </a:xfrm>
            <a:solidFill>
              <a:srgbClr val="97D9A9">
                <a:alpha val="89804"/>
              </a:srgbClr>
            </a:solidFill>
          </p:grpSpPr>
          <p:sp>
            <p:nvSpPr>
              <p:cNvPr id="1109" name="Freeform 642">
                <a:extLst>
                  <a:ext uri="{FF2B5EF4-FFF2-40B4-BE49-F238E27FC236}">
                    <a16:creationId xmlns:a16="http://schemas.microsoft.com/office/drawing/2014/main" id="{AFC1A485-3B5D-4559-AEF1-DAA39774D4FF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0" name="Freeform 643">
                <a:extLst>
                  <a:ext uri="{FF2B5EF4-FFF2-40B4-BE49-F238E27FC236}">
                    <a16:creationId xmlns:a16="http://schemas.microsoft.com/office/drawing/2014/main" id="{901A99A1-A8B4-4792-9E14-C98F6EE85B5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1" name="Freeform 644">
                <a:extLst>
                  <a:ext uri="{FF2B5EF4-FFF2-40B4-BE49-F238E27FC236}">
                    <a16:creationId xmlns:a16="http://schemas.microsoft.com/office/drawing/2014/main" id="{874CAF7A-324F-4EC2-AACF-95D8FB355D1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93" name="Group 1092">
              <a:extLst>
                <a:ext uri="{FF2B5EF4-FFF2-40B4-BE49-F238E27FC236}">
                  <a16:creationId xmlns:a16="http://schemas.microsoft.com/office/drawing/2014/main" id="{71209BB3-8331-4466-8E1A-841C3B711B27}"/>
                </a:ext>
              </a:extLst>
            </p:cNvPr>
            <p:cNvGrpSpPr/>
            <p:nvPr/>
          </p:nvGrpSpPr>
          <p:grpSpPr>
            <a:xfrm>
              <a:off x="8067989" y="2594334"/>
              <a:ext cx="288445" cy="278661"/>
              <a:chOff x="6673854" y="2507796"/>
              <a:chExt cx="3493293" cy="3112295"/>
            </a:xfrm>
            <a:solidFill>
              <a:srgbClr val="97D9A9">
                <a:alpha val="89804"/>
              </a:srgbClr>
            </a:solidFill>
          </p:grpSpPr>
          <p:sp>
            <p:nvSpPr>
              <p:cNvPr id="1106" name="Freeform 646">
                <a:extLst>
                  <a:ext uri="{FF2B5EF4-FFF2-40B4-BE49-F238E27FC236}">
                    <a16:creationId xmlns:a16="http://schemas.microsoft.com/office/drawing/2014/main" id="{95D01BA8-1CFF-4C15-B19E-29E384BE65D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7" name="Freeform 647">
                <a:extLst>
                  <a:ext uri="{FF2B5EF4-FFF2-40B4-BE49-F238E27FC236}">
                    <a16:creationId xmlns:a16="http://schemas.microsoft.com/office/drawing/2014/main" id="{70C77B40-421D-47FB-8683-23478AED613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8" name="Freeform 648">
                <a:extLst>
                  <a:ext uri="{FF2B5EF4-FFF2-40B4-BE49-F238E27FC236}">
                    <a16:creationId xmlns:a16="http://schemas.microsoft.com/office/drawing/2014/main" id="{EF7A2495-9A26-45AF-A900-ABE50211D4E3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94" name="Group 1093">
              <a:extLst>
                <a:ext uri="{FF2B5EF4-FFF2-40B4-BE49-F238E27FC236}">
                  <a16:creationId xmlns:a16="http://schemas.microsoft.com/office/drawing/2014/main" id="{6F4850FD-69CA-40D8-82E7-69E651636603}"/>
                </a:ext>
              </a:extLst>
            </p:cNvPr>
            <p:cNvGrpSpPr/>
            <p:nvPr/>
          </p:nvGrpSpPr>
          <p:grpSpPr>
            <a:xfrm>
              <a:off x="8212211" y="2650763"/>
              <a:ext cx="288445" cy="278661"/>
              <a:chOff x="6673854" y="2507796"/>
              <a:chExt cx="3493293" cy="3112295"/>
            </a:xfrm>
            <a:solidFill>
              <a:srgbClr val="97D9A9">
                <a:alpha val="89804"/>
              </a:srgbClr>
            </a:solidFill>
          </p:grpSpPr>
          <p:sp>
            <p:nvSpPr>
              <p:cNvPr id="1103" name="Freeform 650">
                <a:extLst>
                  <a:ext uri="{FF2B5EF4-FFF2-40B4-BE49-F238E27FC236}">
                    <a16:creationId xmlns:a16="http://schemas.microsoft.com/office/drawing/2014/main" id="{69DEC5AF-0225-4726-B0BB-69638610CA00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4" name="Freeform 651">
                <a:extLst>
                  <a:ext uri="{FF2B5EF4-FFF2-40B4-BE49-F238E27FC236}">
                    <a16:creationId xmlns:a16="http://schemas.microsoft.com/office/drawing/2014/main" id="{2CB4F7E9-1665-491D-A13C-75A45D562E3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5" name="Freeform 652">
                <a:extLst>
                  <a:ext uri="{FF2B5EF4-FFF2-40B4-BE49-F238E27FC236}">
                    <a16:creationId xmlns:a16="http://schemas.microsoft.com/office/drawing/2014/main" id="{DF648903-28E5-4058-8051-B2D424370F5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95" name="Group 1094">
              <a:extLst>
                <a:ext uri="{FF2B5EF4-FFF2-40B4-BE49-F238E27FC236}">
                  <a16:creationId xmlns:a16="http://schemas.microsoft.com/office/drawing/2014/main" id="{200D477E-EE72-431C-89DD-02520542A201}"/>
                </a:ext>
              </a:extLst>
            </p:cNvPr>
            <p:cNvGrpSpPr/>
            <p:nvPr/>
          </p:nvGrpSpPr>
          <p:grpSpPr>
            <a:xfrm>
              <a:off x="8358621" y="2707519"/>
              <a:ext cx="288445" cy="278660"/>
              <a:chOff x="6673854" y="2507796"/>
              <a:chExt cx="3493293" cy="3112295"/>
            </a:xfrm>
            <a:solidFill>
              <a:srgbClr val="3E92C8">
                <a:alpha val="50196"/>
              </a:srgbClr>
            </a:solidFill>
          </p:grpSpPr>
          <p:sp>
            <p:nvSpPr>
              <p:cNvPr id="1100" name="Freeform 654">
                <a:extLst>
                  <a:ext uri="{FF2B5EF4-FFF2-40B4-BE49-F238E27FC236}">
                    <a16:creationId xmlns:a16="http://schemas.microsoft.com/office/drawing/2014/main" id="{D6FB5F6B-E40D-473D-B65A-8D6BAAF0357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1" name="Freeform 655">
                <a:extLst>
                  <a:ext uri="{FF2B5EF4-FFF2-40B4-BE49-F238E27FC236}">
                    <a16:creationId xmlns:a16="http://schemas.microsoft.com/office/drawing/2014/main" id="{96F0674C-F4D4-4C80-9C1F-32F6B8227F21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2" name="Freeform 656">
                <a:extLst>
                  <a:ext uri="{FF2B5EF4-FFF2-40B4-BE49-F238E27FC236}">
                    <a16:creationId xmlns:a16="http://schemas.microsoft.com/office/drawing/2014/main" id="{25ED6D8A-08AF-4405-B085-D0295182BC56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96" name="Group 1095">
              <a:extLst>
                <a:ext uri="{FF2B5EF4-FFF2-40B4-BE49-F238E27FC236}">
                  <a16:creationId xmlns:a16="http://schemas.microsoft.com/office/drawing/2014/main" id="{70FA7BDB-E54A-4A7C-BD4C-BE238094EE29}"/>
                </a:ext>
              </a:extLst>
            </p:cNvPr>
            <p:cNvGrpSpPr/>
            <p:nvPr/>
          </p:nvGrpSpPr>
          <p:grpSpPr>
            <a:xfrm>
              <a:off x="8506011" y="2766760"/>
              <a:ext cx="288445" cy="278660"/>
              <a:chOff x="6673854" y="2507796"/>
              <a:chExt cx="3493293" cy="3112295"/>
            </a:xfrm>
            <a:solidFill>
              <a:srgbClr val="3E92C8">
                <a:alpha val="50196"/>
              </a:srgbClr>
            </a:solidFill>
          </p:grpSpPr>
          <p:sp>
            <p:nvSpPr>
              <p:cNvPr id="1097" name="Freeform 658">
                <a:extLst>
                  <a:ext uri="{FF2B5EF4-FFF2-40B4-BE49-F238E27FC236}">
                    <a16:creationId xmlns:a16="http://schemas.microsoft.com/office/drawing/2014/main" id="{2E483C0D-96C4-481C-9DA1-38A1EC1A602F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8" name="Freeform 659">
                <a:extLst>
                  <a:ext uri="{FF2B5EF4-FFF2-40B4-BE49-F238E27FC236}">
                    <a16:creationId xmlns:a16="http://schemas.microsoft.com/office/drawing/2014/main" id="{1982C160-1B1E-4C57-BBB8-3A4851E7866B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9" name="Freeform 660">
                <a:extLst>
                  <a:ext uri="{FF2B5EF4-FFF2-40B4-BE49-F238E27FC236}">
                    <a16:creationId xmlns:a16="http://schemas.microsoft.com/office/drawing/2014/main" id="{C87DD833-26AF-4DA2-9006-F1DDC0331825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72" name="Group 1171">
            <a:extLst>
              <a:ext uri="{FF2B5EF4-FFF2-40B4-BE49-F238E27FC236}">
                <a16:creationId xmlns:a16="http://schemas.microsoft.com/office/drawing/2014/main" id="{40CDC9FC-E297-4285-9895-41AC899E1798}"/>
              </a:ext>
            </a:extLst>
          </p:cNvPr>
          <p:cNvGrpSpPr/>
          <p:nvPr/>
        </p:nvGrpSpPr>
        <p:grpSpPr>
          <a:xfrm flipH="1">
            <a:off x="9471501" y="3048086"/>
            <a:ext cx="573320" cy="849996"/>
            <a:chOff x="6168570" y="2341066"/>
            <a:chExt cx="2003149" cy="2340838"/>
          </a:xfrm>
          <a:solidFill>
            <a:srgbClr val="3E92C8">
              <a:alpha val="50196"/>
            </a:srgbClr>
          </a:solidFill>
        </p:grpSpPr>
        <p:grpSp>
          <p:nvGrpSpPr>
            <p:cNvPr id="1173" name="Group 1172">
              <a:extLst>
                <a:ext uri="{FF2B5EF4-FFF2-40B4-BE49-F238E27FC236}">
                  <a16:creationId xmlns:a16="http://schemas.microsoft.com/office/drawing/2014/main" id="{E1DBC720-5909-4B80-BA19-B3B2C3A6F851}"/>
                </a:ext>
              </a:extLst>
            </p:cNvPr>
            <p:cNvGrpSpPr/>
            <p:nvPr/>
          </p:nvGrpSpPr>
          <p:grpSpPr>
            <a:xfrm>
              <a:off x="6174996" y="3660293"/>
              <a:ext cx="661482" cy="560933"/>
              <a:chOff x="6673854" y="2507796"/>
              <a:chExt cx="3493293" cy="3112296"/>
            </a:xfrm>
            <a:grpFill/>
          </p:grpSpPr>
          <p:sp>
            <p:nvSpPr>
              <p:cNvPr id="1270" name="Freeform 479">
                <a:extLst>
                  <a:ext uri="{FF2B5EF4-FFF2-40B4-BE49-F238E27FC236}">
                    <a16:creationId xmlns:a16="http://schemas.microsoft.com/office/drawing/2014/main" id="{BBA21B29-9FB1-4C62-9B93-332E7F55A981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1" name="Freeform 480">
                <a:extLst>
                  <a:ext uri="{FF2B5EF4-FFF2-40B4-BE49-F238E27FC236}">
                    <a16:creationId xmlns:a16="http://schemas.microsoft.com/office/drawing/2014/main" id="{42108A6F-D3F5-48DF-B719-C72FEEB1F016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2" name="Freeform 481">
                <a:extLst>
                  <a:ext uri="{FF2B5EF4-FFF2-40B4-BE49-F238E27FC236}">
                    <a16:creationId xmlns:a16="http://schemas.microsoft.com/office/drawing/2014/main" id="{FE881E2E-BA3C-4F43-9D19-9E5E92A0C2BD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4" name="Group 1173">
              <a:extLst>
                <a:ext uri="{FF2B5EF4-FFF2-40B4-BE49-F238E27FC236}">
                  <a16:creationId xmlns:a16="http://schemas.microsoft.com/office/drawing/2014/main" id="{2F1A1E59-EB8B-48C7-9DC0-B395A9459EC2}"/>
                </a:ext>
              </a:extLst>
            </p:cNvPr>
            <p:cNvGrpSpPr/>
            <p:nvPr/>
          </p:nvGrpSpPr>
          <p:grpSpPr>
            <a:xfrm>
              <a:off x="6505737" y="3773882"/>
              <a:ext cx="661482" cy="560933"/>
              <a:chOff x="6673854" y="2507796"/>
              <a:chExt cx="3493293" cy="3112296"/>
            </a:xfrm>
            <a:grpFill/>
          </p:grpSpPr>
          <p:sp>
            <p:nvSpPr>
              <p:cNvPr id="1267" name="Freeform 483">
                <a:extLst>
                  <a:ext uri="{FF2B5EF4-FFF2-40B4-BE49-F238E27FC236}">
                    <a16:creationId xmlns:a16="http://schemas.microsoft.com/office/drawing/2014/main" id="{97FE05AF-5ECD-48C8-938C-C68F59071C76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8" name="Freeform 484">
                <a:extLst>
                  <a:ext uri="{FF2B5EF4-FFF2-40B4-BE49-F238E27FC236}">
                    <a16:creationId xmlns:a16="http://schemas.microsoft.com/office/drawing/2014/main" id="{05C140E5-7864-4EE6-91C0-5DB83869E2E1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9" name="Freeform 485">
                <a:extLst>
                  <a:ext uri="{FF2B5EF4-FFF2-40B4-BE49-F238E27FC236}">
                    <a16:creationId xmlns:a16="http://schemas.microsoft.com/office/drawing/2014/main" id="{248BEE58-1768-4527-BF35-C31099B0FA6F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5" name="Group 1174">
              <a:extLst>
                <a:ext uri="{FF2B5EF4-FFF2-40B4-BE49-F238E27FC236}">
                  <a16:creationId xmlns:a16="http://schemas.microsoft.com/office/drawing/2014/main" id="{2F55B2DE-F447-4D64-A7F9-CC185001544D}"/>
                </a:ext>
              </a:extLst>
            </p:cNvPr>
            <p:cNvGrpSpPr/>
            <p:nvPr/>
          </p:nvGrpSpPr>
          <p:grpSpPr>
            <a:xfrm>
              <a:off x="6836478" y="3887471"/>
              <a:ext cx="661482" cy="560933"/>
              <a:chOff x="6673854" y="2507796"/>
              <a:chExt cx="3493293" cy="3112296"/>
            </a:xfrm>
            <a:grpFill/>
          </p:grpSpPr>
          <p:sp>
            <p:nvSpPr>
              <p:cNvPr id="1264" name="Freeform 487">
                <a:extLst>
                  <a:ext uri="{FF2B5EF4-FFF2-40B4-BE49-F238E27FC236}">
                    <a16:creationId xmlns:a16="http://schemas.microsoft.com/office/drawing/2014/main" id="{C7AD0C75-C7F3-4CE4-B886-81B1815A9349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5" name="Freeform 488">
                <a:extLst>
                  <a:ext uri="{FF2B5EF4-FFF2-40B4-BE49-F238E27FC236}">
                    <a16:creationId xmlns:a16="http://schemas.microsoft.com/office/drawing/2014/main" id="{10F14AE0-FA51-42E2-AF11-0BF603308268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6" name="Freeform 489">
                <a:extLst>
                  <a:ext uri="{FF2B5EF4-FFF2-40B4-BE49-F238E27FC236}">
                    <a16:creationId xmlns:a16="http://schemas.microsoft.com/office/drawing/2014/main" id="{52867246-882D-4FFD-B34C-DCBB4C245BB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6" name="Group 1175">
              <a:extLst>
                <a:ext uri="{FF2B5EF4-FFF2-40B4-BE49-F238E27FC236}">
                  <a16:creationId xmlns:a16="http://schemas.microsoft.com/office/drawing/2014/main" id="{83BF3876-B276-4FA9-ADBF-C0C320C4EAD4}"/>
                </a:ext>
              </a:extLst>
            </p:cNvPr>
            <p:cNvGrpSpPr/>
            <p:nvPr/>
          </p:nvGrpSpPr>
          <p:grpSpPr>
            <a:xfrm>
              <a:off x="6174996" y="3328540"/>
              <a:ext cx="661482" cy="560933"/>
              <a:chOff x="6673854" y="2507796"/>
              <a:chExt cx="3493293" cy="3112296"/>
            </a:xfrm>
            <a:grpFill/>
          </p:grpSpPr>
          <p:sp>
            <p:nvSpPr>
              <p:cNvPr id="1261" name="Freeform 491">
                <a:extLst>
                  <a:ext uri="{FF2B5EF4-FFF2-40B4-BE49-F238E27FC236}">
                    <a16:creationId xmlns:a16="http://schemas.microsoft.com/office/drawing/2014/main" id="{B51CA1AD-3FAD-4AF2-B941-157097F2AB6A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2" name="Freeform 492">
                <a:extLst>
                  <a:ext uri="{FF2B5EF4-FFF2-40B4-BE49-F238E27FC236}">
                    <a16:creationId xmlns:a16="http://schemas.microsoft.com/office/drawing/2014/main" id="{1051D068-1C28-4BED-9725-3EB990740DB2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3" name="Freeform 493">
                <a:extLst>
                  <a:ext uri="{FF2B5EF4-FFF2-40B4-BE49-F238E27FC236}">
                    <a16:creationId xmlns:a16="http://schemas.microsoft.com/office/drawing/2014/main" id="{9642B57E-4DB0-4125-AE24-EB234C94AA3D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7" name="Group 1176">
              <a:extLst>
                <a:ext uri="{FF2B5EF4-FFF2-40B4-BE49-F238E27FC236}">
                  <a16:creationId xmlns:a16="http://schemas.microsoft.com/office/drawing/2014/main" id="{2D9EC382-FBD6-4B97-9A63-2F313631E779}"/>
                </a:ext>
              </a:extLst>
            </p:cNvPr>
            <p:cNvGrpSpPr/>
            <p:nvPr/>
          </p:nvGrpSpPr>
          <p:grpSpPr>
            <a:xfrm>
              <a:off x="6505737" y="3442129"/>
              <a:ext cx="661482" cy="560933"/>
              <a:chOff x="6673854" y="2507796"/>
              <a:chExt cx="3493293" cy="3112296"/>
            </a:xfrm>
            <a:grpFill/>
          </p:grpSpPr>
          <p:sp>
            <p:nvSpPr>
              <p:cNvPr id="1258" name="Freeform 495">
                <a:extLst>
                  <a:ext uri="{FF2B5EF4-FFF2-40B4-BE49-F238E27FC236}">
                    <a16:creationId xmlns:a16="http://schemas.microsoft.com/office/drawing/2014/main" id="{407A7BE1-32F7-4443-ADA7-23318090ECF8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9" name="Freeform 496">
                <a:extLst>
                  <a:ext uri="{FF2B5EF4-FFF2-40B4-BE49-F238E27FC236}">
                    <a16:creationId xmlns:a16="http://schemas.microsoft.com/office/drawing/2014/main" id="{3CA206C6-4772-4039-8836-555B088A617C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0" name="Freeform 497">
                <a:extLst>
                  <a:ext uri="{FF2B5EF4-FFF2-40B4-BE49-F238E27FC236}">
                    <a16:creationId xmlns:a16="http://schemas.microsoft.com/office/drawing/2014/main" id="{6F4B797C-7C16-4532-879D-6430C5B67850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8" name="Group 1177">
              <a:extLst>
                <a:ext uri="{FF2B5EF4-FFF2-40B4-BE49-F238E27FC236}">
                  <a16:creationId xmlns:a16="http://schemas.microsoft.com/office/drawing/2014/main" id="{095D3DDB-1B1D-47EC-B084-58040CA6FD6C}"/>
                </a:ext>
              </a:extLst>
            </p:cNvPr>
            <p:cNvGrpSpPr/>
            <p:nvPr/>
          </p:nvGrpSpPr>
          <p:grpSpPr>
            <a:xfrm>
              <a:off x="6836478" y="3555718"/>
              <a:ext cx="661482" cy="560933"/>
              <a:chOff x="6673854" y="2507796"/>
              <a:chExt cx="3493293" cy="3112296"/>
            </a:xfrm>
            <a:grpFill/>
          </p:grpSpPr>
          <p:sp>
            <p:nvSpPr>
              <p:cNvPr id="1255" name="Freeform 499">
                <a:extLst>
                  <a:ext uri="{FF2B5EF4-FFF2-40B4-BE49-F238E27FC236}">
                    <a16:creationId xmlns:a16="http://schemas.microsoft.com/office/drawing/2014/main" id="{3E5D25DB-DD36-426A-8D8F-12F6BB1A577A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6" name="Freeform 500">
                <a:extLst>
                  <a:ext uri="{FF2B5EF4-FFF2-40B4-BE49-F238E27FC236}">
                    <a16:creationId xmlns:a16="http://schemas.microsoft.com/office/drawing/2014/main" id="{F1CFE116-C985-4F32-8CA1-2442B72083EB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7" name="Freeform 501">
                <a:extLst>
                  <a:ext uri="{FF2B5EF4-FFF2-40B4-BE49-F238E27FC236}">
                    <a16:creationId xmlns:a16="http://schemas.microsoft.com/office/drawing/2014/main" id="{DAC54494-FC0D-4CAA-AB94-8E1DC7919E4B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9" name="Group 1178">
              <a:extLst>
                <a:ext uri="{FF2B5EF4-FFF2-40B4-BE49-F238E27FC236}">
                  <a16:creationId xmlns:a16="http://schemas.microsoft.com/office/drawing/2014/main" id="{FE0A7435-18E0-4B10-B4BF-18DB06E5B54B}"/>
                </a:ext>
              </a:extLst>
            </p:cNvPr>
            <p:cNvGrpSpPr/>
            <p:nvPr/>
          </p:nvGrpSpPr>
          <p:grpSpPr>
            <a:xfrm>
              <a:off x="6174995" y="2996788"/>
              <a:ext cx="661482" cy="560933"/>
              <a:chOff x="6673852" y="2507796"/>
              <a:chExt cx="3493295" cy="3112291"/>
            </a:xfrm>
            <a:grpFill/>
          </p:grpSpPr>
          <p:sp>
            <p:nvSpPr>
              <p:cNvPr id="1252" name="Freeform 503">
                <a:extLst>
                  <a:ext uri="{FF2B5EF4-FFF2-40B4-BE49-F238E27FC236}">
                    <a16:creationId xmlns:a16="http://schemas.microsoft.com/office/drawing/2014/main" id="{206C6815-64F1-4E0F-9F9B-DEEBCF3115C8}"/>
                  </a:ext>
                </a:extLst>
              </p:cNvPr>
              <p:cNvSpPr/>
              <p:nvPr/>
            </p:nvSpPr>
            <p:spPr>
              <a:xfrm>
                <a:off x="6673852" y="3138031"/>
                <a:ext cx="1764508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3" name="Freeform 504">
                <a:extLst>
                  <a:ext uri="{FF2B5EF4-FFF2-40B4-BE49-F238E27FC236}">
                    <a16:creationId xmlns:a16="http://schemas.microsoft.com/office/drawing/2014/main" id="{6232658B-7AB4-4F96-BC2A-07FD2A80C570}"/>
                  </a:ext>
                </a:extLst>
              </p:cNvPr>
              <p:cNvSpPr/>
              <p:nvPr/>
            </p:nvSpPr>
            <p:spPr>
              <a:xfrm>
                <a:off x="8427248" y="3149146"/>
                <a:ext cx="1739899" cy="2470149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4" name="Freeform 505">
                <a:extLst>
                  <a:ext uri="{FF2B5EF4-FFF2-40B4-BE49-F238E27FC236}">
                    <a16:creationId xmlns:a16="http://schemas.microsoft.com/office/drawing/2014/main" id="{79AFE8A4-68CF-4439-87AF-E3309F35B800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3" cy="1270002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0" name="Group 1179">
              <a:extLst>
                <a:ext uri="{FF2B5EF4-FFF2-40B4-BE49-F238E27FC236}">
                  <a16:creationId xmlns:a16="http://schemas.microsoft.com/office/drawing/2014/main" id="{4D51B354-8DB3-466D-B6FF-8AB87D074B31}"/>
                </a:ext>
              </a:extLst>
            </p:cNvPr>
            <p:cNvGrpSpPr/>
            <p:nvPr/>
          </p:nvGrpSpPr>
          <p:grpSpPr>
            <a:xfrm>
              <a:off x="6505738" y="3110376"/>
              <a:ext cx="661482" cy="560933"/>
              <a:chOff x="6673854" y="2507796"/>
              <a:chExt cx="3493293" cy="3112296"/>
            </a:xfrm>
            <a:grpFill/>
          </p:grpSpPr>
          <p:sp>
            <p:nvSpPr>
              <p:cNvPr id="1249" name="Freeform 507">
                <a:extLst>
                  <a:ext uri="{FF2B5EF4-FFF2-40B4-BE49-F238E27FC236}">
                    <a16:creationId xmlns:a16="http://schemas.microsoft.com/office/drawing/2014/main" id="{E693EF07-7797-464F-B11D-64CE98EE7FC1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0" name="Freeform 508">
                <a:extLst>
                  <a:ext uri="{FF2B5EF4-FFF2-40B4-BE49-F238E27FC236}">
                    <a16:creationId xmlns:a16="http://schemas.microsoft.com/office/drawing/2014/main" id="{31E5FDAC-E4CD-4DFC-AEFF-13CD6494B92A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1" name="Freeform 509">
                <a:extLst>
                  <a:ext uri="{FF2B5EF4-FFF2-40B4-BE49-F238E27FC236}">
                    <a16:creationId xmlns:a16="http://schemas.microsoft.com/office/drawing/2014/main" id="{3C3CDC05-0B20-46ED-977A-7970E42CCB8D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1" name="Group 1180">
              <a:extLst>
                <a:ext uri="{FF2B5EF4-FFF2-40B4-BE49-F238E27FC236}">
                  <a16:creationId xmlns:a16="http://schemas.microsoft.com/office/drawing/2014/main" id="{ABA8AAB9-65AD-4341-95AA-C95E064C6C1B}"/>
                </a:ext>
              </a:extLst>
            </p:cNvPr>
            <p:cNvGrpSpPr/>
            <p:nvPr/>
          </p:nvGrpSpPr>
          <p:grpSpPr>
            <a:xfrm>
              <a:off x="6836478" y="3223965"/>
              <a:ext cx="661482" cy="560933"/>
              <a:chOff x="6673854" y="2507796"/>
              <a:chExt cx="3493293" cy="3112296"/>
            </a:xfrm>
            <a:grpFill/>
          </p:grpSpPr>
          <p:sp>
            <p:nvSpPr>
              <p:cNvPr id="1246" name="Freeform 511">
                <a:extLst>
                  <a:ext uri="{FF2B5EF4-FFF2-40B4-BE49-F238E27FC236}">
                    <a16:creationId xmlns:a16="http://schemas.microsoft.com/office/drawing/2014/main" id="{AE7F0D93-E1E7-44DF-926D-39F2BEF775B6}"/>
                  </a:ext>
                </a:extLst>
              </p:cNvPr>
              <p:cNvSpPr/>
              <p:nvPr/>
            </p:nvSpPr>
            <p:spPr>
              <a:xfrm>
                <a:off x="6673854" y="3138032"/>
                <a:ext cx="1764503" cy="2482060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7" name="Freeform 512">
                <a:extLst>
                  <a:ext uri="{FF2B5EF4-FFF2-40B4-BE49-F238E27FC236}">
                    <a16:creationId xmlns:a16="http://schemas.microsoft.com/office/drawing/2014/main" id="{7811D0F3-0609-4999-A269-2AE2EF9F4EA0}"/>
                  </a:ext>
                </a:extLst>
              </p:cNvPr>
              <p:cNvSpPr/>
              <p:nvPr/>
            </p:nvSpPr>
            <p:spPr>
              <a:xfrm>
                <a:off x="8427249" y="3149147"/>
                <a:ext cx="1739898" cy="2470148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8" name="Freeform 513">
                <a:extLst>
                  <a:ext uri="{FF2B5EF4-FFF2-40B4-BE49-F238E27FC236}">
                    <a16:creationId xmlns:a16="http://schemas.microsoft.com/office/drawing/2014/main" id="{C772567E-058D-4FA6-B840-4CB9CC422121}"/>
                  </a:ext>
                </a:extLst>
              </p:cNvPr>
              <p:cNvSpPr/>
              <p:nvPr/>
            </p:nvSpPr>
            <p:spPr>
              <a:xfrm>
                <a:off x="6674646" y="2507796"/>
                <a:ext cx="3492501" cy="1269999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2" name="Group 1181">
              <a:extLst>
                <a:ext uri="{FF2B5EF4-FFF2-40B4-BE49-F238E27FC236}">
                  <a16:creationId xmlns:a16="http://schemas.microsoft.com/office/drawing/2014/main" id="{29077299-70D3-4FC9-B2E6-194B7CE6C39A}"/>
                </a:ext>
              </a:extLst>
            </p:cNvPr>
            <p:cNvGrpSpPr/>
            <p:nvPr/>
          </p:nvGrpSpPr>
          <p:grpSpPr>
            <a:xfrm>
              <a:off x="6174016" y="2666892"/>
              <a:ext cx="661482" cy="560934"/>
              <a:chOff x="6673852" y="2507796"/>
              <a:chExt cx="3493295" cy="3112292"/>
            </a:xfrm>
            <a:grpFill/>
          </p:grpSpPr>
          <p:sp>
            <p:nvSpPr>
              <p:cNvPr id="1243" name="Freeform 515">
                <a:extLst>
                  <a:ext uri="{FF2B5EF4-FFF2-40B4-BE49-F238E27FC236}">
                    <a16:creationId xmlns:a16="http://schemas.microsoft.com/office/drawing/2014/main" id="{AAF781E2-18FC-4049-9A47-F88F9324359D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4" name="Freeform 516">
                <a:extLst>
                  <a:ext uri="{FF2B5EF4-FFF2-40B4-BE49-F238E27FC236}">
                    <a16:creationId xmlns:a16="http://schemas.microsoft.com/office/drawing/2014/main" id="{4DCBFB67-DF0D-4DDC-A3D5-34599FD1D060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5" name="Freeform 517">
                <a:extLst>
                  <a:ext uri="{FF2B5EF4-FFF2-40B4-BE49-F238E27FC236}">
                    <a16:creationId xmlns:a16="http://schemas.microsoft.com/office/drawing/2014/main" id="{FAAFF621-2490-4AF2-81B1-12A892729AA9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3" name="Group 1182">
              <a:extLst>
                <a:ext uri="{FF2B5EF4-FFF2-40B4-BE49-F238E27FC236}">
                  <a16:creationId xmlns:a16="http://schemas.microsoft.com/office/drawing/2014/main" id="{FE6A76A5-6AFD-4DF3-9A1E-FC32C438F415}"/>
                </a:ext>
              </a:extLst>
            </p:cNvPr>
            <p:cNvGrpSpPr/>
            <p:nvPr/>
          </p:nvGrpSpPr>
          <p:grpSpPr>
            <a:xfrm>
              <a:off x="6504756" y="2780481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1240" name="Freeform 519">
                <a:extLst>
                  <a:ext uri="{FF2B5EF4-FFF2-40B4-BE49-F238E27FC236}">
                    <a16:creationId xmlns:a16="http://schemas.microsoft.com/office/drawing/2014/main" id="{61395A92-A0BA-4756-A843-7A37BAC1EB7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1" name="Freeform 520">
                <a:extLst>
                  <a:ext uri="{FF2B5EF4-FFF2-40B4-BE49-F238E27FC236}">
                    <a16:creationId xmlns:a16="http://schemas.microsoft.com/office/drawing/2014/main" id="{653C5D51-D173-47D3-BFCD-A3D06582A373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2" name="Freeform 521">
                <a:extLst>
                  <a:ext uri="{FF2B5EF4-FFF2-40B4-BE49-F238E27FC236}">
                    <a16:creationId xmlns:a16="http://schemas.microsoft.com/office/drawing/2014/main" id="{726793BD-8927-42F2-B206-3137DF67BC7C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4" name="Group 1183">
              <a:extLst>
                <a:ext uri="{FF2B5EF4-FFF2-40B4-BE49-F238E27FC236}">
                  <a16:creationId xmlns:a16="http://schemas.microsoft.com/office/drawing/2014/main" id="{14CC1C7B-18DD-4238-80A7-DB202AC6D07A}"/>
                </a:ext>
              </a:extLst>
            </p:cNvPr>
            <p:cNvGrpSpPr/>
            <p:nvPr/>
          </p:nvGrpSpPr>
          <p:grpSpPr>
            <a:xfrm>
              <a:off x="6835497" y="2894073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1237" name="Freeform 523">
                <a:extLst>
                  <a:ext uri="{FF2B5EF4-FFF2-40B4-BE49-F238E27FC236}">
                    <a16:creationId xmlns:a16="http://schemas.microsoft.com/office/drawing/2014/main" id="{7E943099-0BDC-42D4-B62E-A3661B27A4D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8" name="Freeform 524">
                <a:extLst>
                  <a:ext uri="{FF2B5EF4-FFF2-40B4-BE49-F238E27FC236}">
                    <a16:creationId xmlns:a16="http://schemas.microsoft.com/office/drawing/2014/main" id="{97687D5C-0EF7-4B3C-9CB7-BEF291B5668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9" name="Freeform 525">
                <a:extLst>
                  <a:ext uri="{FF2B5EF4-FFF2-40B4-BE49-F238E27FC236}">
                    <a16:creationId xmlns:a16="http://schemas.microsoft.com/office/drawing/2014/main" id="{22351E73-D669-4957-9F19-1DE50000496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5" name="Group 1184">
              <a:extLst>
                <a:ext uri="{FF2B5EF4-FFF2-40B4-BE49-F238E27FC236}">
                  <a16:creationId xmlns:a16="http://schemas.microsoft.com/office/drawing/2014/main" id="{E1BA4EB2-CD8C-4DE6-8170-842F0DFF9719}"/>
                </a:ext>
              </a:extLst>
            </p:cNvPr>
            <p:cNvGrpSpPr/>
            <p:nvPr/>
          </p:nvGrpSpPr>
          <p:grpSpPr>
            <a:xfrm>
              <a:off x="7172231" y="4001720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1234" name="Freeform 527">
                <a:extLst>
                  <a:ext uri="{FF2B5EF4-FFF2-40B4-BE49-F238E27FC236}">
                    <a16:creationId xmlns:a16="http://schemas.microsoft.com/office/drawing/2014/main" id="{064C1B3C-35DA-48F3-B5B4-367EA1F4F161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5" name="Freeform 528">
                <a:extLst>
                  <a:ext uri="{FF2B5EF4-FFF2-40B4-BE49-F238E27FC236}">
                    <a16:creationId xmlns:a16="http://schemas.microsoft.com/office/drawing/2014/main" id="{A5C30EB0-2A18-40AB-87C7-D4CF3CCEB901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6" name="Freeform 529">
                <a:extLst>
                  <a:ext uri="{FF2B5EF4-FFF2-40B4-BE49-F238E27FC236}">
                    <a16:creationId xmlns:a16="http://schemas.microsoft.com/office/drawing/2014/main" id="{E81FC29B-DBB6-4EB5-B80B-1FBFF0465729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6" name="Group 1185">
              <a:extLst>
                <a:ext uri="{FF2B5EF4-FFF2-40B4-BE49-F238E27FC236}">
                  <a16:creationId xmlns:a16="http://schemas.microsoft.com/office/drawing/2014/main" id="{F746133F-EDE9-4B10-9FBE-0E1967C19433}"/>
                </a:ext>
              </a:extLst>
            </p:cNvPr>
            <p:cNvGrpSpPr/>
            <p:nvPr/>
          </p:nvGrpSpPr>
          <p:grpSpPr>
            <a:xfrm>
              <a:off x="7172231" y="3669966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1231" name="Freeform 531">
                <a:extLst>
                  <a:ext uri="{FF2B5EF4-FFF2-40B4-BE49-F238E27FC236}">
                    <a16:creationId xmlns:a16="http://schemas.microsoft.com/office/drawing/2014/main" id="{D4159B2D-E30F-4E11-8583-B8732D1778CA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2" name="Freeform 532">
                <a:extLst>
                  <a:ext uri="{FF2B5EF4-FFF2-40B4-BE49-F238E27FC236}">
                    <a16:creationId xmlns:a16="http://schemas.microsoft.com/office/drawing/2014/main" id="{B894D90A-F3C7-412E-8489-7D8443A11D76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3" name="Freeform 533">
                <a:extLst>
                  <a:ext uri="{FF2B5EF4-FFF2-40B4-BE49-F238E27FC236}">
                    <a16:creationId xmlns:a16="http://schemas.microsoft.com/office/drawing/2014/main" id="{D8098978-A653-4649-A02C-9191CBE0CF5D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7" name="Group 1186">
              <a:extLst>
                <a:ext uri="{FF2B5EF4-FFF2-40B4-BE49-F238E27FC236}">
                  <a16:creationId xmlns:a16="http://schemas.microsoft.com/office/drawing/2014/main" id="{4CEB272F-CF8D-4F49-808B-8381AB71F93F}"/>
                </a:ext>
              </a:extLst>
            </p:cNvPr>
            <p:cNvGrpSpPr/>
            <p:nvPr/>
          </p:nvGrpSpPr>
          <p:grpSpPr>
            <a:xfrm>
              <a:off x="7172231" y="3338213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1228" name="Freeform 535">
                <a:extLst>
                  <a:ext uri="{FF2B5EF4-FFF2-40B4-BE49-F238E27FC236}">
                    <a16:creationId xmlns:a16="http://schemas.microsoft.com/office/drawing/2014/main" id="{13518AB8-48E5-4FAA-A186-73EA1AA20D8E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9" name="Freeform 536">
                <a:extLst>
                  <a:ext uri="{FF2B5EF4-FFF2-40B4-BE49-F238E27FC236}">
                    <a16:creationId xmlns:a16="http://schemas.microsoft.com/office/drawing/2014/main" id="{74D469E5-67FC-4248-8C85-D36B31EBDFB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0" name="Freeform 537">
                <a:extLst>
                  <a:ext uri="{FF2B5EF4-FFF2-40B4-BE49-F238E27FC236}">
                    <a16:creationId xmlns:a16="http://schemas.microsoft.com/office/drawing/2014/main" id="{CAB68A4C-9033-4DDD-8D62-CD51EEFF2F28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8" name="Group 1187">
              <a:extLst>
                <a:ext uri="{FF2B5EF4-FFF2-40B4-BE49-F238E27FC236}">
                  <a16:creationId xmlns:a16="http://schemas.microsoft.com/office/drawing/2014/main" id="{931A5F89-C0AB-4754-B0AE-1C8BF768B9B1}"/>
                </a:ext>
              </a:extLst>
            </p:cNvPr>
            <p:cNvGrpSpPr/>
            <p:nvPr/>
          </p:nvGrpSpPr>
          <p:grpSpPr>
            <a:xfrm>
              <a:off x="7171255" y="3008319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1225" name="Freeform 539">
                <a:extLst>
                  <a:ext uri="{FF2B5EF4-FFF2-40B4-BE49-F238E27FC236}">
                    <a16:creationId xmlns:a16="http://schemas.microsoft.com/office/drawing/2014/main" id="{C627D60C-2E65-4CC2-9378-2D55ACA6C2B2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6" name="Freeform 540">
                <a:extLst>
                  <a:ext uri="{FF2B5EF4-FFF2-40B4-BE49-F238E27FC236}">
                    <a16:creationId xmlns:a16="http://schemas.microsoft.com/office/drawing/2014/main" id="{7AFEBE8F-FA03-4A4C-B5D1-5C538AC85DE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7" name="Freeform 541">
                <a:extLst>
                  <a:ext uri="{FF2B5EF4-FFF2-40B4-BE49-F238E27FC236}">
                    <a16:creationId xmlns:a16="http://schemas.microsoft.com/office/drawing/2014/main" id="{CCF3BBAC-7E30-44B3-9114-F7F7F1A40BFC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89" name="Group 1188">
              <a:extLst>
                <a:ext uri="{FF2B5EF4-FFF2-40B4-BE49-F238E27FC236}">
                  <a16:creationId xmlns:a16="http://schemas.microsoft.com/office/drawing/2014/main" id="{CCFA125E-C45A-4DC6-A59D-3D193F6FE7A5}"/>
                </a:ext>
              </a:extLst>
            </p:cNvPr>
            <p:cNvGrpSpPr/>
            <p:nvPr/>
          </p:nvGrpSpPr>
          <p:grpSpPr>
            <a:xfrm>
              <a:off x="7510236" y="4120971"/>
              <a:ext cx="661483" cy="560933"/>
              <a:chOff x="6673854" y="2507796"/>
              <a:chExt cx="3493293" cy="3112295"/>
            </a:xfrm>
            <a:grpFill/>
          </p:grpSpPr>
          <p:sp>
            <p:nvSpPr>
              <p:cNvPr id="1222" name="Freeform 543">
                <a:extLst>
                  <a:ext uri="{FF2B5EF4-FFF2-40B4-BE49-F238E27FC236}">
                    <a16:creationId xmlns:a16="http://schemas.microsoft.com/office/drawing/2014/main" id="{4F7FBCC2-BD59-4F1F-9CE1-1F63D18C3F97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3" name="Freeform 544">
                <a:extLst>
                  <a:ext uri="{FF2B5EF4-FFF2-40B4-BE49-F238E27FC236}">
                    <a16:creationId xmlns:a16="http://schemas.microsoft.com/office/drawing/2014/main" id="{4BE1309D-A14D-48BB-801F-45E59A449AA1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4" name="Freeform 545">
                <a:extLst>
                  <a:ext uri="{FF2B5EF4-FFF2-40B4-BE49-F238E27FC236}">
                    <a16:creationId xmlns:a16="http://schemas.microsoft.com/office/drawing/2014/main" id="{9FF92351-B04C-4E05-B28B-553D30877486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90" name="Group 1189">
              <a:extLst>
                <a:ext uri="{FF2B5EF4-FFF2-40B4-BE49-F238E27FC236}">
                  <a16:creationId xmlns:a16="http://schemas.microsoft.com/office/drawing/2014/main" id="{BB3121FB-C3C5-4406-8CE9-CBD28621E8AD}"/>
                </a:ext>
              </a:extLst>
            </p:cNvPr>
            <p:cNvGrpSpPr/>
            <p:nvPr/>
          </p:nvGrpSpPr>
          <p:grpSpPr>
            <a:xfrm>
              <a:off x="7510236" y="3789217"/>
              <a:ext cx="661483" cy="560933"/>
              <a:chOff x="6673854" y="2507796"/>
              <a:chExt cx="3493293" cy="3112295"/>
            </a:xfrm>
            <a:grpFill/>
          </p:grpSpPr>
          <p:sp>
            <p:nvSpPr>
              <p:cNvPr id="1219" name="Freeform 547">
                <a:extLst>
                  <a:ext uri="{FF2B5EF4-FFF2-40B4-BE49-F238E27FC236}">
                    <a16:creationId xmlns:a16="http://schemas.microsoft.com/office/drawing/2014/main" id="{E29ED86C-0EE3-48AB-8A1C-28FAD3F1C276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0" name="Freeform 548">
                <a:extLst>
                  <a:ext uri="{FF2B5EF4-FFF2-40B4-BE49-F238E27FC236}">
                    <a16:creationId xmlns:a16="http://schemas.microsoft.com/office/drawing/2014/main" id="{126D144A-B0E6-427A-944C-81E7D8F5369C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1" name="Freeform 549">
                <a:extLst>
                  <a:ext uri="{FF2B5EF4-FFF2-40B4-BE49-F238E27FC236}">
                    <a16:creationId xmlns:a16="http://schemas.microsoft.com/office/drawing/2014/main" id="{AB9A5131-1AE4-4CAE-A6E7-7DDCB09B6B3B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91" name="Group 1190">
              <a:extLst>
                <a:ext uri="{FF2B5EF4-FFF2-40B4-BE49-F238E27FC236}">
                  <a16:creationId xmlns:a16="http://schemas.microsoft.com/office/drawing/2014/main" id="{C7A50D64-2E49-40C5-86B2-146F7A24C03C}"/>
                </a:ext>
              </a:extLst>
            </p:cNvPr>
            <p:cNvGrpSpPr/>
            <p:nvPr/>
          </p:nvGrpSpPr>
          <p:grpSpPr>
            <a:xfrm>
              <a:off x="7510236" y="3457463"/>
              <a:ext cx="661483" cy="560933"/>
              <a:chOff x="6673854" y="2507796"/>
              <a:chExt cx="3493293" cy="3112295"/>
            </a:xfrm>
            <a:grpFill/>
          </p:grpSpPr>
          <p:sp>
            <p:nvSpPr>
              <p:cNvPr id="1216" name="Freeform 551">
                <a:extLst>
                  <a:ext uri="{FF2B5EF4-FFF2-40B4-BE49-F238E27FC236}">
                    <a16:creationId xmlns:a16="http://schemas.microsoft.com/office/drawing/2014/main" id="{B5332CDF-7638-45CE-B925-540A9162BFF3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7" name="Freeform 552">
                <a:extLst>
                  <a:ext uri="{FF2B5EF4-FFF2-40B4-BE49-F238E27FC236}">
                    <a16:creationId xmlns:a16="http://schemas.microsoft.com/office/drawing/2014/main" id="{271F3072-A11A-48B3-A417-42EC37E371C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8" name="Freeform 553">
                <a:extLst>
                  <a:ext uri="{FF2B5EF4-FFF2-40B4-BE49-F238E27FC236}">
                    <a16:creationId xmlns:a16="http://schemas.microsoft.com/office/drawing/2014/main" id="{D541AF46-B9D8-45FD-8F78-DE709A798C5C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92" name="Group 1191">
              <a:extLst>
                <a:ext uri="{FF2B5EF4-FFF2-40B4-BE49-F238E27FC236}">
                  <a16:creationId xmlns:a16="http://schemas.microsoft.com/office/drawing/2014/main" id="{036B16CB-9395-4435-AB83-889420EC8F0D}"/>
                </a:ext>
              </a:extLst>
            </p:cNvPr>
            <p:cNvGrpSpPr/>
            <p:nvPr/>
          </p:nvGrpSpPr>
          <p:grpSpPr>
            <a:xfrm>
              <a:off x="7509260" y="3127570"/>
              <a:ext cx="661483" cy="560933"/>
              <a:chOff x="6673854" y="2507796"/>
              <a:chExt cx="3493293" cy="3112295"/>
            </a:xfrm>
            <a:grpFill/>
          </p:grpSpPr>
          <p:sp>
            <p:nvSpPr>
              <p:cNvPr id="1213" name="Freeform 555">
                <a:extLst>
                  <a:ext uri="{FF2B5EF4-FFF2-40B4-BE49-F238E27FC236}">
                    <a16:creationId xmlns:a16="http://schemas.microsoft.com/office/drawing/2014/main" id="{6DC29BCA-DCDB-487E-BD44-87EAE131662D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4" name="Freeform 556">
                <a:extLst>
                  <a:ext uri="{FF2B5EF4-FFF2-40B4-BE49-F238E27FC236}">
                    <a16:creationId xmlns:a16="http://schemas.microsoft.com/office/drawing/2014/main" id="{45063F2D-7BBA-4562-BA1F-F82E937CFC4E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5" name="Freeform 557">
                <a:extLst>
                  <a:ext uri="{FF2B5EF4-FFF2-40B4-BE49-F238E27FC236}">
                    <a16:creationId xmlns:a16="http://schemas.microsoft.com/office/drawing/2014/main" id="{058C44AF-E3BD-480B-8D92-01F60196A79E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93" name="Group 1192">
              <a:extLst>
                <a:ext uri="{FF2B5EF4-FFF2-40B4-BE49-F238E27FC236}">
                  <a16:creationId xmlns:a16="http://schemas.microsoft.com/office/drawing/2014/main" id="{4319CB1F-65E6-4390-8D9B-2EFA2158F5EF}"/>
                </a:ext>
              </a:extLst>
            </p:cNvPr>
            <p:cNvGrpSpPr/>
            <p:nvPr/>
          </p:nvGrpSpPr>
          <p:grpSpPr>
            <a:xfrm>
              <a:off x="6168570" y="2341066"/>
              <a:ext cx="661482" cy="560934"/>
              <a:chOff x="6673852" y="2507796"/>
              <a:chExt cx="3493295" cy="3112292"/>
            </a:xfrm>
            <a:grpFill/>
          </p:grpSpPr>
          <p:sp>
            <p:nvSpPr>
              <p:cNvPr id="1210" name="Freeform 642">
                <a:extLst>
                  <a:ext uri="{FF2B5EF4-FFF2-40B4-BE49-F238E27FC236}">
                    <a16:creationId xmlns:a16="http://schemas.microsoft.com/office/drawing/2014/main" id="{7D17FF6C-247D-4EAC-9C1C-2CF6B69D3B76}"/>
                  </a:ext>
                </a:extLst>
              </p:cNvPr>
              <p:cNvSpPr/>
              <p:nvPr/>
            </p:nvSpPr>
            <p:spPr>
              <a:xfrm>
                <a:off x="6673852" y="3138029"/>
                <a:ext cx="1764506" cy="2482059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1" name="Freeform 643">
                <a:extLst>
                  <a:ext uri="{FF2B5EF4-FFF2-40B4-BE49-F238E27FC236}">
                    <a16:creationId xmlns:a16="http://schemas.microsoft.com/office/drawing/2014/main" id="{94341D6C-0D09-4173-8A9F-8E4E5CCE0297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2" name="Freeform 644">
                <a:extLst>
                  <a:ext uri="{FF2B5EF4-FFF2-40B4-BE49-F238E27FC236}">
                    <a16:creationId xmlns:a16="http://schemas.microsoft.com/office/drawing/2014/main" id="{EAD25E84-529C-48B1-A71A-6E139BE95F7C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94" name="Group 1193">
              <a:extLst>
                <a:ext uri="{FF2B5EF4-FFF2-40B4-BE49-F238E27FC236}">
                  <a16:creationId xmlns:a16="http://schemas.microsoft.com/office/drawing/2014/main" id="{20AB8272-8A22-4E50-9061-4799B0EF8EC2}"/>
                </a:ext>
              </a:extLst>
            </p:cNvPr>
            <p:cNvGrpSpPr/>
            <p:nvPr/>
          </p:nvGrpSpPr>
          <p:grpSpPr>
            <a:xfrm>
              <a:off x="6499310" y="2454655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1207" name="Freeform 646">
                <a:extLst>
                  <a:ext uri="{FF2B5EF4-FFF2-40B4-BE49-F238E27FC236}">
                    <a16:creationId xmlns:a16="http://schemas.microsoft.com/office/drawing/2014/main" id="{434943AC-7CF6-4F50-985C-283245486E8B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8" name="Freeform 647">
                <a:extLst>
                  <a:ext uri="{FF2B5EF4-FFF2-40B4-BE49-F238E27FC236}">
                    <a16:creationId xmlns:a16="http://schemas.microsoft.com/office/drawing/2014/main" id="{E3113737-ADF1-4B0C-ADAD-73DE35539BF9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9" name="Freeform 648">
                <a:extLst>
                  <a:ext uri="{FF2B5EF4-FFF2-40B4-BE49-F238E27FC236}">
                    <a16:creationId xmlns:a16="http://schemas.microsoft.com/office/drawing/2014/main" id="{8946825E-0B1E-4F68-8F50-B724BCF3BEC0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95" name="Group 1194">
              <a:extLst>
                <a:ext uri="{FF2B5EF4-FFF2-40B4-BE49-F238E27FC236}">
                  <a16:creationId xmlns:a16="http://schemas.microsoft.com/office/drawing/2014/main" id="{2D72BB39-B028-48CB-A137-04C916C2D89C}"/>
                </a:ext>
              </a:extLst>
            </p:cNvPr>
            <p:cNvGrpSpPr/>
            <p:nvPr/>
          </p:nvGrpSpPr>
          <p:grpSpPr>
            <a:xfrm>
              <a:off x="6830051" y="2568246"/>
              <a:ext cx="661482" cy="560934"/>
              <a:chOff x="6673854" y="2507796"/>
              <a:chExt cx="3493293" cy="3112295"/>
            </a:xfrm>
            <a:grpFill/>
          </p:grpSpPr>
          <p:sp>
            <p:nvSpPr>
              <p:cNvPr id="1204" name="Freeform 650">
                <a:extLst>
                  <a:ext uri="{FF2B5EF4-FFF2-40B4-BE49-F238E27FC236}">
                    <a16:creationId xmlns:a16="http://schemas.microsoft.com/office/drawing/2014/main" id="{0C3EB6B1-DE82-44B7-9087-4A612FD51AC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5" name="Freeform 651">
                <a:extLst>
                  <a:ext uri="{FF2B5EF4-FFF2-40B4-BE49-F238E27FC236}">
                    <a16:creationId xmlns:a16="http://schemas.microsoft.com/office/drawing/2014/main" id="{1818EB43-54DF-4A91-AB03-FCF7FED85DB5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6" name="Freeform 652">
                <a:extLst>
                  <a:ext uri="{FF2B5EF4-FFF2-40B4-BE49-F238E27FC236}">
                    <a16:creationId xmlns:a16="http://schemas.microsoft.com/office/drawing/2014/main" id="{7AC9AA2D-F02D-4896-8FCE-68DAF6D7F54E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96" name="Group 1195">
              <a:extLst>
                <a:ext uri="{FF2B5EF4-FFF2-40B4-BE49-F238E27FC236}">
                  <a16:creationId xmlns:a16="http://schemas.microsoft.com/office/drawing/2014/main" id="{A853CCD9-0600-46E8-AEAB-4BC084F698EA}"/>
                </a:ext>
              </a:extLst>
            </p:cNvPr>
            <p:cNvGrpSpPr/>
            <p:nvPr/>
          </p:nvGrpSpPr>
          <p:grpSpPr>
            <a:xfrm>
              <a:off x="7165809" y="2682492"/>
              <a:ext cx="661482" cy="560933"/>
              <a:chOff x="6673854" y="2507796"/>
              <a:chExt cx="3493293" cy="3112295"/>
            </a:xfrm>
            <a:grpFill/>
          </p:grpSpPr>
          <p:sp>
            <p:nvSpPr>
              <p:cNvPr id="1201" name="Freeform 654">
                <a:extLst>
                  <a:ext uri="{FF2B5EF4-FFF2-40B4-BE49-F238E27FC236}">
                    <a16:creationId xmlns:a16="http://schemas.microsoft.com/office/drawing/2014/main" id="{7282AF3C-E7AC-44F8-A596-17C66945A6BC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2" name="Freeform 655">
                <a:extLst>
                  <a:ext uri="{FF2B5EF4-FFF2-40B4-BE49-F238E27FC236}">
                    <a16:creationId xmlns:a16="http://schemas.microsoft.com/office/drawing/2014/main" id="{3D378CBC-45FD-4DCA-A5C5-A2419D10C3DF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3" name="Freeform 656">
                <a:extLst>
                  <a:ext uri="{FF2B5EF4-FFF2-40B4-BE49-F238E27FC236}">
                    <a16:creationId xmlns:a16="http://schemas.microsoft.com/office/drawing/2014/main" id="{38B120C2-EADD-4334-9865-F4083D245087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97" name="Group 1196">
              <a:extLst>
                <a:ext uri="{FF2B5EF4-FFF2-40B4-BE49-F238E27FC236}">
                  <a16:creationId xmlns:a16="http://schemas.microsoft.com/office/drawing/2014/main" id="{270FC0D8-8EC0-45EF-B19B-B528DB636575}"/>
                </a:ext>
              </a:extLst>
            </p:cNvPr>
            <p:cNvGrpSpPr/>
            <p:nvPr/>
          </p:nvGrpSpPr>
          <p:grpSpPr>
            <a:xfrm>
              <a:off x="7503814" y="2801743"/>
              <a:ext cx="661483" cy="560933"/>
              <a:chOff x="6673854" y="2507796"/>
              <a:chExt cx="3493293" cy="3112295"/>
            </a:xfrm>
            <a:grpFill/>
          </p:grpSpPr>
          <p:sp>
            <p:nvSpPr>
              <p:cNvPr id="1198" name="Freeform 658">
                <a:extLst>
                  <a:ext uri="{FF2B5EF4-FFF2-40B4-BE49-F238E27FC236}">
                    <a16:creationId xmlns:a16="http://schemas.microsoft.com/office/drawing/2014/main" id="{35D0FB0D-2F10-4F76-9464-C163EFE65B2D}"/>
                  </a:ext>
                </a:extLst>
              </p:cNvPr>
              <p:cNvSpPr/>
              <p:nvPr/>
            </p:nvSpPr>
            <p:spPr>
              <a:xfrm>
                <a:off x="6673854" y="3138035"/>
                <a:ext cx="1764507" cy="2482056"/>
              </a:xfrm>
              <a:custGeom>
                <a:avLst/>
                <a:gdLst>
                  <a:gd name="connsiteX0" fmla="*/ 0 w 1752600"/>
                  <a:gd name="connsiteY0" fmla="*/ 1841500 h 2470150"/>
                  <a:gd name="connsiteX1" fmla="*/ 0 w 1752600"/>
                  <a:gd name="connsiteY1" fmla="*/ 0 h 2470150"/>
                  <a:gd name="connsiteX2" fmla="*/ 1752600 w 1752600"/>
                  <a:gd name="connsiteY2" fmla="*/ 635000 h 2470150"/>
                  <a:gd name="connsiteX3" fmla="*/ 1752600 w 1752600"/>
                  <a:gd name="connsiteY3" fmla="*/ 2470150 h 2470150"/>
                  <a:gd name="connsiteX4" fmla="*/ 0 w 1752600"/>
                  <a:gd name="connsiteY4" fmla="*/ 1841500 h 2470150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52600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0 w 1757362"/>
                  <a:gd name="connsiteY0" fmla="*/ 1841500 h 2477294"/>
                  <a:gd name="connsiteX1" fmla="*/ 0 w 1757362"/>
                  <a:gd name="connsiteY1" fmla="*/ 0 h 2477294"/>
                  <a:gd name="connsiteX2" fmla="*/ 1747838 w 1757362"/>
                  <a:gd name="connsiteY2" fmla="*/ 635000 h 2477294"/>
                  <a:gd name="connsiteX3" fmla="*/ 1757362 w 1757362"/>
                  <a:gd name="connsiteY3" fmla="*/ 2477294 h 2477294"/>
                  <a:gd name="connsiteX4" fmla="*/ 0 w 1757362"/>
                  <a:gd name="connsiteY4" fmla="*/ 1841500 h 2477294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8644 h 2484438"/>
                  <a:gd name="connsiteX1" fmla="*/ 0 w 1764506"/>
                  <a:gd name="connsiteY1" fmla="*/ 0 h 2484438"/>
                  <a:gd name="connsiteX2" fmla="*/ 1754982 w 1764506"/>
                  <a:gd name="connsiteY2" fmla="*/ 642144 h 2484438"/>
                  <a:gd name="connsiteX3" fmla="*/ 1764506 w 1764506"/>
                  <a:gd name="connsiteY3" fmla="*/ 2484438 h 2484438"/>
                  <a:gd name="connsiteX4" fmla="*/ 7144 w 1764506"/>
                  <a:gd name="connsiteY4" fmla="*/ 1848644 h 2484438"/>
                  <a:gd name="connsiteX0" fmla="*/ 7144 w 1764506"/>
                  <a:gd name="connsiteY0" fmla="*/ 1841500 h 2477294"/>
                  <a:gd name="connsiteX1" fmla="*/ 0 w 1764506"/>
                  <a:gd name="connsiteY1" fmla="*/ 0 h 2477294"/>
                  <a:gd name="connsiteX2" fmla="*/ 1754982 w 1764506"/>
                  <a:gd name="connsiteY2" fmla="*/ 635000 h 2477294"/>
                  <a:gd name="connsiteX3" fmla="*/ 1764506 w 1764506"/>
                  <a:gd name="connsiteY3" fmla="*/ 2477294 h 2477294"/>
                  <a:gd name="connsiteX4" fmla="*/ 7144 w 1764506"/>
                  <a:gd name="connsiteY4" fmla="*/ 1841500 h 2477294"/>
                  <a:gd name="connsiteX0" fmla="*/ 7144 w 1764506"/>
                  <a:gd name="connsiteY0" fmla="*/ 1846262 h 2482056"/>
                  <a:gd name="connsiteX1" fmla="*/ 0 w 1764506"/>
                  <a:gd name="connsiteY1" fmla="*/ 0 h 2482056"/>
                  <a:gd name="connsiteX2" fmla="*/ 1754982 w 1764506"/>
                  <a:gd name="connsiteY2" fmla="*/ 639762 h 2482056"/>
                  <a:gd name="connsiteX3" fmla="*/ 1764506 w 1764506"/>
                  <a:gd name="connsiteY3" fmla="*/ 2482056 h 2482056"/>
                  <a:gd name="connsiteX4" fmla="*/ 7144 w 1764506"/>
                  <a:gd name="connsiteY4" fmla="*/ 1846262 h 2482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4506" h="2482056">
                    <a:moveTo>
                      <a:pt x="7144" y="1846262"/>
                    </a:moveTo>
                    <a:cubicBezTo>
                      <a:pt x="4763" y="1232429"/>
                      <a:pt x="2381" y="613833"/>
                      <a:pt x="0" y="0"/>
                    </a:cubicBezTo>
                    <a:lnTo>
                      <a:pt x="1754982" y="639762"/>
                    </a:lnTo>
                    <a:cubicBezTo>
                      <a:pt x="1756569" y="1253860"/>
                      <a:pt x="1762919" y="1867958"/>
                      <a:pt x="1764506" y="2482056"/>
                    </a:cubicBezTo>
                    <a:lnTo>
                      <a:pt x="7144" y="1846262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9" name="Freeform 659">
                <a:extLst>
                  <a:ext uri="{FF2B5EF4-FFF2-40B4-BE49-F238E27FC236}">
                    <a16:creationId xmlns:a16="http://schemas.microsoft.com/office/drawing/2014/main" id="{0C1E81F9-77E0-4FC0-B8A3-E62B6587D71A}"/>
                  </a:ext>
                </a:extLst>
              </p:cNvPr>
              <p:cNvSpPr/>
              <p:nvPr/>
            </p:nvSpPr>
            <p:spPr>
              <a:xfrm>
                <a:off x="8427247" y="3149146"/>
                <a:ext cx="1739900" cy="2470150"/>
              </a:xfrm>
              <a:custGeom>
                <a:avLst/>
                <a:gdLst>
                  <a:gd name="connsiteX0" fmla="*/ 0 w 1739900"/>
                  <a:gd name="connsiteY0" fmla="*/ 622300 h 1841500"/>
                  <a:gd name="connsiteX1" fmla="*/ 1739900 w 1739900"/>
                  <a:gd name="connsiteY1" fmla="*/ 0 h 1841500"/>
                  <a:gd name="connsiteX2" fmla="*/ 1739900 w 1739900"/>
                  <a:gd name="connsiteY2" fmla="*/ 1841500 h 1841500"/>
                  <a:gd name="connsiteX3" fmla="*/ 12700 w 1739900"/>
                  <a:gd name="connsiteY3" fmla="*/ 1841500 h 1841500"/>
                  <a:gd name="connsiteX4" fmla="*/ 0 w 1739900"/>
                  <a:gd name="connsiteY4" fmla="*/ 622300 h 1841500"/>
                  <a:gd name="connsiteX0" fmla="*/ 0 w 1739900"/>
                  <a:gd name="connsiteY0" fmla="*/ 622300 h 2470150"/>
                  <a:gd name="connsiteX1" fmla="*/ 1739900 w 1739900"/>
                  <a:gd name="connsiteY1" fmla="*/ 0 h 2470150"/>
                  <a:gd name="connsiteX2" fmla="*/ 1739900 w 1739900"/>
                  <a:gd name="connsiteY2" fmla="*/ 1841500 h 2470150"/>
                  <a:gd name="connsiteX3" fmla="*/ 12700 w 1739900"/>
                  <a:gd name="connsiteY3" fmla="*/ 2470150 h 2470150"/>
                  <a:gd name="connsiteX4" fmla="*/ 0 w 1739900"/>
                  <a:gd name="connsiteY4" fmla="*/ 622300 h 247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9900" h="2470150">
                    <a:moveTo>
                      <a:pt x="0" y="622300"/>
                    </a:moveTo>
                    <a:lnTo>
                      <a:pt x="1739900" y="0"/>
                    </a:lnTo>
                    <a:lnTo>
                      <a:pt x="1739900" y="1841500"/>
                    </a:lnTo>
                    <a:lnTo>
                      <a:pt x="12700" y="2470150"/>
                    </a:lnTo>
                    <a:cubicBezTo>
                      <a:pt x="8467" y="1854200"/>
                      <a:pt x="4233" y="1238250"/>
                      <a:pt x="0" y="62230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0" name="Freeform 660">
                <a:extLst>
                  <a:ext uri="{FF2B5EF4-FFF2-40B4-BE49-F238E27FC236}">
                    <a16:creationId xmlns:a16="http://schemas.microsoft.com/office/drawing/2014/main" id="{26461994-F1FD-4DBC-81C6-C5393C32CB51}"/>
                  </a:ext>
                </a:extLst>
              </p:cNvPr>
              <p:cNvSpPr/>
              <p:nvPr/>
            </p:nvSpPr>
            <p:spPr>
              <a:xfrm>
                <a:off x="6674644" y="2507796"/>
                <a:ext cx="3492501" cy="1270001"/>
              </a:xfrm>
              <a:custGeom>
                <a:avLst/>
                <a:gdLst>
                  <a:gd name="connsiteX0" fmla="*/ 0 w 3492500"/>
                  <a:gd name="connsiteY0" fmla="*/ 628650 h 1270000"/>
                  <a:gd name="connsiteX1" fmla="*/ 1752600 w 3492500"/>
                  <a:gd name="connsiteY1" fmla="*/ 0 h 1270000"/>
                  <a:gd name="connsiteX2" fmla="*/ 3492500 w 3492500"/>
                  <a:gd name="connsiteY2" fmla="*/ 641350 h 1270000"/>
                  <a:gd name="connsiteX3" fmla="*/ 1752600 w 3492500"/>
                  <a:gd name="connsiteY3" fmla="*/ 1270000 h 1270000"/>
                  <a:gd name="connsiteX4" fmla="*/ 0 w 3492500"/>
                  <a:gd name="connsiteY4" fmla="*/ 62865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2500" h="1270000">
                    <a:moveTo>
                      <a:pt x="0" y="628650"/>
                    </a:moveTo>
                    <a:lnTo>
                      <a:pt x="1752600" y="0"/>
                    </a:lnTo>
                    <a:lnTo>
                      <a:pt x="3492500" y="641350"/>
                    </a:lnTo>
                    <a:lnTo>
                      <a:pt x="1752600" y="1270000"/>
                    </a:lnTo>
                    <a:lnTo>
                      <a:pt x="0" y="628650"/>
                    </a:lnTo>
                    <a:close/>
                  </a:path>
                </a:pathLst>
              </a:custGeom>
              <a:grpFill/>
              <a:ln w="3175">
                <a:solidFill>
                  <a:srgbClr val="FFFFFF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273" name="Arrow: Chevron 1272">
            <a:extLst>
              <a:ext uri="{FF2B5EF4-FFF2-40B4-BE49-F238E27FC236}">
                <a16:creationId xmlns:a16="http://schemas.microsoft.com/office/drawing/2014/main" id="{FB367F2B-646A-4D6C-BA8C-BE0DD3329525}"/>
              </a:ext>
            </a:extLst>
          </p:cNvPr>
          <p:cNvSpPr/>
          <p:nvPr/>
        </p:nvSpPr>
        <p:spPr>
          <a:xfrm>
            <a:off x="9284918" y="2625617"/>
            <a:ext cx="1529914" cy="358305"/>
          </a:xfrm>
          <a:prstGeom prst="chevron">
            <a:avLst/>
          </a:prstGeom>
          <a:solidFill>
            <a:schemeClr val="bg1"/>
          </a:solidFill>
          <a:ln w="3175" cap="flat">
            <a:solidFill>
              <a:srgbClr val="104EA3"/>
            </a:solidFill>
            <a:prstDash val="solid"/>
            <a:miter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duct AI &amp; Auto. </a:t>
            </a:r>
            <a:b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OI Assessment</a:t>
            </a:r>
          </a:p>
        </p:txBody>
      </p:sp>
      <p:sp>
        <p:nvSpPr>
          <p:cNvPr id="1274" name="Arrow: Striped Right 1273">
            <a:extLst>
              <a:ext uri="{FF2B5EF4-FFF2-40B4-BE49-F238E27FC236}">
                <a16:creationId xmlns:a16="http://schemas.microsoft.com/office/drawing/2014/main" id="{17E2909E-1A26-4925-8A17-8EA938A5B618}"/>
              </a:ext>
            </a:extLst>
          </p:cNvPr>
          <p:cNvSpPr/>
          <p:nvPr/>
        </p:nvSpPr>
        <p:spPr>
          <a:xfrm>
            <a:off x="9161836" y="3368755"/>
            <a:ext cx="553082" cy="207501"/>
          </a:xfrm>
          <a:prstGeom prst="stripedRightArrow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275" name="Rectangle: Rounded Corners 1274">
            <a:extLst>
              <a:ext uri="{FF2B5EF4-FFF2-40B4-BE49-F238E27FC236}">
                <a16:creationId xmlns:a16="http://schemas.microsoft.com/office/drawing/2014/main" id="{F3B7F447-D49E-475A-A20F-0459809391C0}"/>
              </a:ext>
            </a:extLst>
          </p:cNvPr>
          <p:cNvSpPr/>
          <p:nvPr/>
        </p:nvSpPr>
        <p:spPr>
          <a:xfrm rot="1462300">
            <a:off x="10123775" y="3149584"/>
            <a:ext cx="600295" cy="121409"/>
          </a:xfrm>
          <a:prstGeom prst="roundRect">
            <a:avLst>
              <a:gd name="adj" fmla="val 50000"/>
            </a:avLst>
          </a:prstGeom>
          <a:solidFill>
            <a:srgbClr val="FFFFFF">
              <a:alpha val="50196"/>
            </a:srgbClr>
          </a:solidFill>
          <a:ln w="3175" cap="flat">
            <a:noFill/>
            <a:prstDash val="solid"/>
            <a:miter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uto Clin Ops</a:t>
            </a:r>
          </a:p>
        </p:txBody>
      </p:sp>
      <p:sp>
        <p:nvSpPr>
          <p:cNvPr id="1276" name="Rectangle: Rounded Corners 1275">
            <a:extLst>
              <a:ext uri="{FF2B5EF4-FFF2-40B4-BE49-F238E27FC236}">
                <a16:creationId xmlns:a16="http://schemas.microsoft.com/office/drawing/2014/main" id="{9EF5E72C-43D8-4F5A-9743-53165C63A748}"/>
              </a:ext>
            </a:extLst>
          </p:cNvPr>
          <p:cNvSpPr/>
          <p:nvPr/>
        </p:nvSpPr>
        <p:spPr>
          <a:xfrm rot="20139576">
            <a:off x="9443243" y="3139997"/>
            <a:ext cx="660324" cy="121409"/>
          </a:xfrm>
          <a:prstGeom prst="roundRect">
            <a:avLst>
              <a:gd name="adj" fmla="val 50000"/>
            </a:avLst>
          </a:prstGeom>
          <a:solidFill>
            <a:srgbClr val="FFFFFF">
              <a:alpha val="50196"/>
            </a:srgbClr>
          </a:solidFill>
          <a:ln w="3175" cap="flat">
            <a:noFill/>
            <a:prstDash val="solid"/>
            <a:miter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urrent Clin Ops</a:t>
            </a:r>
          </a:p>
        </p:txBody>
      </p:sp>
      <p:grpSp>
        <p:nvGrpSpPr>
          <p:cNvPr id="1277" name="Group 1276">
            <a:extLst>
              <a:ext uri="{FF2B5EF4-FFF2-40B4-BE49-F238E27FC236}">
                <a16:creationId xmlns:a16="http://schemas.microsoft.com/office/drawing/2014/main" id="{340C5338-47C5-487B-BF2F-3E786D5FEA12}"/>
              </a:ext>
            </a:extLst>
          </p:cNvPr>
          <p:cNvGrpSpPr/>
          <p:nvPr/>
        </p:nvGrpSpPr>
        <p:grpSpPr>
          <a:xfrm>
            <a:off x="10798629" y="3076173"/>
            <a:ext cx="1194313" cy="782076"/>
            <a:chOff x="9654510" y="2528843"/>
            <a:chExt cx="2317988" cy="1389721"/>
          </a:xfrm>
        </p:grpSpPr>
        <p:grpSp>
          <p:nvGrpSpPr>
            <p:cNvPr id="1278" name="Group 1277">
              <a:extLst>
                <a:ext uri="{FF2B5EF4-FFF2-40B4-BE49-F238E27FC236}">
                  <a16:creationId xmlns:a16="http://schemas.microsoft.com/office/drawing/2014/main" id="{4E70389E-02E5-46F7-9F35-72D07168A454}"/>
                </a:ext>
              </a:extLst>
            </p:cNvPr>
            <p:cNvGrpSpPr/>
            <p:nvPr/>
          </p:nvGrpSpPr>
          <p:grpSpPr>
            <a:xfrm>
              <a:off x="10667485" y="2528843"/>
              <a:ext cx="873490" cy="1162881"/>
              <a:chOff x="6168570" y="2341066"/>
              <a:chExt cx="2003149" cy="2340838"/>
            </a:xfrm>
            <a:solidFill>
              <a:srgbClr val="C38826">
                <a:alpha val="50196"/>
              </a:srgbClr>
            </a:solidFill>
          </p:grpSpPr>
          <p:grpSp>
            <p:nvGrpSpPr>
              <p:cNvPr id="1687" name="Group 1686">
                <a:extLst>
                  <a:ext uri="{FF2B5EF4-FFF2-40B4-BE49-F238E27FC236}">
                    <a16:creationId xmlns:a16="http://schemas.microsoft.com/office/drawing/2014/main" id="{7CEF1B35-718D-4146-91D8-DCA358D262C0}"/>
                  </a:ext>
                </a:extLst>
              </p:cNvPr>
              <p:cNvGrpSpPr/>
              <p:nvPr/>
            </p:nvGrpSpPr>
            <p:grpSpPr>
              <a:xfrm>
                <a:off x="6174996" y="3660293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784" name="Freeform 479">
                  <a:extLst>
                    <a:ext uri="{FF2B5EF4-FFF2-40B4-BE49-F238E27FC236}">
                      <a16:creationId xmlns:a16="http://schemas.microsoft.com/office/drawing/2014/main" id="{D988DD13-DE32-41FE-87AA-92EAD469F305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5" name="Freeform 480">
                  <a:extLst>
                    <a:ext uri="{FF2B5EF4-FFF2-40B4-BE49-F238E27FC236}">
                      <a16:creationId xmlns:a16="http://schemas.microsoft.com/office/drawing/2014/main" id="{757E3602-CC0F-427A-B225-1E0E8CBE1954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6" name="Freeform 481">
                  <a:extLst>
                    <a:ext uri="{FF2B5EF4-FFF2-40B4-BE49-F238E27FC236}">
                      <a16:creationId xmlns:a16="http://schemas.microsoft.com/office/drawing/2014/main" id="{BD4BD7C5-112C-4E1E-9038-0037922F1B71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88" name="Group 1687">
                <a:extLst>
                  <a:ext uri="{FF2B5EF4-FFF2-40B4-BE49-F238E27FC236}">
                    <a16:creationId xmlns:a16="http://schemas.microsoft.com/office/drawing/2014/main" id="{D5A04EDA-405A-42FC-967C-F1B9943229FD}"/>
                  </a:ext>
                </a:extLst>
              </p:cNvPr>
              <p:cNvGrpSpPr/>
              <p:nvPr/>
            </p:nvGrpSpPr>
            <p:grpSpPr>
              <a:xfrm>
                <a:off x="6505737" y="3773882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781" name="Freeform 483">
                  <a:extLst>
                    <a:ext uri="{FF2B5EF4-FFF2-40B4-BE49-F238E27FC236}">
                      <a16:creationId xmlns:a16="http://schemas.microsoft.com/office/drawing/2014/main" id="{FA838954-3300-40C7-A8AA-75BAC891E85F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2" name="Freeform 484">
                  <a:extLst>
                    <a:ext uri="{FF2B5EF4-FFF2-40B4-BE49-F238E27FC236}">
                      <a16:creationId xmlns:a16="http://schemas.microsoft.com/office/drawing/2014/main" id="{7ABF4F4F-9C33-4999-8E78-EA18389FCC01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3" name="Freeform 485">
                  <a:extLst>
                    <a:ext uri="{FF2B5EF4-FFF2-40B4-BE49-F238E27FC236}">
                      <a16:creationId xmlns:a16="http://schemas.microsoft.com/office/drawing/2014/main" id="{0B162934-F95F-4FD2-AC96-79960B1B4E07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89" name="Group 1688">
                <a:extLst>
                  <a:ext uri="{FF2B5EF4-FFF2-40B4-BE49-F238E27FC236}">
                    <a16:creationId xmlns:a16="http://schemas.microsoft.com/office/drawing/2014/main" id="{6380309A-4FEB-4AE4-B25C-D0F1FF0D8AD3}"/>
                  </a:ext>
                </a:extLst>
              </p:cNvPr>
              <p:cNvGrpSpPr/>
              <p:nvPr/>
            </p:nvGrpSpPr>
            <p:grpSpPr>
              <a:xfrm>
                <a:off x="6836478" y="3887471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778" name="Freeform 487">
                  <a:extLst>
                    <a:ext uri="{FF2B5EF4-FFF2-40B4-BE49-F238E27FC236}">
                      <a16:creationId xmlns:a16="http://schemas.microsoft.com/office/drawing/2014/main" id="{033E4AAC-6781-4569-8643-533B4A19CEC2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79" name="Freeform 488">
                  <a:extLst>
                    <a:ext uri="{FF2B5EF4-FFF2-40B4-BE49-F238E27FC236}">
                      <a16:creationId xmlns:a16="http://schemas.microsoft.com/office/drawing/2014/main" id="{60BE97A0-8F52-4ECA-933E-AF141B3F5120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0" name="Freeform 489">
                  <a:extLst>
                    <a:ext uri="{FF2B5EF4-FFF2-40B4-BE49-F238E27FC236}">
                      <a16:creationId xmlns:a16="http://schemas.microsoft.com/office/drawing/2014/main" id="{7D62CCDC-9BC8-4611-967B-334DFFBE019D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0" name="Group 1689">
                <a:extLst>
                  <a:ext uri="{FF2B5EF4-FFF2-40B4-BE49-F238E27FC236}">
                    <a16:creationId xmlns:a16="http://schemas.microsoft.com/office/drawing/2014/main" id="{8F77CAAD-6FB9-4FDF-8BAC-A6EDFD5602D4}"/>
                  </a:ext>
                </a:extLst>
              </p:cNvPr>
              <p:cNvGrpSpPr/>
              <p:nvPr/>
            </p:nvGrpSpPr>
            <p:grpSpPr>
              <a:xfrm>
                <a:off x="6174996" y="3328540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775" name="Freeform 491">
                  <a:extLst>
                    <a:ext uri="{FF2B5EF4-FFF2-40B4-BE49-F238E27FC236}">
                      <a16:creationId xmlns:a16="http://schemas.microsoft.com/office/drawing/2014/main" id="{653653BF-03BF-418F-9783-1F206FA395BF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76" name="Freeform 492">
                  <a:extLst>
                    <a:ext uri="{FF2B5EF4-FFF2-40B4-BE49-F238E27FC236}">
                      <a16:creationId xmlns:a16="http://schemas.microsoft.com/office/drawing/2014/main" id="{967ACA95-FDA2-4CC1-8556-E4D456731237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77" name="Freeform 493">
                  <a:extLst>
                    <a:ext uri="{FF2B5EF4-FFF2-40B4-BE49-F238E27FC236}">
                      <a16:creationId xmlns:a16="http://schemas.microsoft.com/office/drawing/2014/main" id="{FEC610C8-4022-4B6E-A7F0-7502DD87FB58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1" name="Group 1690">
                <a:extLst>
                  <a:ext uri="{FF2B5EF4-FFF2-40B4-BE49-F238E27FC236}">
                    <a16:creationId xmlns:a16="http://schemas.microsoft.com/office/drawing/2014/main" id="{2385315D-F5FF-45CF-B163-D0C16CD7D488}"/>
                  </a:ext>
                </a:extLst>
              </p:cNvPr>
              <p:cNvGrpSpPr/>
              <p:nvPr/>
            </p:nvGrpSpPr>
            <p:grpSpPr>
              <a:xfrm>
                <a:off x="6505737" y="3442129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772" name="Freeform 495">
                  <a:extLst>
                    <a:ext uri="{FF2B5EF4-FFF2-40B4-BE49-F238E27FC236}">
                      <a16:creationId xmlns:a16="http://schemas.microsoft.com/office/drawing/2014/main" id="{550DC953-A000-4B73-A4A3-B1F635BC5469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73" name="Freeform 496">
                  <a:extLst>
                    <a:ext uri="{FF2B5EF4-FFF2-40B4-BE49-F238E27FC236}">
                      <a16:creationId xmlns:a16="http://schemas.microsoft.com/office/drawing/2014/main" id="{54E5BB4E-52A6-47D9-90EF-1E77C7C5C8C9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74" name="Freeform 497">
                  <a:extLst>
                    <a:ext uri="{FF2B5EF4-FFF2-40B4-BE49-F238E27FC236}">
                      <a16:creationId xmlns:a16="http://schemas.microsoft.com/office/drawing/2014/main" id="{9F8FF6D8-F6F5-4761-B0B3-41375D97F90C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2" name="Group 1691">
                <a:extLst>
                  <a:ext uri="{FF2B5EF4-FFF2-40B4-BE49-F238E27FC236}">
                    <a16:creationId xmlns:a16="http://schemas.microsoft.com/office/drawing/2014/main" id="{1E503BC1-9697-4B44-A675-5854281382D3}"/>
                  </a:ext>
                </a:extLst>
              </p:cNvPr>
              <p:cNvGrpSpPr/>
              <p:nvPr/>
            </p:nvGrpSpPr>
            <p:grpSpPr>
              <a:xfrm>
                <a:off x="6836478" y="3555718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769" name="Freeform 499">
                  <a:extLst>
                    <a:ext uri="{FF2B5EF4-FFF2-40B4-BE49-F238E27FC236}">
                      <a16:creationId xmlns:a16="http://schemas.microsoft.com/office/drawing/2014/main" id="{3E701325-DC50-4C6E-9447-423BF29F13B9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70" name="Freeform 500">
                  <a:extLst>
                    <a:ext uri="{FF2B5EF4-FFF2-40B4-BE49-F238E27FC236}">
                      <a16:creationId xmlns:a16="http://schemas.microsoft.com/office/drawing/2014/main" id="{24B98015-D9BD-4F1A-A41E-D9FB2FC893B5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71" name="Freeform 501">
                  <a:extLst>
                    <a:ext uri="{FF2B5EF4-FFF2-40B4-BE49-F238E27FC236}">
                      <a16:creationId xmlns:a16="http://schemas.microsoft.com/office/drawing/2014/main" id="{9162128E-E9F9-4870-9EFA-9DDBCABCED32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3" name="Group 1692">
                <a:extLst>
                  <a:ext uri="{FF2B5EF4-FFF2-40B4-BE49-F238E27FC236}">
                    <a16:creationId xmlns:a16="http://schemas.microsoft.com/office/drawing/2014/main" id="{ECC1F685-16EF-44E2-A755-C1150C65F382}"/>
                  </a:ext>
                </a:extLst>
              </p:cNvPr>
              <p:cNvGrpSpPr/>
              <p:nvPr/>
            </p:nvGrpSpPr>
            <p:grpSpPr>
              <a:xfrm>
                <a:off x="6174995" y="2996788"/>
                <a:ext cx="661482" cy="560933"/>
                <a:chOff x="6673852" y="2507796"/>
                <a:chExt cx="3493295" cy="3112291"/>
              </a:xfrm>
              <a:grpFill/>
            </p:grpSpPr>
            <p:sp>
              <p:nvSpPr>
                <p:cNvPr id="1766" name="Freeform 503">
                  <a:extLst>
                    <a:ext uri="{FF2B5EF4-FFF2-40B4-BE49-F238E27FC236}">
                      <a16:creationId xmlns:a16="http://schemas.microsoft.com/office/drawing/2014/main" id="{236995EB-33B8-4C3A-86DE-A05A6747B4B7}"/>
                    </a:ext>
                  </a:extLst>
                </p:cNvPr>
                <p:cNvSpPr/>
                <p:nvPr/>
              </p:nvSpPr>
              <p:spPr>
                <a:xfrm>
                  <a:off x="6673852" y="3138031"/>
                  <a:ext cx="1764508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7" name="Freeform 504">
                  <a:extLst>
                    <a:ext uri="{FF2B5EF4-FFF2-40B4-BE49-F238E27FC236}">
                      <a16:creationId xmlns:a16="http://schemas.microsoft.com/office/drawing/2014/main" id="{CC41B564-A4FF-4CC3-9015-88DA3AC87188}"/>
                    </a:ext>
                  </a:extLst>
                </p:cNvPr>
                <p:cNvSpPr/>
                <p:nvPr/>
              </p:nvSpPr>
              <p:spPr>
                <a:xfrm>
                  <a:off x="8427248" y="3149146"/>
                  <a:ext cx="1739899" cy="2470149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8" name="Freeform 505">
                  <a:extLst>
                    <a:ext uri="{FF2B5EF4-FFF2-40B4-BE49-F238E27FC236}">
                      <a16:creationId xmlns:a16="http://schemas.microsoft.com/office/drawing/2014/main" id="{050D19BC-CB27-4FD3-8FD9-D24BDA8229F2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3" cy="1270002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4" name="Group 1693">
                <a:extLst>
                  <a:ext uri="{FF2B5EF4-FFF2-40B4-BE49-F238E27FC236}">
                    <a16:creationId xmlns:a16="http://schemas.microsoft.com/office/drawing/2014/main" id="{26892CBC-EA3E-41E0-A41A-2FDE59D8AEF2}"/>
                  </a:ext>
                </a:extLst>
              </p:cNvPr>
              <p:cNvGrpSpPr/>
              <p:nvPr/>
            </p:nvGrpSpPr>
            <p:grpSpPr>
              <a:xfrm>
                <a:off x="6505738" y="3110376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763" name="Freeform 507">
                  <a:extLst>
                    <a:ext uri="{FF2B5EF4-FFF2-40B4-BE49-F238E27FC236}">
                      <a16:creationId xmlns:a16="http://schemas.microsoft.com/office/drawing/2014/main" id="{44D40002-424F-428C-BA00-6788576C2EC8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4" name="Freeform 508">
                  <a:extLst>
                    <a:ext uri="{FF2B5EF4-FFF2-40B4-BE49-F238E27FC236}">
                      <a16:creationId xmlns:a16="http://schemas.microsoft.com/office/drawing/2014/main" id="{CC83B273-5484-45A2-B152-8F61176F3AB3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5" name="Freeform 509">
                  <a:extLst>
                    <a:ext uri="{FF2B5EF4-FFF2-40B4-BE49-F238E27FC236}">
                      <a16:creationId xmlns:a16="http://schemas.microsoft.com/office/drawing/2014/main" id="{F4BB4B77-12CC-4D2D-A3C6-0333E6E3BFFB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5" name="Group 1694">
                <a:extLst>
                  <a:ext uri="{FF2B5EF4-FFF2-40B4-BE49-F238E27FC236}">
                    <a16:creationId xmlns:a16="http://schemas.microsoft.com/office/drawing/2014/main" id="{A38695BB-4BD5-4055-B62A-FABB37FCF52B}"/>
                  </a:ext>
                </a:extLst>
              </p:cNvPr>
              <p:cNvGrpSpPr/>
              <p:nvPr/>
            </p:nvGrpSpPr>
            <p:grpSpPr>
              <a:xfrm>
                <a:off x="6836478" y="3223965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760" name="Freeform 511">
                  <a:extLst>
                    <a:ext uri="{FF2B5EF4-FFF2-40B4-BE49-F238E27FC236}">
                      <a16:creationId xmlns:a16="http://schemas.microsoft.com/office/drawing/2014/main" id="{A8EA6250-EE6F-41B5-BFBA-2E207DBBEE96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1" name="Freeform 512">
                  <a:extLst>
                    <a:ext uri="{FF2B5EF4-FFF2-40B4-BE49-F238E27FC236}">
                      <a16:creationId xmlns:a16="http://schemas.microsoft.com/office/drawing/2014/main" id="{CCE1C4DA-0494-4E5A-9889-D98FBE242FF8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2" name="Freeform 513">
                  <a:extLst>
                    <a:ext uri="{FF2B5EF4-FFF2-40B4-BE49-F238E27FC236}">
                      <a16:creationId xmlns:a16="http://schemas.microsoft.com/office/drawing/2014/main" id="{59CF70C4-16C0-4D3A-B519-5AFC4EF8B542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6" name="Group 1695">
                <a:extLst>
                  <a:ext uri="{FF2B5EF4-FFF2-40B4-BE49-F238E27FC236}">
                    <a16:creationId xmlns:a16="http://schemas.microsoft.com/office/drawing/2014/main" id="{D5CA88FE-2543-4DA9-BCF3-EAE3B19B2CE3}"/>
                  </a:ext>
                </a:extLst>
              </p:cNvPr>
              <p:cNvGrpSpPr/>
              <p:nvPr/>
            </p:nvGrpSpPr>
            <p:grpSpPr>
              <a:xfrm>
                <a:off x="6174016" y="2666892"/>
                <a:ext cx="661482" cy="560934"/>
                <a:chOff x="6673852" y="2507796"/>
                <a:chExt cx="3493295" cy="3112292"/>
              </a:xfrm>
              <a:grpFill/>
            </p:grpSpPr>
            <p:sp>
              <p:nvSpPr>
                <p:cNvPr id="1757" name="Freeform 515">
                  <a:extLst>
                    <a:ext uri="{FF2B5EF4-FFF2-40B4-BE49-F238E27FC236}">
                      <a16:creationId xmlns:a16="http://schemas.microsoft.com/office/drawing/2014/main" id="{474493EA-742F-4F81-BE7A-A8B3AF8D05C3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58" name="Freeform 516">
                  <a:extLst>
                    <a:ext uri="{FF2B5EF4-FFF2-40B4-BE49-F238E27FC236}">
                      <a16:creationId xmlns:a16="http://schemas.microsoft.com/office/drawing/2014/main" id="{99AE45F5-0249-4B4C-95F6-588240A0C459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59" name="Freeform 517">
                  <a:extLst>
                    <a:ext uri="{FF2B5EF4-FFF2-40B4-BE49-F238E27FC236}">
                      <a16:creationId xmlns:a16="http://schemas.microsoft.com/office/drawing/2014/main" id="{6CD31FF5-E0C6-495F-8314-D872FAC5D1D9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7" name="Group 1696">
                <a:extLst>
                  <a:ext uri="{FF2B5EF4-FFF2-40B4-BE49-F238E27FC236}">
                    <a16:creationId xmlns:a16="http://schemas.microsoft.com/office/drawing/2014/main" id="{AEF49BCA-33EA-4283-A311-41CB47E50C25}"/>
                  </a:ext>
                </a:extLst>
              </p:cNvPr>
              <p:cNvGrpSpPr/>
              <p:nvPr/>
            </p:nvGrpSpPr>
            <p:grpSpPr>
              <a:xfrm>
                <a:off x="6504756" y="2780481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754" name="Freeform 519">
                  <a:extLst>
                    <a:ext uri="{FF2B5EF4-FFF2-40B4-BE49-F238E27FC236}">
                      <a16:creationId xmlns:a16="http://schemas.microsoft.com/office/drawing/2014/main" id="{6BC6531A-8728-434B-86B7-F2378B6DA531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55" name="Freeform 520">
                  <a:extLst>
                    <a:ext uri="{FF2B5EF4-FFF2-40B4-BE49-F238E27FC236}">
                      <a16:creationId xmlns:a16="http://schemas.microsoft.com/office/drawing/2014/main" id="{53CC03A7-6C07-47ED-A491-71A036A7FA9D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56" name="Freeform 521">
                  <a:extLst>
                    <a:ext uri="{FF2B5EF4-FFF2-40B4-BE49-F238E27FC236}">
                      <a16:creationId xmlns:a16="http://schemas.microsoft.com/office/drawing/2014/main" id="{911CA6A9-8ACF-4850-9485-0107BABD8E86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8" name="Group 1697">
                <a:extLst>
                  <a:ext uri="{FF2B5EF4-FFF2-40B4-BE49-F238E27FC236}">
                    <a16:creationId xmlns:a16="http://schemas.microsoft.com/office/drawing/2014/main" id="{F82B38ED-EB7C-420E-AA9B-B90B5550AF8B}"/>
                  </a:ext>
                </a:extLst>
              </p:cNvPr>
              <p:cNvGrpSpPr/>
              <p:nvPr/>
            </p:nvGrpSpPr>
            <p:grpSpPr>
              <a:xfrm>
                <a:off x="6835497" y="2894073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751" name="Freeform 523">
                  <a:extLst>
                    <a:ext uri="{FF2B5EF4-FFF2-40B4-BE49-F238E27FC236}">
                      <a16:creationId xmlns:a16="http://schemas.microsoft.com/office/drawing/2014/main" id="{C9D3F4EC-FED3-4ABB-9302-FABF4DCF825E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52" name="Freeform 524">
                  <a:extLst>
                    <a:ext uri="{FF2B5EF4-FFF2-40B4-BE49-F238E27FC236}">
                      <a16:creationId xmlns:a16="http://schemas.microsoft.com/office/drawing/2014/main" id="{E721716E-80CB-47F8-8C91-D85624F6B619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53" name="Freeform 525">
                  <a:extLst>
                    <a:ext uri="{FF2B5EF4-FFF2-40B4-BE49-F238E27FC236}">
                      <a16:creationId xmlns:a16="http://schemas.microsoft.com/office/drawing/2014/main" id="{176BB15B-8516-46EE-8CFD-D397F5A18099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99" name="Group 1698">
                <a:extLst>
                  <a:ext uri="{FF2B5EF4-FFF2-40B4-BE49-F238E27FC236}">
                    <a16:creationId xmlns:a16="http://schemas.microsoft.com/office/drawing/2014/main" id="{38C5C84C-52A1-4FCD-B7EA-C8FB4FA0694A}"/>
                  </a:ext>
                </a:extLst>
              </p:cNvPr>
              <p:cNvGrpSpPr/>
              <p:nvPr/>
            </p:nvGrpSpPr>
            <p:grpSpPr>
              <a:xfrm>
                <a:off x="7172231" y="4001720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748" name="Freeform 527">
                  <a:extLst>
                    <a:ext uri="{FF2B5EF4-FFF2-40B4-BE49-F238E27FC236}">
                      <a16:creationId xmlns:a16="http://schemas.microsoft.com/office/drawing/2014/main" id="{AB8AEE7B-F039-408F-8D9B-8DB2138FA4BC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9" name="Freeform 528">
                  <a:extLst>
                    <a:ext uri="{FF2B5EF4-FFF2-40B4-BE49-F238E27FC236}">
                      <a16:creationId xmlns:a16="http://schemas.microsoft.com/office/drawing/2014/main" id="{B32BC23B-A1FA-4F46-8696-D6628151C8BB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50" name="Freeform 529">
                  <a:extLst>
                    <a:ext uri="{FF2B5EF4-FFF2-40B4-BE49-F238E27FC236}">
                      <a16:creationId xmlns:a16="http://schemas.microsoft.com/office/drawing/2014/main" id="{AEB7A953-A760-4F09-BE35-F75E4BEB072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0" name="Group 1699">
                <a:extLst>
                  <a:ext uri="{FF2B5EF4-FFF2-40B4-BE49-F238E27FC236}">
                    <a16:creationId xmlns:a16="http://schemas.microsoft.com/office/drawing/2014/main" id="{FE2D584D-FB6D-4EF0-9073-ADDEC85C5221}"/>
                  </a:ext>
                </a:extLst>
              </p:cNvPr>
              <p:cNvGrpSpPr/>
              <p:nvPr/>
            </p:nvGrpSpPr>
            <p:grpSpPr>
              <a:xfrm>
                <a:off x="7172231" y="3669966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745" name="Freeform 531">
                  <a:extLst>
                    <a:ext uri="{FF2B5EF4-FFF2-40B4-BE49-F238E27FC236}">
                      <a16:creationId xmlns:a16="http://schemas.microsoft.com/office/drawing/2014/main" id="{09F662CF-5C94-4C59-8704-E02C480655AC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6" name="Freeform 532">
                  <a:extLst>
                    <a:ext uri="{FF2B5EF4-FFF2-40B4-BE49-F238E27FC236}">
                      <a16:creationId xmlns:a16="http://schemas.microsoft.com/office/drawing/2014/main" id="{498B0271-1BCF-4F90-8AD0-802349B7B5FE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7" name="Freeform 533">
                  <a:extLst>
                    <a:ext uri="{FF2B5EF4-FFF2-40B4-BE49-F238E27FC236}">
                      <a16:creationId xmlns:a16="http://schemas.microsoft.com/office/drawing/2014/main" id="{41E1A47A-ECE3-442F-974D-07CCC64C3DFF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1" name="Group 1700">
                <a:extLst>
                  <a:ext uri="{FF2B5EF4-FFF2-40B4-BE49-F238E27FC236}">
                    <a16:creationId xmlns:a16="http://schemas.microsoft.com/office/drawing/2014/main" id="{A8F85187-412E-4F73-AE42-B36123CEC374}"/>
                  </a:ext>
                </a:extLst>
              </p:cNvPr>
              <p:cNvGrpSpPr/>
              <p:nvPr/>
            </p:nvGrpSpPr>
            <p:grpSpPr>
              <a:xfrm>
                <a:off x="7172231" y="3338213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742" name="Freeform 535">
                  <a:extLst>
                    <a:ext uri="{FF2B5EF4-FFF2-40B4-BE49-F238E27FC236}">
                      <a16:creationId xmlns:a16="http://schemas.microsoft.com/office/drawing/2014/main" id="{70763EE4-FCAF-42BA-91E5-B887BE35A55C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3" name="Freeform 536">
                  <a:extLst>
                    <a:ext uri="{FF2B5EF4-FFF2-40B4-BE49-F238E27FC236}">
                      <a16:creationId xmlns:a16="http://schemas.microsoft.com/office/drawing/2014/main" id="{7958FE58-7D05-4C10-9204-0E43B5EF8658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4" name="Freeform 537">
                  <a:extLst>
                    <a:ext uri="{FF2B5EF4-FFF2-40B4-BE49-F238E27FC236}">
                      <a16:creationId xmlns:a16="http://schemas.microsoft.com/office/drawing/2014/main" id="{3C7639E3-9E06-4234-983C-8E660E96A997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2" name="Group 1701">
                <a:extLst>
                  <a:ext uri="{FF2B5EF4-FFF2-40B4-BE49-F238E27FC236}">
                    <a16:creationId xmlns:a16="http://schemas.microsoft.com/office/drawing/2014/main" id="{EA9019F1-2092-4FF9-9E15-8E47E8C7DDDB}"/>
                  </a:ext>
                </a:extLst>
              </p:cNvPr>
              <p:cNvGrpSpPr/>
              <p:nvPr/>
            </p:nvGrpSpPr>
            <p:grpSpPr>
              <a:xfrm>
                <a:off x="7171255" y="3008319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739" name="Freeform 539">
                  <a:extLst>
                    <a:ext uri="{FF2B5EF4-FFF2-40B4-BE49-F238E27FC236}">
                      <a16:creationId xmlns:a16="http://schemas.microsoft.com/office/drawing/2014/main" id="{AA24C81C-0A65-467B-81EB-C44F4ADF8B49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0" name="Freeform 540">
                  <a:extLst>
                    <a:ext uri="{FF2B5EF4-FFF2-40B4-BE49-F238E27FC236}">
                      <a16:creationId xmlns:a16="http://schemas.microsoft.com/office/drawing/2014/main" id="{683D4079-BA6D-4F5A-B2AA-8DD9CE541B65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1" name="Freeform 541">
                  <a:extLst>
                    <a:ext uri="{FF2B5EF4-FFF2-40B4-BE49-F238E27FC236}">
                      <a16:creationId xmlns:a16="http://schemas.microsoft.com/office/drawing/2014/main" id="{005DC58D-8323-40F7-A18A-6CFB7707097F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3" name="Group 1702">
                <a:extLst>
                  <a:ext uri="{FF2B5EF4-FFF2-40B4-BE49-F238E27FC236}">
                    <a16:creationId xmlns:a16="http://schemas.microsoft.com/office/drawing/2014/main" id="{E2613CAE-04FA-46D8-84CF-F0EA4E31BDC5}"/>
                  </a:ext>
                </a:extLst>
              </p:cNvPr>
              <p:cNvGrpSpPr/>
              <p:nvPr/>
            </p:nvGrpSpPr>
            <p:grpSpPr>
              <a:xfrm>
                <a:off x="7510236" y="4120971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736" name="Freeform 543">
                  <a:extLst>
                    <a:ext uri="{FF2B5EF4-FFF2-40B4-BE49-F238E27FC236}">
                      <a16:creationId xmlns:a16="http://schemas.microsoft.com/office/drawing/2014/main" id="{BB71ABC6-F9DB-49F0-BC9C-BC2F8B68C01A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37" name="Freeform 544">
                  <a:extLst>
                    <a:ext uri="{FF2B5EF4-FFF2-40B4-BE49-F238E27FC236}">
                      <a16:creationId xmlns:a16="http://schemas.microsoft.com/office/drawing/2014/main" id="{016DF190-DA41-4091-A965-0D6FF5D5F736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38" name="Freeform 545">
                  <a:extLst>
                    <a:ext uri="{FF2B5EF4-FFF2-40B4-BE49-F238E27FC236}">
                      <a16:creationId xmlns:a16="http://schemas.microsoft.com/office/drawing/2014/main" id="{49BF5D34-464F-499C-B710-ABF748D0F719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4" name="Group 1703">
                <a:extLst>
                  <a:ext uri="{FF2B5EF4-FFF2-40B4-BE49-F238E27FC236}">
                    <a16:creationId xmlns:a16="http://schemas.microsoft.com/office/drawing/2014/main" id="{A7962734-BFF9-4951-997C-FA187DC08D48}"/>
                  </a:ext>
                </a:extLst>
              </p:cNvPr>
              <p:cNvGrpSpPr/>
              <p:nvPr/>
            </p:nvGrpSpPr>
            <p:grpSpPr>
              <a:xfrm>
                <a:off x="7510236" y="3789217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733" name="Freeform 547">
                  <a:extLst>
                    <a:ext uri="{FF2B5EF4-FFF2-40B4-BE49-F238E27FC236}">
                      <a16:creationId xmlns:a16="http://schemas.microsoft.com/office/drawing/2014/main" id="{2E949168-D97F-4043-82A2-44FF09C4138A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34" name="Freeform 548">
                  <a:extLst>
                    <a:ext uri="{FF2B5EF4-FFF2-40B4-BE49-F238E27FC236}">
                      <a16:creationId xmlns:a16="http://schemas.microsoft.com/office/drawing/2014/main" id="{C18DF7B6-7E5C-471B-A0AB-F53111DBB1BB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35" name="Freeform 549">
                  <a:extLst>
                    <a:ext uri="{FF2B5EF4-FFF2-40B4-BE49-F238E27FC236}">
                      <a16:creationId xmlns:a16="http://schemas.microsoft.com/office/drawing/2014/main" id="{25E82776-439F-4343-BA4E-79535C33C695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5" name="Group 1704">
                <a:extLst>
                  <a:ext uri="{FF2B5EF4-FFF2-40B4-BE49-F238E27FC236}">
                    <a16:creationId xmlns:a16="http://schemas.microsoft.com/office/drawing/2014/main" id="{6E00BCD2-84AA-4E58-89D5-FEE4B5186AF9}"/>
                  </a:ext>
                </a:extLst>
              </p:cNvPr>
              <p:cNvGrpSpPr/>
              <p:nvPr/>
            </p:nvGrpSpPr>
            <p:grpSpPr>
              <a:xfrm>
                <a:off x="7510236" y="3457463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730" name="Freeform 551">
                  <a:extLst>
                    <a:ext uri="{FF2B5EF4-FFF2-40B4-BE49-F238E27FC236}">
                      <a16:creationId xmlns:a16="http://schemas.microsoft.com/office/drawing/2014/main" id="{55A3CDED-AF0F-4593-B0B0-599133C6F93D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31" name="Freeform 552">
                  <a:extLst>
                    <a:ext uri="{FF2B5EF4-FFF2-40B4-BE49-F238E27FC236}">
                      <a16:creationId xmlns:a16="http://schemas.microsoft.com/office/drawing/2014/main" id="{033D320F-BDC9-4C22-A0F0-6656638E9EC6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32" name="Freeform 553">
                  <a:extLst>
                    <a:ext uri="{FF2B5EF4-FFF2-40B4-BE49-F238E27FC236}">
                      <a16:creationId xmlns:a16="http://schemas.microsoft.com/office/drawing/2014/main" id="{CA3BB7DF-B53A-40C5-BF34-B881A79C32BE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6" name="Group 1705">
                <a:extLst>
                  <a:ext uri="{FF2B5EF4-FFF2-40B4-BE49-F238E27FC236}">
                    <a16:creationId xmlns:a16="http://schemas.microsoft.com/office/drawing/2014/main" id="{62D46E0D-E91A-4AB8-85E9-AFA266F9E67A}"/>
                  </a:ext>
                </a:extLst>
              </p:cNvPr>
              <p:cNvGrpSpPr/>
              <p:nvPr/>
            </p:nvGrpSpPr>
            <p:grpSpPr>
              <a:xfrm>
                <a:off x="7509260" y="3127570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727" name="Freeform 555">
                  <a:extLst>
                    <a:ext uri="{FF2B5EF4-FFF2-40B4-BE49-F238E27FC236}">
                      <a16:creationId xmlns:a16="http://schemas.microsoft.com/office/drawing/2014/main" id="{B1C0F2BD-5893-4BE5-9D33-BE544FDC9895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8" name="Freeform 556">
                  <a:extLst>
                    <a:ext uri="{FF2B5EF4-FFF2-40B4-BE49-F238E27FC236}">
                      <a16:creationId xmlns:a16="http://schemas.microsoft.com/office/drawing/2014/main" id="{6759D786-40E1-468D-A726-1076B9F5475E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9" name="Freeform 557">
                  <a:extLst>
                    <a:ext uri="{FF2B5EF4-FFF2-40B4-BE49-F238E27FC236}">
                      <a16:creationId xmlns:a16="http://schemas.microsoft.com/office/drawing/2014/main" id="{69C81F73-7410-43A2-AE4F-6000354831F3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7" name="Group 1706">
                <a:extLst>
                  <a:ext uri="{FF2B5EF4-FFF2-40B4-BE49-F238E27FC236}">
                    <a16:creationId xmlns:a16="http://schemas.microsoft.com/office/drawing/2014/main" id="{116ECE2F-71AB-4D0C-A87F-6D355D37DF8F}"/>
                  </a:ext>
                </a:extLst>
              </p:cNvPr>
              <p:cNvGrpSpPr/>
              <p:nvPr/>
            </p:nvGrpSpPr>
            <p:grpSpPr>
              <a:xfrm>
                <a:off x="6168570" y="2341066"/>
                <a:ext cx="661482" cy="560934"/>
                <a:chOff x="6673852" y="2507796"/>
                <a:chExt cx="3493295" cy="3112292"/>
              </a:xfrm>
              <a:grpFill/>
            </p:grpSpPr>
            <p:sp>
              <p:nvSpPr>
                <p:cNvPr id="1724" name="Freeform 642">
                  <a:extLst>
                    <a:ext uri="{FF2B5EF4-FFF2-40B4-BE49-F238E27FC236}">
                      <a16:creationId xmlns:a16="http://schemas.microsoft.com/office/drawing/2014/main" id="{EDE859FF-5CED-4376-8A2B-04067216EFDA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5" name="Freeform 643">
                  <a:extLst>
                    <a:ext uri="{FF2B5EF4-FFF2-40B4-BE49-F238E27FC236}">
                      <a16:creationId xmlns:a16="http://schemas.microsoft.com/office/drawing/2014/main" id="{787BD640-2790-4DC3-BF74-49D1679396F2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6" name="Freeform 644">
                  <a:extLst>
                    <a:ext uri="{FF2B5EF4-FFF2-40B4-BE49-F238E27FC236}">
                      <a16:creationId xmlns:a16="http://schemas.microsoft.com/office/drawing/2014/main" id="{65EA6B63-6952-44DB-BDB6-701F7695BDA2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8" name="Group 1707">
                <a:extLst>
                  <a:ext uri="{FF2B5EF4-FFF2-40B4-BE49-F238E27FC236}">
                    <a16:creationId xmlns:a16="http://schemas.microsoft.com/office/drawing/2014/main" id="{20457915-93F2-498F-B942-0A5DABE4C6C8}"/>
                  </a:ext>
                </a:extLst>
              </p:cNvPr>
              <p:cNvGrpSpPr/>
              <p:nvPr/>
            </p:nvGrpSpPr>
            <p:grpSpPr>
              <a:xfrm>
                <a:off x="6499310" y="2454655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721" name="Freeform 646">
                  <a:extLst>
                    <a:ext uri="{FF2B5EF4-FFF2-40B4-BE49-F238E27FC236}">
                      <a16:creationId xmlns:a16="http://schemas.microsoft.com/office/drawing/2014/main" id="{3EC37958-E2C6-4005-9709-A2D5EA776DA0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2" name="Freeform 647">
                  <a:extLst>
                    <a:ext uri="{FF2B5EF4-FFF2-40B4-BE49-F238E27FC236}">
                      <a16:creationId xmlns:a16="http://schemas.microsoft.com/office/drawing/2014/main" id="{658676E3-AAD0-4E11-ACAF-7A9521FA8DF4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3" name="Freeform 648">
                  <a:extLst>
                    <a:ext uri="{FF2B5EF4-FFF2-40B4-BE49-F238E27FC236}">
                      <a16:creationId xmlns:a16="http://schemas.microsoft.com/office/drawing/2014/main" id="{7947CC5B-9935-4144-B6CD-0F1F52720626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09" name="Group 1708">
                <a:extLst>
                  <a:ext uri="{FF2B5EF4-FFF2-40B4-BE49-F238E27FC236}">
                    <a16:creationId xmlns:a16="http://schemas.microsoft.com/office/drawing/2014/main" id="{830E1815-A79B-43F3-9F04-B838FE14840F}"/>
                  </a:ext>
                </a:extLst>
              </p:cNvPr>
              <p:cNvGrpSpPr/>
              <p:nvPr/>
            </p:nvGrpSpPr>
            <p:grpSpPr>
              <a:xfrm>
                <a:off x="6830051" y="2568246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718" name="Freeform 650">
                  <a:extLst>
                    <a:ext uri="{FF2B5EF4-FFF2-40B4-BE49-F238E27FC236}">
                      <a16:creationId xmlns:a16="http://schemas.microsoft.com/office/drawing/2014/main" id="{70DC99FB-5B97-4E56-B2BE-408534AC655C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19" name="Freeform 651">
                  <a:extLst>
                    <a:ext uri="{FF2B5EF4-FFF2-40B4-BE49-F238E27FC236}">
                      <a16:creationId xmlns:a16="http://schemas.microsoft.com/office/drawing/2014/main" id="{866CBB05-3F43-4456-BADE-E1C3891A0083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0" name="Freeform 652">
                  <a:extLst>
                    <a:ext uri="{FF2B5EF4-FFF2-40B4-BE49-F238E27FC236}">
                      <a16:creationId xmlns:a16="http://schemas.microsoft.com/office/drawing/2014/main" id="{75A61DE5-296B-422D-921B-0AE71E372E15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0" name="Group 1709">
                <a:extLst>
                  <a:ext uri="{FF2B5EF4-FFF2-40B4-BE49-F238E27FC236}">
                    <a16:creationId xmlns:a16="http://schemas.microsoft.com/office/drawing/2014/main" id="{D056B15E-CA78-4C40-93A6-C516CF01BF5D}"/>
                  </a:ext>
                </a:extLst>
              </p:cNvPr>
              <p:cNvGrpSpPr/>
              <p:nvPr/>
            </p:nvGrpSpPr>
            <p:grpSpPr>
              <a:xfrm>
                <a:off x="7165809" y="2682492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715" name="Freeform 654">
                  <a:extLst>
                    <a:ext uri="{FF2B5EF4-FFF2-40B4-BE49-F238E27FC236}">
                      <a16:creationId xmlns:a16="http://schemas.microsoft.com/office/drawing/2014/main" id="{48FF73D1-AA45-4ADD-AE30-175005F67CD7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16" name="Freeform 655">
                  <a:extLst>
                    <a:ext uri="{FF2B5EF4-FFF2-40B4-BE49-F238E27FC236}">
                      <a16:creationId xmlns:a16="http://schemas.microsoft.com/office/drawing/2014/main" id="{2F829FB2-D419-42AF-97FB-9D3B10569567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17" name="Freeform 656">
                  <a:extLst>
                    <a:ext uri="{FF2B5EF4-FFF2-40B4-BE49-F238E27FC236}">
                      <a16:creationId xmlns:a16="http://schemas.microsoft.com/office/drawing/2014/main" id="{D04C4FE3-A391-4687-B058-6EDF642751B1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1" name="Group 1710">
                <a:extLst>
                  <a:ext uri="{FF2B5EF4-FFF2-40B4-BE49-F238E27FC236}">
                    <a16:creationId xmlns:a16="http://schemas.microsoft.com/office/drawing/2014/main" id="{6277ADDB-F8D1-464A-9B82-B4856A92E8EA}"/>
                  </a:ext>
                </a:extLst>
              </p:cNvPr>
              <p:cNvGrpSpPr/>
              <p:nvPr/>
            </p:nvGrpSpPr>
            <p:grpSpPr>
              <a:xfrm>
                <a:off x="7503814" y="2801743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712" name="Freeform 658">
                  <a:extLst>
                    <a:ext uri="{FF2B5EF4-FFF2-40B4-BE49-F238E27FC236}">
                      <a16:creationId xmlns:a16="http://schemas.microsoft.com/office/drawing/2014/main" id="{4D6E14BB-37DE-4D86-8CD9-C8C40C728F80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13" name="Freeform 659">
                  <a:extLst>
                    <a:ext uri="{FF2B5EF4-FFF2-40B4-BE49-F238E27FC236}">
                      <a16:creationId xmlns:a16="http://schemas.microsoft.com/office/drawing/2014/main" id="{3480DF95-B8FA-4416-B6EE-28F0CAB263BF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14" name="Freeform 660">
                  <a:extLst>
                    <a:ext uri="{FF2B5EF4-FFF2-40B4-BE49-F238E27FC236}">
                      <a16:creationId xmlns:a16="http://schemas.microsoft.com/office/drawing/2014/main" id="{78BFBE91-C79D-453C-A8BE-68999EC3F061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279" name="Group 1278">
              <a:extLst>
                <a:ext uri="{FF2B5EF4-FFF2-40B4-BE49-F238E27FC236}">
                  <a16:creationId xmlns:a16="http://schemas.microsoft.com/office/drawing/2014/main" id="{81A9C0BF-E779-49BC-8591-009D6A9CBEA3}"/>
                </a:ext>
              </a:extLst>
            </p:cNvPr>
            <p:cNvGrpSpPr/>
            <p:nvPr/>
          </p:nvGrpSpPr>
          <p:grpSpPr>
            <a:xfrm>
              <a:off x="10523830" y="2585995"/>
              <a:ext cx="873490" cy="1162881"/>
              <a:chOff x="6168570" y="2341066"/>
              <a:chExt cx="2003149" cy="2340838"/>
            </a:xfrm>
            <a:solidFill>
              <a:srgbClr val="6B60B4">
                <a:alpha val="50196"/>
              </a:srgbClr>
            </a:solidFill>
          </p:grpSpPr>
          <p:grpSp>
            <p:nvGrpSpPr>
              <p:cNvPr id="1587" name="Group 1586">
                <a:extLst>
                  <a:ext uri="{FF2B5EF4-FFF2-40B4-BE49-F238E27FC236}">
                    <a16:creationId xmlns:a16="http://schemas.microsoft.com/office/drawing/2014/main" id="{67E7C4C9-60D5-4B79-8054-71B43CB09076}"/>
                  </a:ext>
                </a:extLst>
              </p:cNvPr>
              <p:cNvGrpSpPr/>
              <p:nvPr/>
            </p:nvGrpSpPr>
            <p:grpSpPr>
              <a:xfrm>
                <a:off x="6174996" y="3660293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684" name="Freeform 479">
                  <a:extLst>
                    <a:ext uri="{FF2B5EF4-FFF2-40B4-BE49-F238E27FC236}">
                      <a16:creationId xmlns:a16="http://schemas.microsoft.com/office/drawing/2014/main" id="{2354EABB-852E-4AFA-B5DC-7691CF6F9D2B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5" name="Freeform 480">
                  <a:extLst>
                    <a:ext uri="{FF2B5EF4-FFF2-40B4-BE49-F238E27FC236}">
                      <a16:creationId xmlns:a16="http://schemas.microsoft.com/office/drawing/2014/main" id="{49456C1C-84EF-4C68-A84A-31C699923D5E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6" name="Freeform 481">
                  <a:extLst>
                    <a:ext uri="{FF2B5EF4-FFF2-40B4-BE49-F238E27FC236}">
                      <a16:creationId xmlns:a16="http://schemas.microsoft.com/office/drawing/2014/main" id="{C54C49B7-CF4D-47CB-A8D4-0900133FEFB8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88" name="Group 1587">
                <a:extLst>
                  <a:ext uri="{FF2B5EF4-FFF2-40B4-BE49-F238E27FC236}">
                    <a16:creationId xmlns:a16="http://schemas.microsoft.com/office/drawing/2014/main" id="{DC6FDD42-6695-48CD-949D-BF45851AC931}"/>
                  </a:ext>
                </a:extLst>
              </p:cNvPr>
              <p:cNvGrpSpPr/>
              <p:nvPr/>
            </p:nvGrpSpPr>
            <p:grpSpPr>
              <a:xfrm>
                <a:off x="6505737" y="3773882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681" name="Freeform 483">
                  <a:extLst>
                    <a:ext uri="{FF2B5EF4-FFF2-40B4-BE49-F238E27FC236}">
                      <a16:creationId xmlns:a16="http://schemas.microsoft.com/office/drawing/2014/main" id="{DA780EA2-1B41-48F2-AFD6-EFBD6FBAA85A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2" name="Freeform 484">
                  <a:extLst>
                    <a:ext uri="{FF2B5EF4-FFF2-40B4-BE49-F238E27FC236}">
                      <a16:creationId xmlns:a16="http://schemas.microsoft.com/office/drawing/2014/main" id="{68E288FC-CC92-4630-A2DA-9B9794CDBE68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3" name="Freeform 485">
                  <a:extLst>
                    <a:ext uri="{FF2B5EF4-FFF2-40B4-BE49-F238E27FC236}">
                      <a16:creationId xmlns:a16="http://schemas.microsoft.com/office/drawing/2014/main" id="{4C060C59-D60F-4D62-A8B9-B116562AEE0C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89" name="Group 1588">
                <a:extLst>
                  <a:ext uri="{FF2B5EF4-FFF2-40B4-BE49-F238E27FC236}">
                    <a16:creationId xmlns:a16="http://schemas.microsoft.com/office/drawing/2014/main" id="{BC9700DF-607E-4039-8A73-03E3D40FEB27}"/>
                  </a:ext>
                </a:extLst>
              </p:cNvPr>
              <p:cNvGrpSpPr/>
              <p:nvPr/>
            </p:nvGrpSpPr>
            <p:grpSpPr>
              <a:xfrm>
                <a:off x="6836478" y="3887471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678" name="Freeform 487">
                  <a:extLst>
                    <a:ext uri="{FF2B5EF4-FFF2-40B4-BE49-F238E27FC236}">
                      <a16:creationId xmlns:a16="http://schemas.microsoft.com/office/drawing/2014/main" id="{1D210165-887B-4065-BB2F-AC2B86F29B94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79" name="Freeform 488">
                  <a:extLst>
                    <a:ext uri="{FF2B5EF4-FFF2-40B4-BE49-F238E27FC236}">
                      <a16:creationId xmlns:a16="http://schemas.microsoft.com/office/drawing/2014/main" id="{73D6BD43-2EDC-4001-BA43-DC8E7CA302BE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0" name="Freeform 489">
                  <a:extLst>
                    <a:ext uri="{FF2B5EF4-FFF2-40B4-BE49-F238E27FC236}">
                      <a16:creationId xmlns:a16="http://schemas.microsoft.com/office/drawing/2014/main" id="{2DD95888-3809-443A-BAA5-875CFD228840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0" name="Group 1589">
                <a:extLst>
                  <a:ext uri="{FF2B5EF4-FFF2-40B4-BE49-F238E27FC236}">
                    <a16:creationId xmlns:a16="http://schemas.microsoft.com/office/drawing/2014/main" id="{5A71F2D9-CEDD-4022-8376-3B8A4679D2D7}"/>
                  </a:ext>
                </a:extLst>
              </p:cNvPr>
              <p:cNvGrpSpPr/>
              <p:nvPr/>
            </p:nvGrpSpPr>
            <p:grpSpPr>
              <a:xfrm>
                <a:off x="6174996" y="3328540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675" name="Freeform 491">
                  <a:extLst>
                    <a:ext uri="{FF2B5EF4-FFF2-40B4-BE49-F238E27FC236}">
                      <a16:creationId xmlns:a16="http://schemas.microsoft.com/office/drawing/2014/main" id="{7ADB5490-8F0D-4AAB-A546-438C1730CCA4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76" name="Freeform 492">
                  <a:extLst>
                    <a:ext uri="{FF2B5EF4-FFF2-40B4-BE49-F238E27FC236}">
                      <a16:creationId xmlns:a16="http://schemas.microsoft.com/office/drawing/2014/main" id="{05EC34F3-ED60-4D1F-BE6A-A20B353E069A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77" name="Freeform 493">
                  <a:extLst>
                    <a:ext uri="{FF2B5EF4-FFF2-40B4-BE49-F238E27FC236}">
                      <a16:creationId xmlns:a16="http://schemas.microsoft.com/office/drawing/2014/main" id="{C502F9DE-7E49-4297-9178-8F67A530DC45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1" name="Group 1590">
                <a:extLst>
                  <a:ext uri="{FF2B5EF4-FFF2-40B4-BE49-F238E27FC236}">
                    <a16:creationId xmlns:a16="http://schemas.microsoft.com/office/drawing/2014/main" id="{1A38BF09-2819-4893-BD2E-3B98269E60CA}"/>
                  </a:ext>
                </a:extLst>
              </p:cNvPr>
              <p:cNvGrpSpPr/>
              <p:nvPr/>
            </p:nvGrpSpPr>
            <p:grpSpPr>
              <a:xfrm>
                <a:off x="6505737" y="3442129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672" name="Freeform 495">
                  <a:extLst>
                    <a:ext uri="{FF2B5EF4-FFF2-40B4-BE49-F238E27FC236}">
                      <a16:creationId xmlns:a16="http://schemas.microsoft.com/office/drawing/2014/main" id="{C43F960E-B49A-45AB-AE3A-89CB8EE34AF0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73" name="Freeform 496">
                  <a:extLst>
                    <a:ext uri="{FF2B5EF4-FFF2-40B4-BE49-F238E27FC236}">
                      <a16:creationId xmlns:a16="http://schemas.microsoft.com/office/drawing/2014/main" id="{6E9B1003-8110-41BF-8CAC-C58C1296BE8F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74" name="Freeform 497">
                  <a:extLst>
                    <a:ext uri="{FF2B5EF4-FFF2-40B4-BE49-F238E27FC236}">
                      <a16:creationId xmlns:a16="http://schemas.microsoft.com/office/drawing/2014/main" id="{8DF8AC7D-5E88-47C0-94A1-7DCA6EE1B6DF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2" name="Group 1591">
                <a:extLst>
                  <a:ext uri="{FF2B5EF4-FFF2-40B4-BE49-F238E27FC236}">
                    <a16:creationId xmlns:a16="http://schemas.microsoft.com/office/drawing/2014/main" id="{44003747-0542-4ADB-A019-2A330EBEB769}"/>
                  </a:ext>
                </a:extLst>
              </p:cNvPr>
              <p:cNvGrpSpPr/>
              <p:nvPr/>
            </p:nvGrpSpPr>
            <p:grpSpPr>
              <a:xfrm>
                <a:off x="6836478" y="3555718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669" name="Freeform 499">
                  <a:extLst>
                    <a:ext uri="{FF2B5EF4-FFF2-40B4-BE49-F238E27FC236}">
                      <a16:creationId xmlns:a16="http://schemas.microsoft.com/office/drawing/2014/main" id="{AA3A5118-069F-4308-BF35-F7750F6874AA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70" name="Freeform 500">
                  <a:extLst>
                    <a:ext uri="{FF2B5EF4-FFF2-40B4-BE49-F238E27FC236}">
                      <a16:creationId xmlns:a16="http://schemas.microsoft.com/office/drawing/2014/main" id="{66C49CC0-7DBA-42CE-B764-F0B5AAB176B4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71" name="Freeform 501">
                  <a:extLst>
                    <a:ext uri="{FF2B5EF4-FFF2-40B4-BE49-F238E27FC236}">
                      <a16:creationId xmlns:a16="http://schemas.microsoft.com/office/drawing/2014/main" id="{060163FA-F1F6-4391-9253-B148FA4ECDA7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3" name="Group 1592">
                <a:extLst>
                  <a:ext uri="{FF2B5EF4-FFF2-40B4-BE49-F238E27FC236}">
                    <a16:creationId xmlns:a16="http://schemas.microsoft.com/office/drawing/2014/main" id="{B2D27160-179D-4D86-9941-E8DC8A65D8FF}"/>
                  </a:ext>
                </a:extLst>
              </p:cNvPr>
              <p:cNvGrpSpPr/>
              <p:nvPr/>
            </p:nvGrpSpPr>
            <p:grpSpPr>
              <a:xfrm>
                <a:off x="6174995" y="2996788"/>
                <a:ext cx="661482" cy="560933"/>
                <a:chOff x="6673852" y="2507796"/>
                <a:chExt cx="3493295" cy="3112291"/>
              </a:xfrm>
              <a:grpFill/>
            </p:grpSpPr>
            <p:sp>
              <p:nvSpPr>
                <p:cNvPr id="1666" name="Freeform 503">
                  <a:extLst>
                    <a:ext uri="{FF2B5EF4-FFF2-40B4-BE49-F238E27FC236}">
                      <a16:creationId xmlns:a16="http://schemas.microsoft.com/office/drawing/2014/main" id="{40DCEB51-9B48-4839-819C-A9855138AC46}"/>
                    </a:ext>
                  </a:extLst>
                </p:cNvPr>
                <p:cNvSpPr/>
                <p:nvPr/>
              </p:nvSpPr>
              <p:spPr>
                <a:xfrm>
                  <a:off x="6673852" y="3138031"/>
                  <a:ext cx="1764508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7" name="Freeform 504">
                  <a:extLst>
                    <a:ext uri="{FF2B5EF4-FFF2-40B4-BE49-F238E27FC236}">
                      <a16:creationId xmlns:a16="http://schemas.microsoft.com/office/drawing/2014/main" id="{D9B72119-68A3-4EDB-A010-194A88A9DDE1}"/>
                    </a:ext>
                  </a:extLst>
                </p:cNvPr>
                <p:cNvSpPr/>
                <p:nvPr/>
              </p:nvSpPr>
              <p:spPr>
                <a:xfrm>
                  <a:off x="8427248" y="3149146"/>
                  <a:ext cx="1739899" cy="2470149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8" name="Freeform 505">
                  <a:extLst>
                    <a:ext uri="{FF2B5EF4-FFF2-40B4-BE49-F238E27FC236}">
                      <a16:creationId xmlns:a16="http://schemas.microsoft.com/office/drawing/2014/main" id="{0B461441-2D1E-4820-8478-002CB61257E7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3" cy="1270002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4" name="Group 1593">
                <a:extLst>
                  <a:ext uri="{FF2B5EF4-FFF2-40B4-BE49-F238E27FC236}">
                    <a16:creationId xmlns:a16="http://schemas.microsoft.com/office/drawing/2014/main" id="{3488680E-71AB-4C99-A6A8-5FBC82E00A10}"/>
                  </a:ext>
                </a:extLst>
              </p:cNvPr>
              <p:cNvGrpSpPr/>
              <p:nvPr/>
            </p:nvGrpSpPr>
            <p:grpSpPr>
              <a:xfrm>
                <a:off x="6505738" y="3110376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663" name="Freeform 507">
                  <a:extLst>
                    <a:ext uri="{FF2B5EF4-FFF2-40B4-BE49-F238E27FC236}">
                      <a16:creationId xmlns:a16="http://schemas.microsoft.com/office/drawing/2014/main" id="{8D3CAA0E-CEDA-4CCD-B01C-9879135D10F5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4" name="Freeform 508">
                  <a:extLst>
                    <a:ext uri="{FF2B5EF4-FFF2-40B4-BE49-F238E27FC236}">
                      <a16:creationId xmlns:a16="http://schemas.microsoft.com/office/drawing/2014/main" id="{1335E3C0-3128-47B6-A9A5-B967B874E3EB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5" name="Freeform 509">
                  <a:extLst>
                    <a:ext uri="{FF2B5EF4-FFF2-40B4-BE49-F238E27FC236}">
                      <a16:creationId xmlns:a16="http://schemas.microsoft.com/office/drawing/2014/main" id="{77F7CD9A-92BE-460B-9079-1D3D214A239D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5" name="Group 1594">
                <a:extLst>
                  <a:ext uri="{FF2B5EF4-FFF2-40B4-BE49-F238E27FC236}">
                    <a16:creationId xmlns:a16="http://schemas.microsoft.com/office/drawing/2014/main" id="{287A00DD-AF8F-43C1-BF6C-D279D3CCDACF}"/>
                  </a:ext>
                </a:extLst>
              </p:cNvPr>
              <p:cNvGrpSpPr/>
              <p:nvPr/>
            </p:nvGrpSpPr>
            <p:grpSpPr>
              <a:xfrm>
                <a:off x="6836478" y="3223965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660" name="Freeform 511">
                  <a:extLst>
                    <a:ext uri="{FF2B5EF4-FFF2-40B4-BE49-F238E27FC236}">
                      <a16:creationId xmlns:a16="http://schemas.microsoft.com/office/drawing/2014/main" id="{B890413F-C505-482C-B6F3-1F32101D7086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1" name="Freeform 512">
                  <a:extLst>
                    <a:ext uri="{FF2B5EF4-FFF2-40B4-BE49-F238E27FC236}">
                      <a16:creationId xmlns:a16="http://schemas.microsoft.com/office/drawing/2014/main" id="{0C5BC8DA-330F-4ED6-8F4E-FB54CCD75B59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2" name="Freeform 513">
                  <a:extLst>
                    <a:ext uri="{FF2B5EF4-FFF2-40B4-BE49-F238E27FC236}">
                      <a16:creationId xmlns:a16="http://schemas.microsoft.com/office/drawing/2014/main" id="{A257B89D-B606-45CB-9F2C-FF60D92E3A39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6" name="Group 1595">
                <a:extLst>
                  <a:ext uri="{FF2B5EF4-FFF2-40B4-BE49-F238E27FC236}">
                    <a16:creationId xmlns:a16="http://schemas.microsoft.com/office/drawing/2014/main" id="{C9985A47-5048-4C2E-AA18-ED7C310FE758}"/>
                  </a:ext>
                </a:extLst>
              </p:cNvPr>
              <p:cNvGrpSpPr/>
              <p:nvPr/>
            </p:nvGrpSpPr>
            <p:grpSpPr>
              <a:xfrm>
                <a:off x="6174016" y="2666892"/>
                <a:ext cx="661482" cy="560934"/>
                <a:chOff x="6673852" y="2507796"/>
                <a:chExt cx="3493295" cy="3112292"/>
              </a:xfrm>
              <a:grpFill/>
            </p:grpSpPr>
            <p:sp>
              <p:nvSpPr>
                <p:cNvPr id="1657" name="Freeform 515">
                  <a:extLst>
                    <a:ext uri="{FF2B5EF4-FFF2-40B4-BE49-F238E27FC236}">
                      <a16:creationId xmlns:a16="http://schemas.microsoft.com/office/drawing/2014/main" id="{63064314-440F-461C-8AA5-4D299B7A715E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58" name="Freeform 516">
                  <a:extLst>
                    <a:ext uri="{FF2B5EF4-FFF2-40B4-BE49-F238E27FC236}">
                      <a16:creationId xmlns:a16="http://schemas.microsoft.com/office/drawing/2014/main" id="{D8B81592-0B4D-4E8A-8C74-CBB48FCC61A2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59" name="Freeform 517">
                  <a:extLst>
                    <a:ext uri="{FF2B5EF4-FFF2-40B4-BE49-F238E27FC236}">
                      <a16:creationId xmlns:a16="http://schemas.microsoft.com/office/drawing/2014/main" id="{A950CDB7-6420-4CDF-ADCA-5937A5EC8B39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7" name="Group 1596">
                <a:extLst>
                  <a:ext uri="{FF2B5EF4-FFF2-40B4-BE49-F238E27FC236}">
                    <a16:creationId xmlns:a16="http://schemas.microsoft.com/office/drawing/2014/main" id="{5A323B54-5225-4567-9323-3D76C73C718D}"/>
                  </a:ext>
                </a:extLst>
              </p:cNvPr>
              <p:cNvGrpSpPr/>
              <p:nvPr/>
            </p:nvGrpSpPr>
            <p:grpSpPr>
              <a:xfrm>
                <a:off x="6504756" y="2780481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654" name="Freeform 519">
                  <a:extLst>
                    <a:ext uri="{FF2B5EF4-FFF2-40B4-BE49-F238E27FC236}">
                      <a16:creationId xmlns:a16="http://schemas.microsoft.com/office/drawing/2014/main" id="{6EA981E9-30F0-47CD-8DB3-C890A26B2BF1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55" name="Freeform 520">
                  <a:extLst>
                    <a:ext uri="{FF2B5EF4-FFF2-40B4-BE49-F238E27FC236}">
                      <a16:creationId xmlns:a16="http://schemas.microsoft.com/office/drawing/2014/main" id="{6FA869E4-1A62-4084-B95D-1551A10D113B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56" name="Freeform 521">
                  <a:extLst>
                    <a:ext uri="{FF2B5EF4-FFF2-40B4-BE49-F238E27FC236}">
                      <a16:creationId xmlns:a16="http://schemas.microsoft.com/office/drawing/2014/main" id="{2BDFA0F0-CF88-4349-941A-901964839BE2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8" name="Group 1597">
                <a:extLst>
                  <a:ext uri="{FF2B5EF4-FFF2-40B4-BE49-F238E27FC236}">
                    <a16:creationId xmlns:a16="http://schemas.microsoft.com/office/drawing/2014/main" id="{B14F44EE-E4A9-4F08-A862-3945C462292B}"/>
                  </a:ext>
                </a:extLst>
              </p:cNvPr>
              <p:cNvGrpSpPr/>
              <p:nvPr/>
            </p:nvGrpSpPr>
            <p:grpSpPr>
              <a:xfrm>
                <a:off x="6835497" y="2894073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651" name="Freeform 523">
                  <a:extLst>
                    <a:ext uri="{FF2B5EF4-FFF2-40B4-BE49-F238E27FC236}">
                      <a16:creationId xmlns:a16="http://schemas.microsoft.com/office/drawing/2014/main" id="{7ED01C3E-4662-4BE3-9E89-B8A86731CDE6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52" name="Freeform 524">
                  <a:extLst>
                    <a:ext uri="{FF2B5EF4-FFF2-40B4-BE49-F238E27FC236}">
                      <a16:creationId xmlns:a16="http://schemas.microsoft.com/office/drawing/2014/main" id="{1F362E10-19DB-4998-B151-5944A8F49B85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53" name="Freeform 525">
                  <a:extLst>
                    <a:ext uri="{FF2B5EF4-FFF2-40B4-BE49-F238E27FC236}">
                      <a16:creationId xmlns:a16="http://schemas.microsoft.com/office/drawing/2014/main" id="{E4B8C9D0-16D5-4949-A056-3D70915FB083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9" name="Group 1598">
                <a:extLst>
                  <a:ext uri="{FF2B5EF4-FFF2-40B4-BE49-F238E27FC236}">
                    <a16:creationId xmlns:a16="http://schemas.microsoft.com/office/drawing/2014/main" id="{9A299DDA-A9C0-4BFE-92E3-F72CBF3232B2}"/>
                  </a:ext>
                </a:extLst>
              </p:cNvPr>
              <p:cNvGrpSpPr/>
              <p:nvPr/>
            </p:nvGrpSpPr>
            <p:grpSpPr>
              <a:xfrm>
                <a:off x="7172231" y="4001720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648" name="Freeform 527">
                  <a:extLst>
                    <a:ext uri="{FF2B5EF4-FFF2-40B4-BE49-F238E27FC236}">
                      <a16:creationId xmlns:a16="http://schemas.microsoft.com/office/drawing/2014/main" id="{9345D676-22ED-4E28-A20D-FB8772772A98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9" name="Freeform 528">
                  <a:extLst>
                    <a:ext uri="{FF2B5EF4-FFF2-40B4-BE49-F238E27FC236}">
                      <a16:creationId xmlns:a16="http://schemas.microsoft.com/office/drawing/2014/main" id="{E90AE179-753F-4A0A-A551-EBA01637E6D8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50" name="Freeform 529">
                  <a:extLst>
                    <a:ext uri="{FF2B5EF4-FFF2-40B4-BE49-F238E27FC236}">
                      <a16:creationId xmlns:a16="http://schemas.microsoft.com/office/drawing/2014/main" id="{DC3B60D8-9A84-44DD-8A4F-50AB76E71A1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0" name="Group 1599">
                <a:extLst>
                  <a:ext uri="{FF2B5EF4-FFF2-40B4-BE49-F238E27FC236}">
                    <a16:creationId xmlns:a16="http://schemas.microsoft.com/office/drawing/2014/main" id="{743416D8-3AB6-4908-8079-9AB8BC498905}"/>
                  </a:ext>
                </a:extLst>
              </p:cNvPr>
              <p:cNvGrpSpPr/>
              <p:nvPr/>
            </p:nvGrpSpPr>
            <p:grpSpPr>
              <a:xfrm>
                <a:off x="7172231" y="3669966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645" name="Freeform 531">
                  <a:extLst>
                    <a:ext uri="{FF2B5EF4-FFF2-40B4-BE49-F238E27FC236}">
                      <a16:creationId xmlns:a16="http://schemas.microsoft.com/office/drawing/2014/main" id="{CA6E7F64-B2D8-46E4-8BB4-F383EDABB62C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6" name="Freeform 532">
                  <a:extLst>
                    <a:ext uri="{FF2B5EF4-FFF2-40B4-BE49-F238E27FC236}">
                      <a16:creationId xmlns:a16="http://schemas.microsoft.com/office/drawing/2014/main" id="{3089DBDC-7FF8-4D3B-BC05-C57AA054F9F6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7" name="Freeform 533">
                  <a:extLst>
                    <a:ext uri="{FF2B5EF4-FFF2-40B4-BE49-F238E27FC236}">
                      <a16:creationId xmlns:a16="http://schemas.microsoft.com/office/drawing/2014/main" id="{0F239D3C-015D-4596-857E-D0A9B252D0E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1" name="Group 1600">
                <a:extLst>
                  <a:ext uri="{FF2B5EF4-FFF2-40B4-BE49-F238E27FC236}">
                    <a16:creationId xmlns:a16="http://schemas.microsoft.com/office/drawing/2014/main" id="{B546014F-5E31-46D9-9E15-4FAF3798BFB4}"/>
                  </a:ext>
                </a:extLst>
              </p:cNvPr>
              <p:cNvGrpSpPr/>
              <p:nvPr/>
            </p:nvGrpSpPr>
            <p:grpSpPr>
              <a:xfrm>
                <a:off x="7172231" y="3338213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642" name="Freeform 535">
                  <a:extLst>
                    <a:ext uri="{FF2B5EF4-FFF2-40B4-BE49-F238E27FC236}">
                      <a16:creationId xmlns:a16="http://schemas.microsoft.com/office/drawing/2014/main" id="{BC3295DD-91F7-468E-A818-F7EB8B7B9457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3" name="Freeform 536">
                  <a:extLst>
                    <a:ext uri="{FF2B5EF4-FFF2-40B4-BE49-F238E27FC236}">
                      <a16:creationId xmlns:a16="http://schemas.microsoft.com/office/drawing/2014/main" id="{81D03AA1-0355-4A98-A80B-ACF7D6C3DE1D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4" name="Freeform 537">
                  <a:extLst>
                    <a:ext uri="{FF2B5EF4-FFF2-40B4-BE49-F238E27FC236}">
                      <a16:creationId xmlns:a16="http://schemas.microsoft.com/office/drawing/2014/main" id="{A24A9D03-8BFA-44A4-B985-C0B8E6E6A21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2" name="Group 1601">
                <a:extLst>
                  <a:ext uri="{FF2B5EF4-FFF2-40B4-BE49-F238E27FC236}">
                    <a16:creationId xmlns:a16="http://schemas.microsoft.com/office/drawing/2014/main" id="{7C0F778D-4C0B-4504-955C-EF02859EE9F1}"/>
                  </a:ext>
                </a:extLst>
              </p:cNvPr>
              <p:cNvGrpSpPr/>
              <p:nvPr/>
            </p:nvGrpSpPr>
            <p:grpSpPr>
              <a:xfrm>
                <a:off x="7171255" y="3008319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639" name="Freeform 539">
                  <a:extLst>
                    <a:ext uri="{FF2B5EF4-FFF2-40B4-BE49-F238E27FC236}">
                      <a16:creationId xmlns:a16="http://schemas.microsoft.com/office/drawing/2014/main" id="{FBBEB2E8-C7C7-4F98-A5BB-D6C91477E7D4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0" name="Freeform 540">
                  <a:extLst>
                    <a:ext uri="{FF2B5EF4-FFF2-40B4-BE49-F238E27FC236}">
                      <a16:creationId xmlns:a16="http://schemas.microsoft.com/office/drawing/2014/main" id="{E1CA1031-EFFC-45D7-8664-8701A91929E7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1" name="Freeform 541">
                  <a:extLst>
                    <a:ext uri="{FF2B5EF4-FFF2-40B4-BE49-F238E27FC236}">
                      <a16:creationId xmlns:a16="http://schemas.microsoft.com/office/drawing/2014/main" id="{1C5BD12D-E9ED-4BD2-B57C-5D8A3ABD6662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3" name="Group 1602">
                <a:extLst>
                  <a:ext uri="{FF2B5EF4-FFF2-40B4-BE49-F238E27FC236}">
                    <a16:creationId xmlns:a16="http://schemas.microsoft.com/office/drawing/2014/main" id="{2FAB6F5F-B057-47B5-BFB7-C06CC7AE529D}"/>
                  </a:ext>
                </a:extLst>
              </p:cNvPr>
              <p:cNvGrpSpPr/>
              <p:nvPr/>
            </p:nvGrpSpPr>
            <p:grpSpPr>
              <a:xfrm>
                <a:off x="7510236" y="4120971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636" name="Freeform 543">
                  <a:extLst>
                    <a:ext uri="{FF2B5EF4-FFF2-40B4-BE49-F238E27FC236}">
                      <a16:creationId xmlns:a16="http://schemas.microsoft.com/office/drawing/2014/main" id="{122A0AC4-C09B-4E7B-A7AF-A5FA74AEF4CE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37" name="Freeform 544">
                  <a:extLst>
                    <a:ext uri="{FF2B5EF4-FFF2-40B4-BE49-F238E27FC236}">
                      <a16:creationId xmlns:a16="http://schemas.microsoft.com/office/drawing/2014/main" id="{C9F0CD24-6133-49FA-92F5-EB4280CDAB4F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38" name="Freeform 545">
                  <a:extLst>
                    <a:ext uri="{FF2B5EF4-FFF2-40B4-BE49-F238E27FC236}">
                      <a16:creationId xmlns:a16="http://schemas.microsoft.com/office/drawing/2014/main" id="{3B68B88E-BAB8-4983-945A-81E4651985A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4" name="Group 1603">
                <a:extLst>
                  <a:ext uri="{FF2B5EF4-FFF2-40B4-BE49-F238E27FC236}">
                    <a16:creationId xmlns:a16="http://schemas.microsoft.com/office/drawing/2014/main" id="{5C30FFC3-02CD-43D2-A067-FCEA615CD28F}"/>
                  </a:ext>
                </a:extLst>
              </p:cNvPr>
              <p:cNvGrpSpPr/>
              <p:nvPr/>
            </p:nvGrpSpPr>
            <p:grpSpPr>
              <a:xfrm>
                <a:off x="7510236" y="3789217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633" name="Freeform 547">
                  <a:extLst>
                    <a:ext uri="{FF2B5EF4-FFF2-40B4-BE49-F238E27FC236}">
                      <a16:creationId xmlns:a16="http://schemas.microsoft.com/office/drawing/2014/main" id="{94084D5F-9407-402E-BFD8-D782CC5723E3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34" name="Freeform 548">
                  <a:extLst>
                    <a:ext uri="{FF2B5EF4-FFF2-40B4-BE49-F238E27FC236}">
                      <a16:creationId xmlns:a16="http://schemas.microsoft.com/office/drawing/2014/main" id="{CBB9A285-7C70-41E1-9CFB-BACB4C07F226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35" name="Freeform 549">
                  <a:extLst>
                    <a:ext uri="{FF2B5EF4-FFF2-40B4-BE49-F238E27FC236}">
                      <a16:creationId xmlns:a16="http://schemas.microsoft.com/office/drawing/2014/main" id="{69CFEFCB-0EEB-4072-B74F-413007E55581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5" name="Group 1604">
                <a:extLst>
                  <a:ext uri="{FF2B5EF4-FFF2-40B4-BE49-F238E27FC236}">
                    <a16:creationId xmlns:a16="http://schemas.microsoft.com/office/drawing/2014/main" id="{C8360F2A-AB87-4F46-A75A-75847EBDDD58}"/>
                  </a:ext>
                </a:extLst>
              </p:cNvPr>
              <p:cNvGrpSpPr/>
              <p:nvPr/>
            </p:nvGrpSpPr>
            <p:grpSpPr>
              <a:xfrm>
                <a:off x="7510236" y="3457463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630" name="Freeform 551">
                  <a:extLst>
                    <a:ext uri="{FF2B5EF4-FFF2-40B4-BE49-F238E27FC236}">
                      <a16:creationId xmlns:a16="http://schemas.microsoft.com/office/drawing/2014/main" id="{08FDE607-54F2-4133-9DB4-B664B849B74A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31" name="Freeform 552">
                  <a:extLst>
                    <a:ext uri="{FF2B5EF4-FFF2-40B4-BE49-F238E27FC236}">
                      <a16:creationId xmlns:a16="http://schemas.microsoft.com/office/drawing/2014/main" id="{30690AE4-162E-42DB-BB28-DF5B440B7B95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32" name="Freeform 553">
                  <a:extLst>
                    <a:ext uri="{FF2B5EF4-FFF2-40B4-BE49-F238E27FC236}">
                      <a16:creationId xmlns:a16="http://schemas.microsoft.com/office/drawing/2014/main" id="{5E26A6C0-906A-4B17-8BEA-DAF2BA3E3DB8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6" name="Group 1605">
                <a:extLst>
                  <a:ext uri="{FF2B5EF4-FFF2-40B4-BE49-F238E27FC236}">
                    <a16:creationId xmlns:a16="http://schemas.microsoft.com/office/drawing/2014/main" id="{3F3845C5-B588-45A2-984C-488A698725E1}"/>
                  </a:ext>
                </a:extLst>
              </p:cNvPr>
              <p:cNvGrpSpPr/>
              <p:nvPr/>
            </p:nvGrpSpPr>
            <p:grpSpPr>
              <a:xfrm>
                <a:off x="7509260" y="3127570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627" name="Freeform 555">
                  <a:extLst>
                    <a:ext uri="{FF2B5EF4-FFF2-40B4-BE49-F238E27FC236}">
                      <a16:creationId xmlns:a16="http://schemas.microsoft.com/office/drawing/2014/main" id="{EE909A6A-ABEB-4AE8-B0FF-F9334DE88160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8" name="Freeform 556">
                  <a:extLst>
                    <a:ext uri="{FF2B5EF4-FFF2-40B4-BE49-F238E27FC236}">
                      <a16:creationId xmlns:a16="http://schemas.microsoft.com/office/drawing/2014/main" id="{8FB15C5E-0347-43A2-80B5-956649B86DAB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9" name="Freeform 557">
                  <a:extLst>
                    <a:ext uri="{FF2B5EF4-FFF2-40B4-BE49-F238E27FC236}">
                      <a16:creationId xmlns:a16="http://schemas.microsoft.com/office/drawing/2014/main" id="{4B52D895-1A7F-47BC-89EA-308E37EFDB76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7" name="Group 1606">
                <a:extLst>
                  <a:ext uri="{FF2B5EF4-FFF2-40B4-BE49-F238E27FC236}">
                    <a16:creationId xmlns:a16="http://schemas.microsoft.com/office/drawing/2014/main" id="{E8796812-B2DF-4E67-BC1C-37E97760437B}"/>
                  </a:ext>
                </a:extLst>
              </p:cNvPr>
              <p:cNvGrpSpPr/>
              <p:nvPr/>
            </p:nvGrpSpPr>
            <p:grpSpPr>
              <a:xfrm>
                <a:off x="6168570" y="2341066"/>
                <a:ext cx="661482" cy="560934"/>
                <a:chOff x="6673852" y="2507796"/>
                <a:chExt cx="3493295" cy="3112292"/>
              </a:xfrm>
              <a:grpFill/>
            </p:grpSpPr>
            <p:sp>
              <p:nvSpPr>
                <p:cNvPr id="1624" name="Freeform 642">
                  <a:extLst>
                    <a:ext uri="{FF2B5EF4-FFF2-40B4-BE49-F238E27FC236}">
                      <a16:creationId xmlns:a16="http://schemas.microsoft.com/office/drawing/2014/main" id="{AB9083D3-79C1-4B4D-83DA-1A90DBCE4FD4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5" name="Freeform 643">
                  <a:extLst>
                    <a:ext uri="{FF2B5EF4-FFF2-40B4-BE49-F238E27FC236}">
                      <a16:creationId xmlns:a16="http://schemas.microsoft.com/office/drawing/2014/main" id="{AA5A2761-C356-44AE-A8A6-0C96BDCEB526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6" name="Freeform 644">
                  <a:extLst>
                    <a:ext uri="{FF2B5EF4-FFF2-40B4-BE49-F238E27FC236}">
                      <a16:creationId xmlns:a16="http://schemas.microsoft.com/office/drawing/2014/main" id="{BC07F3BC-22EE-49BF-A784-192D61D878A7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8" name="Group 1607">
                <a:extLst>
                  <a:ext uri="{FF2B5EF4-FFF2-40B4-BE49-F238E27FC236}">
                    <a16:creationId xmlns:a16="http://schemas.microsoft.com/office/drawing/2014/main" id="{43EAD692-2EF7-4E9C-9239-D99B8B2997F0}"/>
                  </a:ext>
                </a:extLst>
              </p:cNvPr>
              <p:cNvGrpSpPr/>
              <p:nvPr/>
            </p:nvGrpSpPr>
            <p:grpSpPr>
              <a:xfrm>
                <a:off x="6499310" y="2454655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621" name="Freeform 646">
                  <a:extLst>
                    <a:ext uri="{FF2B5EF4-FFF2-40B4-BE49-F238E27FC236}">
                      <a16:creationId xmlns:a16="http://schemas.microsoft.com/office/drawing/2014/main" id="{236DB666-2122-4A57-B54D-258D6FE78441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2" name="Freeform 647">
                  <a:extLst>
                    <a:ext uri="{FF2B5EF4-FFF2-40B4-BE49-F238E27FC236}">
                      <a16:creationId xmlns:a16="http://schemas.microsoft.com/office/drawing/2014/main" id="{36D01954-E55E-43C3-9233-35A69FDAB377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3" name="Freeform 648">
                  <a:extLst>
                    <a:ext uri="{FF2B5EF4-FFF2-40B4-BE49-F238E27FC236}">
                      <a16:creationId xmlns:a16="http://schemas.microsoft.com/office/drawing/2014/main" id="{9A37AD3C-EC0D-4042-86EC-CB15BD8500B9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09" name="Group 1608">
                <a:extLst>
                  <a:ext uri="{FF2B5EF4-FFF2-40B4-BE49-F238E27FC236}">
                    <a16:creationId xmlns:a16="http://schemas.microsoft.com/office/drawing/2014/main" id="{474539BB-44A3-41E2-8253-65535CFA7E63}"/>
                  </a:ext>
                </a:extLst>
              </p:cNvPr>
              <p:cNvGrpSpPr/>
              <p:nvPr/>
            </p:nvGrpSpPr>
            <p:grpSpPr>
              <a:xfrm>
                <a:off x="6830051" y="2568246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618" name="Freeform 650">
                  <a:extLst>
                    <a:ext uri="{FF2B5EF4-FFF2-40B4-BE49-F238E27FC236}">
                      <a16:creationId xmlns:a16="http://schemas.microsoft.com/office/drawing/2014/main" id="{FE5E0739-79A4-46C9-9384-F7D72E63E316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9" name="Freeform 651">
                  <a:extLst>
                    <a:ext uri="{FF2B5EF4-FFF2-40B4-BE49-F238E27FC236}">
                      <a16:creationId xmlns:a16="http://schemas.microsoft.com/office/drawing/2014/main" id="{5B76879D-9BB1-4F6D-9378-9D841C5208B5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0" name="Freeform 652">
                  <a:extLst>
                    <a:ext uri="{FF2B5EF4-FFF2-40B4-BE49-F238E27FC236}">
                      <a16:creationId xmlns:a16="http://schemas.microsoft.com/office/drawing/2014/main" id="{DBD411C6-67E7-4B5F-B9E6-29CEB6F4CF0C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10" name="Group 1609">
                <a:extLst>
                  <a:ext uri="{FF2B5EF4-FFF2-40B4-BE49-F238E27FC236}">
                    <a16:creationId xmlns:a16="http://schemas.microsoft.com/office/drawing/2014/main" id="{8905DA65-549B-40D1-BB73-43CB445A2289}"/>
                  </a:ext>
                </a:extLst>
              </p:cNvPr>
              <p:cNvGrpSpPr/>
              <p:nvPr/>
            </p:nvGrpSpPr>
            <p:grpSpPr>
              <a:xfrm>
                <a:off x="7165809" y="2682492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615" name="Freeform 654">
                  <a:extLst>
                    <a:ext uri="{FF2B5EF4-FFF2-40B4-BE49-F238E27FC236}">
                      <a16:creationId xmlns:a16="http://schemas.microsoft.com/office/drawing/2014/main" id="{D937A6AA-0986-4453-A47D-E069ECD80387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6" name="Freeform 655">
                  <a:extLst>
                    <a:ext uri="{FF2B5EF4-FFF2-40B4-BE49-F238E27FC236}">
                      <a16:creationId xmlns:a16="http://schemas.microsoft.com/office/drawing/2014/main" id="{411A6942-A601-4A48-931E-FB174553EB9F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7" name="Freeform 656">
                  <a:extLst>
                    <a:ext uri="{FF2B5EF4-FFF2-40B4-BE49-F238E27FC236}">
                      <a16:creationId xmlns:a16="http://schemas.microsoft.com/office/drawing/2014/main" id="{D153C40F-5800-462A-AFCF-C46BA455457C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11" name="Group 1610">
                <a:extLst>
                  <a:ext uri="{FF2B5EF4-FFF2-40B4-BE49-F238E27FC236}">
                    <a16:creationId xmlns:a16="http://schemas.microsoft.com/office/drawing/2014/main" id="{FA09D7EE-A932-4F45-B4F3-2836F5D9C2FC}"/>
                  </a:ext>
                </a:extLst>
              </p:cNvPr>
              <p:cNvGrpSpPr/>
              <p:nvPr/>
            </p:nvGrpSpPr>
            <p:grpSpPr>
              <a:xfrm>
                <a:off x="7503814" y="2801743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612" name="Freeform 658">
                  <a:extLst>
                    <a:ext uri="{FF2B5EF4-FFF2-40B4-BE49-F238E27FC236}">
                      <a16:creationId xmlns:a16="http://schemas.microsoft.com/office/drawing/2014/main" id="{C24EEF45-B894-432B-938F-6CF5949AB6F7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3" name="Freeform 659">
                  <a:extLst>
                    <a:ext uri="{FF2B5EF4-FFF2-40B4-BE49-F238E27FC236}">
                      <a16:creationId xmlns:a16="http://schemas.microsoft.com/office/drawing/2014/main" id="{073513A9-CE2D-4D3A-AAFF-31C8971C0319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4" name="Freeform 660">
                  <a:extLst>
                    <a:ext uri="{FF2B5EF4-FFF2-40B4-BE49-F238E27FC236}">
                      <a16:creationId xmlns:a16="http://schemas.microsoft.com/office/drawing/2014/main" id="{177666F9-6051-4F1A-B42B-5603CCEA4ADC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280" name="Group 1279">
              <a:extLst>
                <a:ext uri="{FF2B5EF4-FFF2-40B4-BE49-F238E27FC236}">
                  <a16:creationId xmlns:a16="http://schemas.microsoft.com/office/drawing/2014/main" id="{9E066F59-60C1-40A0-94B0-683D455D0ED6}"/>
                </a:ext>
              </a:extLst>
            </p:cNvPr>
            <p:cNvGrpSpPr/>
            <p:nvPr/>
          </p:nvGrpSpPr>
          <p:grpSpPr>
            <a:xfrm>
              <a:off x="10376426" y="2641917"/>
              <a:ext cx="873490" cy="1162881"/>
              <a:chOff x="6168570" y="2341066"/>
              <a:chExt cx="2003149" cy="2340838"/>
            </a:xfrm>
            <a:solidFill>
              <a:srgbClr val="35848A">
                <a:alpha val="50196"/>
              </a:srgbClr>
            </a:solidFill>
          </p:grpSpPr>
          <p:grpSp>
            <p:nvGrpSpPr>
              <p:cNvPr id="1487" name="Group 1486">
                <a:extLst>
                  <a:ext uri="{FF2B5EF4-FFF2-40B4-BE49-F238E27FC236}">
                    <a16:creationId xmlns:a16="http://schemas.microsoft.com/office/drawing/2014/main" id="{9DDBF80A-FACE-480E-9DE8-C5CDA2E97465}"/>
                  </a:ext>
                </a:extLst>
              </p:cNvPr>
              <p:cNvGrpSpPr/>
              <p:nvPr/>
            </p:nvGrpSpPr>
            <p:grpSpPr>
              <a:xfrm>
                <a:off x="6174996" y="3660293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584" name="Freeform 479">
                  <a:extLst>
                    <a:ext uri="{FF2B5EF4-FFF2-40B4-BE49-F238E27FC236}">
                      <a16:creationId xmlns:a16="http://schemas.microsoft.com/office/drawing/2014/main" id="{97B11BE3-83C2-40EE-881D-118A5F3D5C6C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85" name="Freeform 480">
                  <a:extLst>
                    <a:ext uri="{FF2B5EF4-FFF2-40B4-BE49-F238E27FC236}">
                      <a16:creationId xmlns:a16="http://schemas.microsoft.com/office/drawing/2014/main" id="{916D0FCA-E729-4697-9F11-32B9B696D7C1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86" name="Freeform 481">
                  <a:extLst>
                    <a:ext uri="{FF2B5EF4-FFF2-40B4-BE49-F238E27FC236}">
                      <a16:creationId xmlns:a16="http://schemas.microsoft.com/office/drawing/2014/main" id="{43400810-20D2-467F-A62D-58CFDE0E15C0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88" name="Group 1487">
                <a:extLst>
                  <a:ext uri="{FF2B5EF4-FFF2-40B4-BE49-F238E27FC236}">
                    <a16:creationId xmlns:a16="http://schemas.microsoft.com/office/drawing/2014/main" id="{EA4A3DDA-181B-4AD8-BF9A-F77FCA08AF4C}"/>
                  </a:ext>
                </a:extLst>
              </p:cNvPr>
              <p:cNvGrpSpPr/>
              <p:nvPr/>
            </p:nvGrpSpPr>
            <p:grpSpPr>
              <a:xfrm>
                <a:off x="6505737" y="3773882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581" name="Freeform 483">
                  <a:extLst>
                    <a:ext uri="{FF2B5EF4-FFF2-40B4-BE49-F238E27FC236}">
                      <a16:creationId xmlns:a16="http://schemas.microsoft.com/office/drawing/2014/main" id="{A2B8E18C-4217-4F3C-B590-BA616241A076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82" name="Freeform 484">
                  <a:extLst>
                    <a:ext uri="{FF2B5EF4-FFF2-40B4-BE49-F238E27FC236}">
                      <a16:creationId xmlns:a16="http://schemas.microsoft.com/office/drawing/2014/main" id="{317AE41B-4462-4C36-8209-82F65C976568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83" name="Freeform 485">
                  <a:extLst>
                    <a:ext uri="{FF2B5EF4-FFF2-40B4-BE49-F238E27FC236}">
                      <a16:creationId xmlns:a16="http://schemas.microsoft.com/office/drawing/2014/main" id="{15292DA6-1B31-4AB8-962F-4305E2814578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89" name="Group 1488">
                <a:extLst>
                  <a:ext uri="{FF2B5EF4-FFF2-40B4-BE49-F238E27FC236}">
                    <a16:creationId xmlns:a16="http://schemas.microsoft.com/office/drawing/2014/main" id="{D8E22769-3DF6-4CD5-876D-C616FB294BC5}"/>
                  </a:ext>
                </a:extLst>
              </p:cNvPr>
              <p:cNvGrpSpPr/>
              <p:nvPr/>
            </p:nvGrpSpPr>
            <p:grpSpPr>
              <a:xfrm>
                <a:off x="6836478" y="3887471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578" name="Freeform 487">
                  <a:extLst>
                    <a:ext uri="{FF2B5EF4-FFF2-40B4-BE49-F238E27FC236}">
                      <a16:creationId xmlns:a16="http://schemas.microsoft.com/office/drawing/2014/main" id="{12C3C6B6-65BE-42A8-A5BF-C0F61D4015CF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79" name="Freeform 488">
                  <a:extLst>
                    <a:ext uri="{FF2B5EF4-FFF2-40B4-BE49-F238E27FC236}">
                      <a16:creationId xmlns:a16="http://schemas.microsoft.com/office/drawing/2014/main" id="{BCA574F4-BD98-46A0-B65F-BCE53AB28991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80" name="Freeform 489">
                  <a:extLst>
                    <a:ext uri="{FF2B5EF4-FFF2-40B4-BE49-F238E27FC236}">
                      <a16:creationId xmlns:a16="http://schemas.microsoft.com/office/drawing/2014/main" id="{977D286F-8112-4D36-9A2E-D242DE2353F2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0" name="Group 1489">
                <a:extLst>
                  <a:ext uri="{FF2B5EF4-FFF2-40B4-BE49-F238E27FC236}">
                    <a16:creationId xmlns:a16="http://schemas.microsoft.com/office/drawing/2014/main" id="{67E76C49-63D9-4DC0-9A0A-8B6AC484C1AA}"/>
                  </a:ext>
                </a:extLst>
              </p:cNvPr>
              <p:cNvGrpSpPr/>
              <p:nvPr/>
            </p:nvGrpSpPr>
            <p:grpSpPr>
              <a:xfrm>
                <a:off x="6174996" y="3328540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575" name="Freeform 491">
                  <a:extLst>
                    <a:ext uri="{FF2B5EF4-FFF2-40B4-BE49-F238E27FC236}">
                      <a16:creationId xmlns:a16="http://schemas.microsoft.com/office/drawing/2014/main" id="{EBE892C7-2E15-4E13-9220-2FAF02E401A8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76" name="Freeform 492">
                  <a:extLst>
                    <a:ext uri="{FF2B5EF4-FFF2-40B4-BE49-F238E27FC236}">
                      <a16:creationId xmlns:a16="http://schemas.microsoft.com/office/drawing/2014/main" id="{03DE9370-ABFE-48D2-8757-C6F27D7691A3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77" name="Freeform 493">
                  <a:extLst>
                    <a:ext uri="{FF2B5EF4-FFF2-40B4-BE49-F238E27FC236}">
                      <a16:creationId xmlns:a16="http://schemas.microsoft.com/office/drawing/2014/main" id="{4FFFB734-7E42-4F07-9195-8B6AE31CA31C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1" name="Group 1490">
                <a:extLst>
                  <a:ext uri="{FF2B5EF4-FFF2-40B4-BE49-F238E27FC236}">
                    <a16:creationId xmlns:a16="http://schemas.microsoft.com/office/drawing/2014/main" id="{3E8CF43F-F331-497E-A831-0FD95DBD1BD4}"/>
                  </a:ext>
                </a:extLst>
              </p:cNvPr>
              <p:cNvGrpSpPr/>
              <p:nvPr/>
            </p:nvGrpSpPr>
            <p:grpSpPr>
              <a:xfrm>
                <a:off x="6505737" y="3442129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572" name="Freeform 495">
                  <a:extLst>
                    <a:ext uri="{FF2B5EF4-FFF2-40B4-BE49-F238E27FC236}">
                      <a16:creationId xmlns:a16="http://schemas.microsoft.com/office/drawing/2014/main" id="{D8E69AA4-B89F-49B4-BA06-FD3A9646DE45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73" name="Freeform 496">
                  <a:extLst>
                    <a:ext uri="{FF2B5EF4-FFF2-40B4-BE49-F238E27FC236}">
                      <a16:creationId xmlns:a16="http://schemas.microsoft.com/office/drawing/2014/main" id="{9521962A-916B-4C1B-AF50-CB46E57DFF09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74" name="Freeform 497">
                  <a:extLst>
                    <a:ext uri="{FF2B5EF4-FFF2-40B4-BE49-F238E27FC236}">
                      <a16:creationId xmlns:a16="http://schemas.microsoft.com/office/drawing/2014/main" id="{4FB13543-8DCB-4DED-B109-D90B037F84D9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2" name="Group 1491">
                <a:extLst>
                  <a:ext uri="{FF2B5EF4-FFF2-40B4-BE49-F238E27FC236}">
                    <a16:creationId xmlns:a16="http://schemas.microsoft.com/office/drawing/2014/main" id="{2FF8C8AB-D4F8-48B1-BD28-1DFC83997298}"/>
                  </a:ext>
                </a:extLst>
              </p:cNvPr>
              <p:cNvGrpSpPr/>
              <p:nvPr/>
            </p:nvGrpSpPr>
            <p:grpSpPr>
              <a:xfrm>
                <a:off x="6836478" y="3555718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569" name="Freeform 499">
                  <a:extLst>
                    <a:ext uri="{FF2B5EF4-FFF2-40B4-BE49-F238E27FC236}">
                      <a16:creationId xmlns:a16="http://schemas.microsoft.com/office/drawing/2014/main" id="{B63A4547-807A-4CDA-A21D-82FFBFFE2B21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70" name="Freeform 500">
                  <a:extLst>
                    <a:ext uri="{FF2B5EF4-FFF2-40B4-BE49-F238E27FC236}">
                      <a16:creationId xmlns:a16="http://schemas.microsoft.com/office/drawing/2014/main" id="{6BB9D323-7843-4747-866A-10F17CE30E5A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71" name="Freeform 501">
                  <a:extLst>
                    <a:ext uri="{FF2B5EF4-FFF2-40B4-BE49-F238E27FC236}">
                      <a16:creationId xmlns:a16="http://schemas.microsoft.com/office/drawing/2014/main" id="{80A4AFB5-76E6-4558-B215-258E5705517C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3" name="Group 1492">
                <a:extLst>
                  <a:ext uri="{FF2B5EF4-FFF2-40B4-BE49-F238E27FC236}">
                    <a16:creationId xmlns:a16="http://schemas.microsoft.com/office/drawing/2014/main" id="{D00F6DEC-2355-451B-BDC0-3C9816453E9E}"/>
                  </a:ext>
                </a:extLst>
              </p:cNvPr>
              <p:cNvGrpSpPr/>
              <p:nvPr/>
            </p:nvGrpSpPr>
            <p:grpSpPr>
              <a:xfrm>
                <a:off x="6174995" y="2996788"/>
                <a:ext cx="661482" cy="560933"/>
                <a:chOff x="6673852" y="2507796"/>
                <a:chExt cx="3493295" cy="3112291"/>
              </a:xfrm>
              <a:grpFill/>
            </p:grpSpPr>
            <p:sp>
              <p:nvSpPr>
                <p:cNvPr id="1566" name="Freeform 503">
                  <a:extLst>
                    <a:ext uri="{FF2B5EF4-FFF2-40B4-BE49-F238E27FC236}">
                      <a16:creationId xmlns:a16="http://schemas.microsoft.com/office/drawing/2014/main" id="{C3442A99-3C36-42B9-B250-92CA97E1A2E7}"/>
                    </a:ext>
                  </a:extLst>
                </p:cNvPr>
                <p:cNvSpPr/>
                <p:nvPr/>
              </p:nvSpPr>
              <p:spPr>
                <a:xfrm>
                  <a:off x="6673852" y="3138031"/>
                  <a:ext cx="1764508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67" name="Freeform 504">
                  <a:extLst>
                    <a:ext uri="{FF2B5EF4-FFF2-40B4-BE49-F238E27FC236}">
                      <a16:creationId xmlns:a16="http://schemas.microsoft.com/office/drawing/2014/main" id="{A7F25150-0EA3-4C37-BE4F-B7D27FAB10DE}"/>
                    </a:ext>
                  </a:extLst>
                </p:cNvPr>
                <p:cNvSpPr/>
                <p:nvPr/>
              </p:nvSpPr>
              <p:spPr>
                <a:xfrm>
                  <a:off x="8427248" y="3149146"/>
                  <a:ext cx="1739899" cy="2470149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68" name="Freeform 505">
                  <a:extLst>
                    <a:ext uri="{FF2B5EF4-FFF2-40B4-BE49-F238E27FC236}">
                      <a16:creationId xmlns:a16="http://schemas.microsoft.com/office/drawing/2014/main" id="{4E7D904D-E215-4FA2-A8A0-87EA8524E59F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3" cy="1270002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4" name="Group 1493">
                <a:extLst>
                  <a:ext uri="{FF2B5EF4-FFF2-40B4-BE49-F238E27FC236}">
                    <a16:creationId xmlns:a16="http://schemas.microsoft.com/office/drawing/2014/main" id="{6D05BB65-CB81-4833-8952-BF86B5355308}"/>
                  </a:ext>
                </a:extLst>
              </p:cNvPr>
              <p:cNvGrpSpPr/>
              <p:nvPr/>
            </p:nvGrpSpPr>
            <p:grpSpPr>
              <a:xfrm>
                <a:off x="6505738" y="3110376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563" name="Freeform 507">
                  <a:extLst>
                    <a:ext uri="{FF2B5EF4-FFF2-40B4-BE49-F238E27FC236}">
                      <a16:creationId xmlns:a16="http://schemas.microsoft.com/office/drawing/2014/main" id="{3EC14D90-1AA0-49DD-8976-B5EF3628D66A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64" name="Freeform 508">
                  <a:extLst>
                    <a:ext uri="{FF2B5EF4-FFF2-40B4-BE49-F238E27FC236}">
                      <a16:creationId xmlns:a16="http://schemas.microsoft.com/office/drawing/2014/main" id="{AEFD0D2D-34A0-4FF4-881B-A6228A5A536D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65" name="Freeform 509">
                  <a:extLst>
                    <a:ext uri="{FF2B5EF4-FFF2-40B4-BE49-F238E27FC236}">
                      <a16:creationId xmlns:a16="http://schemas.microsoft.com/office/drawing/2014/main" id="{2004BA4C-F645-4F4C-BE2E-D350A6CCEC5E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5" name="Group 1494">
                <a:extLst>
                  <a:ext uri="{FF2B5EF4-FFF2-40B4-BE49-F238E27FC236}">
                    <a16:creationId xmlns:a16="http://schemas.microsoft.com/office/drawing/2014/main" id="{3AE06311-C449-4A57-82F6-D4B98ECEA86B}"/>
                  </a:ext>
                </a:extLst>
              </p:cNvPr>
              <p:cNvGrpSpPr/>
              <p:nvPr/>
            </p:nvGrpSpPr>
            <p:grpSpPr>
              <a:xfrm>
                <a:off x="6836478" y="3223965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560" name="Freeform 511">
                  <a:extLst>
                    <a:ext uri="{FF2B5EF4-FFF2-40B4-BE49-F238E27FC236}">
                      <a16:creationId xmlns:a16="http://schemas.microsoft.com/office/drawing/2014/main" id="{8BC49824-A239-4006-AA91-204074DEE548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61" name="Freeform 512">
                  <a:extLst>
                    <a:ext uri="{FF2B5EF4-FFF2-40B4-BE49-F238E27FC236}">
                      <a16:creationId xmlns:a16="http://schemas.microsoft.com/office/drawing/2014/main" id="{C7FD14DA-29C8-4603-8FB5-B530C7BDADE8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62" name="Freeform 513">
                  <a:extLst>
                    <a:ext uri="{FF2B5EF4-FFF2-40B4-BE49-F238E27FC236}">
                      <a16:creationId xmlns:a16="http://schemas.microsoft.com/office/drawing/2014/main" id="{CFFB933A-108D-404A-9C76-227A04D40D30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6" name="Group 1495">
                <a:extLst>
                  <a:ext uri="{FF2B5EF4-FFF2-40B4-BE49-F238E27FC236}">
                    <a16:creationId xmlns:a16="http://schemas.microsoft.com/office/drawing/2014/main" id="{6BFC9DA5-5706-4823-B261-038C2E351B03}"/>
                  </a:ext>
                </a:extLst>
              </p:cNvPr>
              <p:cNvGrpSpPr/>
              <p:nvPr/>
            </p:nvGrpSpPr>
            <p:grpSpPr>
              <a:xfrm>
                <a:off x="6174016" y="2666892"/>
                <a:ext cx="661482" cy="560934"/>
                <a:chOff x="6673852" y="2507796"/>
                <a:chExt cx="3493295" cy="3112292"/>
              </a:xfrm>
              <a:grpFill/>
            </p:grpSpPr>
            <p:sp>
              <p:nvSpPr>
                <p:cNvPr id="1557" name="Freeform 515">
                  <a:extLst>
                    <a:ext uri="{FF2B5EF4-FFF2-40B4-BE49-F238E27FC236}">
                      <a16:creationId xmlns:a16="http://schemas.microsoft.com/office/drawing/2014/main" id="{086CF0BF-D05B-4F92-800F-472BBF7C508C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58" name="Freeform 516">
                  <a:extLst>
                    <a:ext uri="{FF2B5EF4-FFF2-40B4-BE49-F238E27FC236}">
                      <a16:creationId xmlns:a16="http://schemas.microsoft.com/office/drawing/2014/main" id="{72F24DDC-7D01-4F66-AC3F-B8E1009D777A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59" name="Freeform 517">
                  <a:extLst>
                    <a:ext uri="{FF2B5EF4-FFF2-40B4-BE49-F238E27FC236}">
                      <a16:creationId xmlns:a16="http://schemas.microsoft.com/office/drawing/2014/main" id="{933BA57C-E8DD-4D5E-914C-8A0C71B02FBC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7" name="Group 1496">
                <a:extLst>
                  <a:ext uri="{FF2B5EF4-FFF2-40B4-BE49-F238E27FC236}">
                    <a16:creationId xmlns:a16="http://schemas.microsoft.com/office/drawing/2014/main" id="{0FA10B2B-89E4-4D5A-B95C-B3E9D84AA7D7}"/>
                  </a:ext>
                </a:extLst>
              </p:cNvPr>
              <p:cNvGrpSpPr/>
              <p:nvPr/>
            </p:nvGrpSpPr>
            <p:grpSpPr>
              <a:xfrm>
                <a:off x="6504756" y="2780481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554" name="Freeform 519">
                  <a:extLst>
                    <a:ext uri="{FF2B5EF4-FFF2-40B4-BE49-F238E27FC236}">
                      <a16:creationId xmlns:a16="http://schemas.microsoft.com/office/drawing/2014/main" id="{B29AC2E0-FEAA-44CF-B9A5-60A752640685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55" name="Freeform 520">
                  <a:extLst>
                    <a:ext uri="{FF2B5EF4-FFF2-40B4-BE49-F238E27FC236}">
                      <a16:creationId xmlns:a16="http://schemas.microsoft.com/office/drawing/2014/main" id="{37ED511F-0968-45C9-A83E-6FFE09140735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56" name="Freeform 521">
                  <a:extLst>
                    <a:ext uri="{FF2B5EF4-FFF2-40B4-BE49-F238E27FC236}">
                      <a16:creationId xmlns:a16="http://schemas.microsoft.com/office/drawing/2014/main" id="{631FC2F4-83F9-4CFF-9105-3C74E797078B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8" name="Group 1497">
                <a:extLst>
                  <a:ext uri="{FF2B5EF4-FFF2-40B4-BE49-F238E27FC236}">
                    <a16:creationId xmlns:a16="http://schemas.microsoft.com/office/drawing/2014/main" id="{A0C01190-C453-4C31-8A4B-C8130D7BA246}"/>
                  </a:ext>
                </a:extLst>
              </p:cNvPr>
              <p:cNvGrpSpPr/>
              <p:nvPr/>
            </p:nvGrpSpPr>
            <p:grpSpPr>
              <a:xfrm>
                <a:off x="6835497" y="2894073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551" name="Freeform 523">
                  <a:extLst>
                    <a:ext uri="{FF2B5EF4-FFF2-40B4-BE49-F238E27FC236}">
                      <a16:creationId xmlns:a16="http://schemas.microsoft.com/office/drawing/2014/main" id="{5C45DEC2-C563-4AB8-9026-C79E129A36D1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52" name="Freeform 524">
                  <a:extLst>
                    <a:ext uri="{FF2B5EF4-FFF2-40B4-BE49-F238E27FC236}">
                      <a16:creationId xmlns:a16="http://schemas.microsoft.com/office/drawing/2014/main" id="{74557ED9-3EB0-4091-9531-E82E4BA1A3F5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53" name="Freeform 525">
                  <a:extLst>
                    <a:ext uri="{FF2B5EF4-FFF2-40B4-BE49-F238E27FC236}">
                      <a16:creationId xmlns:a16="http://schemas.microsoft.com/office/drawing/2014/main" id="{1B3729E0-2F52-4E7A-BBC7-FDD4D988B69A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9" name="Group 1498">
                <a:extLst>
                  <a:ext uri="{FF2B5EF4-FFF2-40B4-BE49-F238E27FC236}">
                    <a16:creationId xmlns:a16="http://schemas.microsoft.com/office/drawing/2014/main" id="{FF87D819-B73D-4012-8A80-8F19956ABFC4}"/>
                  </a:ext>
                </a:extLst>
              </p:cNvPr>
              <p:cNvGrpSpPr/>
              <p:nvPr/>
            </p:nvGrpSpPr>
            <p:grpSpPr>
              <a:xfrm>
                <a:off x="7172231" y="4001720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548" name="Freeform 527">
                  <a:extLst>
                    <a:ext uri="{FF2B5EF4-FFF2-40B4-BE49-F238E27FC236}">
                      <a16:creationId xmlns:a16="http://schemas.microsoft.com/office/drawing/2014/main" id="{D7A220A0-3C6F-49E3-9139-F5E94AEAF4B9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49" name="Freeform 528">
                  <a:extLst>
                    <a:ext uri="{FF2B5EF4-FFF2-40B4-BE49-F238E27FC236}">
                      <a16:creationId xmlns:a16="http://schemas.microsoft.com/office/drawing/2014/main" id="{AD201B52-40AD-413C-9230-CD2C3A8A59A6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50" name="Freeform 529">
                  <a:extLst>
                    <a:ext uri="{FF2B5EF4-FFF2-40B4-BE49-F238E27FC236}">
                      <a16:creationId xmlns:a16="http://schemas.microsoft.com/office/drawing/2014/main" id="{AC7CF745-31EB-414B-9040-5661B9BAE9F3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0" name="Group 1499">
                <a:extLst>
                  <a:ext uri="{FF2B5EF4-FFF2-40B4-BE49-F238E27FC236}">
                    <a16:creationId xmlns:a16="http://schemas.microsoft.com/office/drawing/2014/main" id="{F989CD7D-CA5D-4B94-AEBA-A717109F6BE1}"/>
                  </a:ext>
                </a:extLst>
              </p:cNvPr>
              <p:cNvGrpSpPr/>
              <p:nvPr/>
            </p:nvGrpSpPr>
            <p:grpSpPr>
              <a:xfrm>
                <a:off x="7172231" y="3669966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545" name="Freeform 531">
                  <a:extLst>
                    <a:ext uri="{FF2B5EF4-FFF2-40B4-BE49-F238E27FC236}">
                      <a16:creationId xmlns:a16="http://schemas.microsoft.com/office/drawing/2014/main" id="{D8FED3A3-EEB8-4224-B881-7904301C5FBB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46" name="Freeform 532">
                  <a:extLst>
                    <a:ext uri="{FF2B5EF4-FFF2-40B4-BE49-F238E27FC236}">
                      <a16:creationId xmlns:a16="http://schemas.microsoft.com/office/drawing/2014/main" id="{F5D79DA8-7CC4-4FBD-A128-1E79DB5C3451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47" name="Freeform 533">
                  <a:extLst>
                    <a:ext uri="{FF2B5EF4-FFF2-40B4-BE49-F238E27FC236}">
                      <a16:creationId xmlns:a16="http://schemas.microsoft.com/office/drawing/2014/main" id="{D2E24DCC-4A5C-4BF6-B358-4325FB964D65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1" name="Group 1500">
                <a:extLst>
                  <a:ext uri="{FF2B5EF4-FFF2-40B4-BE49-F238E27FC236}">
                    <a16:creationId xmlns:a16="http://schemas.microsoft.com/office/drawing/2014/main" id="{5073FF26-ABE4-40B6-A441-24C11FE22E68}"/>
                  </a:ext>
                </a:extLst>
              </p:cNvPr>
              <p:cNvGrpSpPr/>
              <p:nvPr/>
            </p:nvGrpSpPr>
            <p:grpSpPr>
              <a:xfrm>
                <a:off x="7172231" y="3338213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542" name="Freeform 535">
                  <a:extLst>
                    <a:ext uri="{FF2B5EF4-FFF2-40B4-BE49-F238E27FC236}">
                      <a16:creationId xmlns:a16="http://schemas.microsoft.com/office/drawing/2014/main" id="{3B61ACC2-2DA5-431C-9E6B-E3E32D49812B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43" name="Freeform 536">
                  <a:extLst>
                    <a:ext uri="{FF2B5EF4-FFF2-40B4-BE49-F238E27FC236}">
                      <a16:creationId xmlns:a16="http://schemas.microsoft.com/office/drawing/2014/main" id="{C3076A2E-7043-4FFD-B96C-0698C707494D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44" name="Freeform 537">
                  <a:extLst>
                    <a:ext uri="{FF2B5EF4-FFF2-40B4-BE49-F238E27FC236}">
                      <a16:creationId xmlns:a16="http://schemas.microsoft.com/office/drawing/2014/main" id="{2F8CA481-CBD0-4E02-8EF7-0C5FE7861828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2" name="Group 1501">
                <a:extLst>
                  <a:ext uri="{FF2B5EF4-FFF2-40B4-BE49-F238E27FC236}">
                    <a16:creationId xmlns:a16="http://schemas.microsoft.com/office/drawing/2014/main" id="{0E9B1D23-BC39-4D93-A60D-34BF5E769EBA}"/>
                  </a:ext>
                </a:extLst>
              </p:cNvPr>
              <p:cNvGrpSpPr/>
              <p:nvPr/>
            </p:nvGrpSpPr>
            <p:grpSpPr>
              <a:xfrm>
                <a:off x="7171255" y="3008319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539" name="Freeform 539">
                  <a:extLst>
                    <a:ext uri="{FF2B5EF4-FFF2-40B4-BE49-F238E27FC236}">
                      <a16:creationId xmlns:a16="http://schemas.microsoft.com/office/drawing/2014/main" id="{0E59D07C-6F5C-496F-98E9-874606A26B0E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40" name="Freeform 540">
                  <a:extLst>
                    <a:ext uri="{FF2B5EF4-FFF2-40B4-BE49-F238E27FC236}">
                      <a16:creationId xmlns:a16="http://schemas.microsoft.com/office/drawing/2014/main" id="{586C6BCC-6669-4538-91C1-650C066C4AE7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41" name="Freeform 541">
                  <a:extLst>
                    <a:ext uri="{FF2B5EF4-FFF2-40B4-BE49-F238E27FC236}">
                      <a16:creationId xmlns:a16="http://schemas.microsoft.com/office/drawing/2014/main" id="{A4F9A26B-CA66-42E4-97C2-CEA70763AF7A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3" name="Group 1502">
                <a:extLst>
                  <a:ext uri="{FF2B5EF4-FFF2-40B4-BE49-F238E27FC236}">
                    <a16:creationId xmlns:a16="http://schemas.microsoft.com/office/drawing/2014/main" id="{ADE86406-7328-499B-855E-CA08C88AB805}"/>
                  </a:ext>
                </a:extLst>
              </p:cNvPr>
              <p:cNvGrpSpPr/>
              <p:nvPr/>
            </p:nvGrpSpPr>
            <p:grpSpPr>
              <a:xfrm>
                <a:off x="7510236" y="4120971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536" name="Freeform 543">
                  <a:extLst>
                    <a:ext uri="{FF2B5EF4-FFF2-40B4-BE49-F238E27FC236}">
                      <a16:creationId xmlns:a16="http://schemas.microsoft.com/office/drawing/2014/main" id="{85EABA8A-1F1A-44B8-A752-F3671FB78DF5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37" name="Freeform 544">
                  <a:extLst>
                    <a:ext uri="{FF2B5EF4-FFF2-40B4-BE49-F238E27FC236}">
                      <a16:creationId xmlns:a16="http://schemas.microsoft.com/office/drawing/2014/main" id="{9D08D28F-5767-4841-975E-2D8312429CD2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38" name="Freeform 545">
                  <a:extLst>
                    <a:ext uri="{FF2B5EF4-FFF2-40B4-BE49-F238E27FC236}">
                      <a16:creationId xmlns:a16="http://schemas.microsoft.com/office/drawing/2014/main" id="{73563271-4A9B-4148-B172-4B9E607DED73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4" name="Group 1503">
                <a:extLst>
                  <a:ext uri="{FF2B5EF4-FFF2-40B4-BE49-F238E27FC236}">
                    <a16:creationId xmlns:a16="http://schemas.microsoft.com/office/drawing/2014/main" id="{9DB18017-69E8-4E74-96F9-88718BC9519A}"/>
                  </a:ext>
                </a:extLst>
              </p:cNvPr>
              <p:cNvGrpSpPr/>
              <p:nvPr/>
            </p:nvGrpSpPr>
            <p:grpSpPr>
              <a:xfrm>
                <a:off x="7510236" y="3789217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533" name="Freeform 547">
                  <a:extLst>
                    <a:ext uri="{FF2B5EF4-FFF2-40B4-BE49-F238E27FC236}">
                      <a16:creationId xmlns:a16="http://schemas.microsoft.com/office/drawing/2014/main" id="{25E7061C-AF1E-41B9-A2E2-3152E424950F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34" name="Freeform 548">
                  <a:extLst>
                    <a:ext uri="{FF2B5EF4-FFF2-40B4-BE49-F238E27FC236}">
                      <a16:creationId xmlns:a16="http://schemas.microsoft.com/office/drawing/2014/main" id="{B728FFA9-8229-4BAA-8DBE-2F92E0C0D9AA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35" name="Freeform 549">
                  <a:extLst>
                    <a:ext uri="{FF2B5EF4-FFF2-40B4-BE49-F238E27FC236}">
                      <a16:creationId xmlns:a16="http://schemas.microsoft.com/office/drawing/2014/main" id="{EE3A5A3D-AEA2-4383-926C-565CF44CF0C4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5" name="Group 1504">
                <a:extLst>
                  <a:ext uri="{FF2B5EF4-FFF2-40B4-BE49-F238E27FC236}">
                    <a16:creationId xmlns:a16="http://schemas.microsoft.com/office/drawing/2014/main" id="{C1F53494-C162-4A35-876F-C83A622669EA}"/>
                  </a:ext>
                </a:extLst>
              </p:cNvPr>
              <p:cNvGrpSpPr/>
              <p:nvPr/>
            </p:nvGrpSpPr>
            <p:grpSpPr>
              <a:xfrm>
                <a:off x="7510236" y="3457463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530" name="Freeform 551">
                  <a:extLst>
                    <a:ext uri="{FF2B5EF4-FFF2-40B4-BE49-F238E27FC236}">
                      <a16:creationId xmlns:a16="http://schemas.microsoft.com/office/drawing/2014/main" id="{4405E637-0D84-4E7C-B217-F0D0FC6D1341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31" name="Freeform 552">
                  <a:extLst>
                    <a:ext uri="{FF2B5EF4-FFF2-40B4-BE49-F238E27FC236}">
                      <a16:creationId xmlns:a16="http://schemas.microsoft.com/office/drawing/2014/main" id="{39B99FD3-3589-4B25-9262-47016416480C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32" name="Freeform 553">
                  <a:extLst>
                    <a:ext uri="{FF2B5EF4-FFF2-40B4-BE49-F238E27FC236}">
                      <a16:creationId xmlns:a16="http://schemas.microsoft.com/office/drawing/2014/main" id="{F5751A67-1B21-4449-8604-D981EA859FEA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6" name="Group 1505">
                <a:extLst>
                  <a:ext uri="{FF2B5EF4-FFF2-40B4-BE49-F238E27FC236}">
                    <a16:creationId xmlns:a16="http://schemas.microsoft.com/office/drawing/2014/main" id="{123EAB1E-E65C-477E-B2BC-D999A09FD1D7}"/>
                  </a:ext>
                </a:extLst>
              </p:cNvPr>
              <p:cNvGrpSpPr/>
              <p:nvPr/>
            </p:nvGrpSpPr>
            <p:grpSpPr>
              <a:xfrm>
                <a:off x="7509260" y="3127570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527" name="Freeform 555">
                  <a:extLst>
                    <a:ext uri="{FF2B5EF4-FFF2-40B4-BE49-F238E27FC236}">
                      <a16:creationId xmlns:a16="http://schemas.microsoft.com/office/drawing/2014/main" id="{50EA2484-889D-4614-8204-F64171E30507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28" name="Freeform 556">
                  <a:extLst>
                    <a:ext uri="{FF2B5EF4-FFF2-40B4-BE49-F238E27FC236}">
                      <a16:creationId xmlns:a16="http://schemas.microsoft.com/office/drawing/2014/main" id="{C837E6FB-6E16-4FD7-B351-5B184E2BB7C0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29" name="Freeform 557">
                  <a:extLst>
                    <a:ext uri="{FF2B5EF4-FFF2-40B4-BE49-F238E27FC236}">
                      <a16:creationId xmlns:a16="http://schemas.microsoft.com/office/drawing/2014/main" id="{D4CEC98B-FD10-4904-9061-6BF1670BEB8F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7" name="Group 1506">
                <a:extLst>
                  <a:ext uri="{FF2B5EF4-FFF2-40B4-BE49-F238E27FC236}">
                    <a16:creationId xmlns:a16="http://schemas.microsoft.com/office/drawing/2014/main" id="{C072197C-2554-48B2-B49A-1AE8F47404E4}"/>
                  </a:ext>
                </a:extLst>
              </p:cNvPr>
              <p:cNvGrpSpPr/>
              <p:nvPr/>
            </p:nvGrpSpPr>
            <p:grpSpPr>
              <a:xfrm>
                <a:off x="6168570" y="2341066"/>
                <a:ext cx="661482" cy="560934"/>
                <a:chOff x="6673852" y="2507796"/>
                <a:chExt cx="3493295" cy="3112292"/>
              </a:xfrm>
              <a:grpFill/>
            </p:grpSpPr>
            <p:sp>
              <p:nvSpPr>
                <p:cNvPr id="1524" name="Freeform 642">
                  <a:extLst>
                    <a:ext uri="{FF2B5EF4-FFF2-40B4-BE49-F238E27FC236}">
                      <a16:creationId xmlns:a16="http://schemas.microsoft.com/office/drawing/2014/main" id="{E21F8598-2E9B-4590-8A9B-DD2ADBFF5221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25" name="Freeform 643">
                  <a:extLst>
                    <a:ext uri="{FF2B5EF4-FFF2-40B4-BE49-F238E27FC236}">
                      <a16:creationId xmlns:a16="http://schemas.microsoft.com/office/drawing/2014/main" id="{53EBF177-F4AE-4907-AC2E-B2C25521D2A6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26" name="Freeform 644">
                  <a:extLst>
                    <a:ext uri="{FF2B5EF4-FFF2-40B4-BE49-F238E27FC236}">
                      <a16:creationId xmlns:a16="http://schemas.microsoft.com/office/drawing/2014/main" id="{AA3A9393-5C75-4AF8-B872-F846961A5AE1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8" name="Group 1507">
                <a:extLst>
                  <a:ext uri="{FF2B5EF4-FFF2-40B4-BE49-F238E27FC236}">
                    <a16:creationId xmlns:a16="http://schemas.microsoft.com/office/drawing/2014/main" id="{BC995079-FB58-44E9-B502-053FC6CC3ABE}"/>
                  </a:ext>
                </a:extLst>
              </p:cNvPr>
              <p:cNvGrpSpPr/>
              <p:nvPr/>
            </p:nvGrpSpPr>
            <p:grpSpPr>
              <a:xfrm>
                <a:off x="6499310" y="2454655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521" name="Freeform 646">
                  <a:extLst>
                    <a:ext uri="{FF2B5EF4-FFF2-40B4-BE49-F238E27FC236}">
                      <a16:creationId xmlns:a16="http://schemas.microsoft.com/office/drawing/2014/main" id="{06732467-75F5-4C56-B218-65B6A25A4ADF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22" name="Freeform 647">
                  <a:extLst>
                    <a:ext uri="{FF2B5EF4-FFF2-40B4-BE49-F238E27FC236}">
                      <a16:creationId xmlns:a16="http://schemas.microsoft.com/office/drawing/2014/main" id="{900089B9-4E8C-48A6-B435-C0C351C96717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23" name="Freeform 648">
                  <a:extLst>
                    <a:ext uri="{FF2B5EF4-FFF2-40B4-BE49-F238E27FC236}">
                      <a16:creationId xmlns:a16="http://schemas.microsoft.com/office/drawing/2014/main" id="{F3E79FB5-21EF-43DF-AD45-F92A469B6CF6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9" name="Group 1508">
                <a:extLst>
                  <a:ext uri="{FF2B5EF4-FFF2-40B4-BE49-F238E27FC236}">
                    <a16:creationId xmlns:a16="http://schemas.microsoft.com/office/drawing/2014/main" id="{ED1F0462-357B-48A6-9B98-A0B8A45BE3B0}"/>
                  </a:ext>
                </a:extLst>
              </p:cNvPr>
              <p:cNvGrpSpPr/>
              <p:nvPr/>
            </p:nvGrpSpPr>
            <p:grpSpPr>
              <a:xfrm>
                <a:off x="6830051" y="2568246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518" name="Freeform 650">
                  <a:extLst>
                    <a:ext uri="{FF2B5EF4-FFF2-40B4-BE49-F238E27FC236}">
                      <a16:creationId xmlns:a16="http://schemas.microsoft.com/office/drawing/2014/main" id="{B3237345-8DED-41BA-A238-D9858ECEF104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19" name="Freeform 651">
                  <a:extLst>
                    <a:ext uri="{FF2B5EF4-FFF2-40B4-BE49-F238E27FC236}">
                      <a16:creationId xmlns:a16="http://schemas.microsoft.com/office/drawing/2014/main" id="{A357ED2A-0AED-4D7B-8FE8-C4B36998A21F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20" name="Freeform 652">
                  <a:extLst>
                    <a:ext uri="{FF2B5EF4-FFF2-40B4-BE49-F238E27FC236}">
                      <a16:creationId xmlns:a16="http://schemas.microsoft.com/office/drawing/2014/main" id="{86EB9935-7228-4557-9E7C-52F73AE560D5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10" name="Group 1509">
                <a:extLst>
                  <a:ext uri="{FF2B5EF4-FFF2-40B4-BE49-F238E27FC236}">
                    <a16:creationId xmlns:a16="http://schemas.microsoft.com/office/drawing/2014/main" id="{ED6BAEEC-CDCF-42AE-B9D9-28A27A7885DF}"/>
                  </a:ext>
                </a:extLst>
              </p:cNvPr>
              <p:cNvGrpSpPr/>
              <p:nvPr/>
            </p:nvGrpSpPr>
            <p:grpSpPr>
              <a:xfrm>
                <a:off x="7165809" y="2682492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515" name="Freeform 654">
                  <a:extLst>
                    <a:ext uri="{FF2B5EF4-FFF2-40B4-BE49-F238E27FC236}">
                      <a16:creationId xmlns:a16="http://schemas.microsoft.com/office/drawing/2014/main" id="{0A332B47-8DBC-4088-89F0-25F04F12A96C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16" name="Freeform 655">
                  <a:extLst>
                    <a:ext uri="{FF2B5EF4-FFF2-40B4-BE49-F238E27FC236}">
                      <a16:creationId xmlns:a16="http://schemas.microsoft.com/office/drawing/2014/main" id="{950F5A4E-2E32-46BB-8D9D-FCD526085FB7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17" name="Freeform 656">
                  <a:extLst>
                    <a:ext uri="{FF2B5EF4-FFF2-40B4-BE49-F238E27FC236}">
                      <a16:creationId xmlns:a16="http://schemas.microsoft.com/office/drawing/2014/main" id="{6906CFCF-13D3-4AFF-9B9C-C87DAB156028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11" name="Group 1510">
                <a:extLst>
                  <a:ext uri="{FF2B5EF4-FFF2-40B4-BE49-F238E27FC236}">
                    <a16:creationId xmlns:a16="http://schemas.microsoft.com/office/drawing/2014/main" id="{E78C49CC-A806-4038-B9D0-AF5058B10193}"/>
                  </a:ext>
                </a:extLst>
              </p:cNvPr>
              <p:cNvGrpSpPr/>
              <p:nvPr/>
            </p:nvGrpSpPr>
            <p:grpSpPr>
              <a:xfrm>
                <a:off x="7503814" y="2801743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512" name="Freeform 658">
                  <a:extLst>
                    <a:ext uri="{FF2B5EF4-FFF2-40B4-BE49-F238E27FC236}">
                      <a16:creationId xmlns:a16="http://schemas.microsoft.com/office/drawing/2014/main" id="{9DC513AB-19DF-49F4-9C0D-B0666C3A2123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13" name="Freeform 659">
                  <a:extLst>
                    <a:ext uri="{FF2B5EF4-FFF2-40B4-BE49-F238E27FC236}">
                      <a16:creationId xmlns:a16="http://schemas.microsoft.com/office/drawing/2014/main" id="{1C4A1CE5-7F3E-4A96-955F-7A05A5E3A85C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14" name="Freeform 660">
                  <a:extLst>
                    <a:ext uri="{FF2B5EF4-FFF2-40B4-BE49-F238E27FC236}">
                      <a16:creationId xmlns:a16="http://schemas.microsoft.com/office/drawing/2014/main" id="{2815B17D-628D-4D59-99F5-262E58A85CEB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281" name="Group 1280">
              <a:extLst>
                <a:ext uri="{FF2B5EF4-FFF2-40B4-BE49-F238E27FC236}">
                  <a16:creationId xmlns:a16="http://schemas.microsoft.com/office/drawing/2014/main" id="{F46F87EE-8C2F-48DD-8E81-1FC52961E91B}"/>
                </a:ext>
              </a:extLst>
            </p:cNvPr>
            <p:cNvGrpSpPr/>
            <p:nvPr/>
          </p:nvGrpSpPr>
          <p:grpSpPr>
            <a:xfrm>
              <a:off x="10230740" y="2697821"/>
              <a:ext cx="873490" cy="1162881"/>
              <a:chOff x="6168570" y="2341066"/>
              <a:chExt cx="2003149" cy="2340838"/>
            </a:xfrm>
            <a:solidFill>
              <a:srgbClr val="3E92C8">
                <a:alpha val="50196"/>
              </a:srgbClr>
            </a:solidFill>
          </p:grpSpPr>
          <p:grpSp>
            <p:nvGrpSpPr>
              <p:cNvPr id="1387" name="Group 1386">
                <a:extLst>
                  <a:ext uri="{FF2B5EF4-FFF2-40B4-BE49-F238E27FC236}">
                    <a16:creationId xmlns:a16="http://schemas.microsoft.com/office/drawing/2014/main" id="{A89829EC-A88A-4545-A926-F47BF86D9A25}"/>
                  </a:ext>
                </a:extLst>
              </p:cNvPr>
              <p:cNvGrpSpPr/>
              <p:nvPr/>
            </p:nvGrpSpPr>
            <p:grpSpPr>
              <a:xfrm>
                <a:off x="6174996" y="3660293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484" name="Freeform 479">
                  <a:extLst>
                    <a:ext uri="{FF2B5EF4-FFF2-40B4-BE49-F238E27FC236}">
                      <a16:creationId xmlns:a16="http://schemas.microsoft.com/office/drawing/2014/main" id="{C2224EC1-30F3-40EA-8BA7-8F9DA7A4FBF0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85" name="Freeform 480">
                  <a:extLst>
                    <a:ext uri="{FF2B5EF4-FFF2-40B4-BE49-F238E27FC236}">
                      <a16:creationId xmlns:a16="http://schemas.microsoft.com/office/drawing/2014/main" id="{9027B15A-F38D-472C-81F6-95FAC56206DE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86" name="Freeform 481">
                  <a:extLst>
                    <a:ext uri="{FF2B5EF4-FFF2-40B4-BE49-F238E27FC236}">
                      <a16:creationId xmlns:a16="http://schemas.microsoft.com/office/drawing/2014/main" id="{28D00729-0985-4E94-8896-292C54CFE10A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88" name="Group 1387">
                <a:extLst>
                  <a:ext uri="{FF2B5EF4-FFF2-40B4-BE49-F238E27FC236}">
                    <a16:creationId xmlns:a16="http://schemas.microsoft.com/office/drawing/2014/main" id="{448A5D7F-8655-457F-A8AD-1255F82B5211}"/>
                  </a:ext>
                </a:extLst>
              </p:cNvPr>
              <p:cNvGrpSpPr/>
              <p:nvPr/>
            </p:nvGrpSpPr>
            <p:grpSpPr>
              <a:xfrm>
                <a:off x="6505737" y="3773882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481" name="Freeform 483">
                  <a:extLst>
                    <a:ext uri="{FF2B5EF4-FFF2-40B4-BE49-F238E27FC236}">
                      <a16:creationId xmlns:a16="http://schemas.microsoft.com/office/drawing/2014/main" id="{5E57A75A-4C4B-4707-8B02-DBFF5419A31F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82" name="Freeform 484">
                  <a:extLst>
                    <a:ext uri="{FF2B5EF4-FFF2-40B4-BE49-F238E27FC236}">
                      <a16:creationId xmlns:a16="http://schemas.microsoft.com/office/drawing/2014/main" id="{77063322-FFB2-43CC-9C66-572692A24944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83" name="Freeform 485">
                  <a:extLst>
                    <a:ext uri="{FF2B5EF4-FFF2-40B4-BE49-F238E27FC236}">
                      <a16:creationId xmlns:a16="http://schemas.microsoft.com/office/drawing/2014/main" id="{76047EA3-2611-45F0-B231-6EA5C3B75C52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89" name="Group 1388">
                <a:extLst>
                  <a:ext uri="{FF2B5EF4-FFF2-40B4-BE49-F238E27FC236}">
                    <a16:creationId xmlns:a16="http://schemas.microsoft.com/office/drawing/2014/main" id="{CF357642-CB1E-49F0-8BB4-ACC9F5CD77FC}"/>
                  </a:ext>
                </a:extLst>
              </p:cNvPr>
              <p:cNvGrpSpPr/>
              <p:nvPr/>
            </p:nvGrpSpPr>
            <p:grpSpPr>
              <a:xfrm>
                <a:off x="6836478" y="3887471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478" name="Freeform 487">
                  <a:extLst>
                    <a:ext uri="{FF2B5EF4-FFF2-40B4-BE49-F238E27FC236}">
                      <a16:creationId xmlns:a16="http://schemas.microsoft.com/office/drawing/2014/main" id="{FDD322FA-D47C-4587-9479-1ED902383539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79" name="Freeform 488">
                  <a:extLst>
                    <a:ext uri="{FF2B5EF4-FFF2-40B4-BE49-F238E27FC236}">
                      <a16:creationId xmlns:a16="http://schemas.microsoft.com/office/drawing/2014/main" id="{B7AACA40-C3F3-451C-B76B-D18D72921DDA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80" name="Freeform 489">
                  <a:extLst>
                    <a:ext uri="{FF2B5EF4-FFF2-40B4-BE49-F238E27FC236}">
                      <a16:creationId xmlns:a16="http://schemas.microsoft.com/office/drawing/2014/main" id="{E22CE266-0778-434B-AA86-978BC2FFC58D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0" name="Group 1389">
                <a:extLst>
                  <a:ext uri="{FF2B5EF4-FFF2-40B4-BE49-F238E27FC236}">
                    <a16:creationId xmlns:a16="http://schemas.microsoft.com/office/drawing/2014/main" id="{1DC16AD9-9135-4445-BA9E-01B80F3A4F57}"/>
                  </a:ext>
                </a:extLst>
              </p:cNvPr>
              <p:cNvGrpSpPr/>
              <p:nvPr/>
            </p:nvGrpSpPr>
            <p:grpSpPr>
              <a:xfrm>
                <a:off x="6174996" y="3328540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475" name="Freeform 491">
                  <a:extLst>
                    <a:ext uri="{FF2B5EF4-FFF2-40B4-BE49-F238E27FC236}">
                      <a16:creationId xmlns:a16="http://schemas.microsoft.com/office/drawing/2014/main" id="{1CF24011-88FD-44DA-A0A4-D784BDAB6A35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76" name="Freeform 492">
                  <a:extLst>
                    <a:ext uri="{FF2B5EF4-FFF2-40B4-BE49-F238E27FC236}">
                      <a16:creationId xmlns:a16="http://schemas.microsoft.com/office/drawing/2014/main" id="{91DD7922-8860-4CFF-BD73-131B25F693CB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77" name="Freeform 493">
                  <a:extLst>
                    <a:ext uri="{FF2B5EF4-FFF2-40B4-BE49-F238E27FC236}">
                      <a16:creationId xmlns:a16="http://schemas.microsoft.com/office/drawing/2014/main" id="{B6C39BD5-19BE-4F7A-8A38-04E3966BE95F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1" name="Group 1390">
                <a:extLst>
                  <a:ext uri="{FF2B5EF4-FFF2-40B4-BE49-F238E27FC236}">
                    <a16:creationId xmlns:a16="http://schemas.microsoft.com/office/drawing/2014/main" id="{6D4CD08F-C115-401B-827A-1F7FCE4A3854}"/>
                  </a:ext>
                </a:extLst>
              </p:cNvPr>
              <p:cNvGrpSpPr/>
              <p:nvPr/>
            </p:nvGrpSpPr>
            <p:grpSpPr>
              <a:xfrm>
                <a:off x="6505737" y="3442129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472" name="Freeform 495">
                  <a:extLst>
                    <a:ext uri="{FF2B5EF4-FFF2-40B4-BE49-F238E27FC236}">
                      <a16:creationId xmlns:a16="http://schemas.microsoft.com/office/drawing/2014/main" id="{0ADF7A3A-FF0A-4E18-A6F4-79C4400F15B6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73" name="Freeform 496">
                  <a:extLst>
                    <a:ext uri="{FF2B5EF4-FFF2-40B4-BE49-F238E27FC236}">
                      <a16:creationId xmlns:a16="http://schemas.microsoft.com/office/drawing/2014/main" id="{1EE7F9A0-C227-4E80-9856-DC7EB58220F1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74" name="Freeform 497">
                  <a:extLst>
                    <a:ext uri="{FF2B5EF4-FFF2-40B4-BE49-F238E27FC236}">
                      <a16:creationId xmlns:a16="http://schemas.microsoft.com/office/drawing/2014/main" id="{A705EA64-9912-4C5C-91F2-5BCF572EF4A7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2" name="Group 1391">
                <a:extLst>
                  <a:ext uri="{FF2B5EF4-FFF2-40B4-BE49-F238E27FC236}">
                    <a16:creationId xmlns:a16="http://schemas.microsoft.com/office/drawing/2014/main" id="{505C0CA9-4E66-47E3-B26E-82D4FA222B89}"/>
                  </a:ext>
                </a:extLst>
              </p:cNvPr>
              <p:cNvGrpSpPr/>
              <p:nvPr/>
            </p:nvGrpSpPr>
            <p:grpSpPr>
              <a:xfrm>
                <a:off x="6836478" y="3555718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469" name="Freeform 499">
                  <a:extLst>
                    <a:ext uri="{FF2B5EF4-FFF2-40B4-BE49-F238E27FC236}">
                      <a16:creationId xmlns:a16="http://schemas.microsoft.com/office/drawing/2014/main" id="{9F339848-6069-479A-AC01-48245070E38A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70" name="Freeform 500">
                  <a:extLst>
                    <a:ext uri="{FF2B5EF4-FFF2-40B4-BE49-F238E27FC236}">
                      <a16:creationId xmlns:a16="http://schemas.microsoft.com/office/drawing/2014/main" id="{2CC3E315-83B2-416D-819A-052229B32DDC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71" name="Freeform 501">
                  <a:extLst>
                    <a:ext uri="{FF2B5EF4-FFF2-40B4-BE49-F238E27FC236}">
                      <a16:creationId xmlns:a16="http://schemas.microsoft.com/office/drawing/2014/main" id="{30908D93-2306-4193-A86C-E288850D52E8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3" name="Group 1392">
                <a:extLst>
                  <a:ext uri="{FF2B5EF4-FFF2-40B4-BE49-F238E27FC236}">
                    <a16:creationId xmlns:a16="http://schemas.microsoft.com/office/drawing/2014/main" id="{EFDA3E58-21D8-4C4B-A0C6-1985C4111A8C}"/>
                  </a:ext>
                </a:extLst>
              </p:cNvPr>
              <p:cNvGrpSpPr/>
              <p:nvPr/>
            </p:nvGrpSpPr>
            <p:grpSpPr>
              <a:xfrm>
                <a:off x="6174995" y="2996788"/>
                <a:ext cx="661482" cy="560933"/>
                <a:chOff x="6673852" y="2507796"/>
                <a:chExt cx="3493295" cy="3112291"/>
              </a:xfrm>
              <a:grpFill/>
            </p:grpSpPr>
            <p:sp>
              <p:nvSpPr>
                <p:cNvPr id="1466" name="Freeform 503">
                  <a:extLst>
                    <a:ext uri="{FF2B5EF4-FFF2-40B4-BE49-F238E27FC236}">
                      <a16:creationId xmlns:a16="http://schemas.microsoft.com/office/drawing/2014/main" id="{42237241-D0B6-48BD-8FA5-E3D69250D3DE}"/>
                    </a:ext>
                  </a:extLst>
                </p:cNvPr>
                <p:cNvSpPr/>
                <p:nvPr/>
              </p:nvSpPr>
              <p:spPr>
                <a:xfrm>
                  <a:off x="6673852" y="3138031"/>
                  <a:ext cx="1764508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67" name="Freeform 504">
                  <a:extLst>
                    <a:ext uri="{FF2B5EF4-FFF2-40B4-BE49-F238E27FC236}">
                      <a16:creationId xmlns:a16="http://schemas.microsoft.com/office/drawing/2014/main" id="{3CF51032-6367-41AE-BC56-3BCFDDDE9F72}"/>
                    </a:ext>
                  </a:extLst>
                </p:cNvPr>
                <p:cNvSpPr/>
                <p:nvPr/>
              </p:nvSpPr>
              <p:spPr>
                <a:xfrm>
                  <a:off x="8427248" y="3149146"/>
                  <a:ext cx="1739899" cy="2470149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68" name="Freeform 505">
                  <a:extLst>
                    <a:ext uri="{FF2B5EF4-FFF2-40B4-BE49-F238E27FC236}">
                      <a16:creationId xmlns:a16="http://schemas.microsoft.com/office/drawing/2014/main" id="{BA87B5A7-56D8-45A2-9EBC-D16F74876167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3" cy="1270002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4" name="Group 1393">
                <a:extLst>
                  <a:ext uri="{FF2B5EF4-FFF2-40B4-BE49-F238E27FC236}">
                    <a16:creationId xmlns:a16="http://schemas.microsoft.com/office/drawing/2014/main" id="{D8F04537-9B28-40CC-8ADF-4649F4D2D85E}"/>
                  </a:ext>
                </a:extLst>
              </p:cNvPr>
              <p:cNvGrpSpPr/>
              <p:nvPr/>
            </p:nvGrpSpPr>
            <p:grpSpPr>
              <a:xfrm>
                <a:off x="6505738" y="3110376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463" name="Freeform 507">
                  <a:extLst>
                    <a:ext uri="{FF2B5EF4-FFF2-40B4-BE49-F238E27FC236}">
                      <a16:creationId xmlns:a16="http://schemas.microsoft.com/office/drawing/2014/main" id="{0F54CEA4-52FC-4E39-96A1-37965A26B2FB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64" name="Freeform 508">
                  <a:extLst>
                    <a:ext uri="{FF2B5EF4-FFF2-40B4-BE49-F238E27FC236}">
                      <a16:creationId xmlns:a16="http://schemas.microsoft.com/office/drawing/2014/main" id="{61F66468-8E85-4723-A759-07FC77E51E01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65" name="Freeform 509">
                  <a:extLst>
                    <a:ext uri="{FF2B5EF4-FFF2-40B4-BE49-F238E27FC236}">
                      <a16:creationId xmlns:a16="http://schemas.microsoft.com/office/drawing/2014/main" id="{45FC97A7-0427-4C3E-B40C-E5C699E5EB3D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5" name="Group 1394">
                <a:extLst>
                  <a:ext uri="{FF2B5EF4-FFF2-40B4-BE49-F238E27FC236}">
                    <a16:creationId xmlns:a16="http://schemas.microsoft.com/office/drawing/2014/main" id="{F0CD1308-139E-4D0F-A004-C648AA2A8217}"/>
                  </a:ext>
                </a:extLst>
              </p:cNvPr>
              <p:cNvGrpSpPr/>
              <p:nvPr/>
            </p:nvGrpSpPr>
            <p:grpSpPr>
              <a:xfrm>
                <a:off x="6836478" y="3223965"/>
                <a:ext cx="661482" cy="560933"/>
                <a:chOff x="6673854" y="2507796"/>
                <a:chExt cx="3493293" cy="3112296"/>
              </a:xfrm>
              <a:grpFill/>
            </p:grpSpPr>
            <p:sp>
              <p:nvSpPr>
                <p:cNvPr id="1460" name="Freeform 511">
                  <a:extLst>
                    <a:ext uri="{FF2B5EF4-FFF2-40B4-BE49-F238E27FC236}">
                      <a16:creationId xmlns:a16="http://schemas.microsoft.com/office/drawing/2014/main" id="{4BC0CA7B-7512-44CD-83E4-983558B0552F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61" name="Freeform 512">
                  <a:extLst>
                    <a:ext uri="{FF2B5EF4-FFF2-40B4-BE49-F238E27FC236}">
                      <a16:creationId xmlns:a16="http://schemas.microsoft.com/office/drawing/2014/main" id="{AC35D246-D154-4177-9A72-8B9DE55F112E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62" name="Freeform 513">
                  <a:extLst>
                    <a:ext uri="{FF2B5EF4-FFF2-40B4-BE49-F238E27FC236}">
                      <a16:creationId xmlns:a16="http://schemas.microsoft.com/office/drawing/2014/main" id="{75B077EA-D259-4955-953F-BF1867E31409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6" name="Group 1395">
                <a:extLst>
                  <a:ext uri="{FF2B5EF4-FFF2-40B4-BE49-F238E27FC236}">
                    <a16:creationId xmlns:a16="http://schemas.microsoft.com/office/drawing/2014/main" id="{97F6FCCB-AD1C-47DD-9B59-8881804C38C9}"/>
                  </a:ext>
                </a:extLst>
              </p:cNvPr>
              <p:cNvGrpSpPr/>
              <p:nvPr/>
            </p:nvGrpSpPr>
            <p:grpSpPr>
              <a:xfrm>
                <a:off x="6174016" y="2666892"/>
                <a:ext cx="661482" cy="560934"/>
                <a:chOff x="6673852" y="2507796"/>
                <a:chExt cx="3493295" cy="3112292"/>
              </a:xfrm>
              <a:grpFill/>
            </p:grpSpPr>
            <p:sp>
              <p:nvSpPr>
                <p:cNvPr id="1457" name="Freeform 515">
                  <a:extLst>
                    <a:ext uri="{FF2B5EF4-FFF2-40B4-BE49-F238E27FC236}">
                      <a16:creationId xmlns:a16="http://schemas.microsoft.com/office/drawing/2014/main" id="{989E23C6-A157-4853-8D0D-B7ACE0B0724D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58" name="Freeform 516">
                  <a:extLst>
                    <a:ext uri="{FF2B5EF4-FFF2-40B4-BE49-F238E27FC236}">
                      <a16:creationId xmlns:a16="http://schemas.microsoft.com/office/drawing/2014/main" id="{681A68F6-C12B-4687-A460-EDCF684A8AA8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59" name="Freeform 517">
                  <a:extLst>
                    <a:ext uri="{FF2B5EF4-FFF2-40B4-BE49-F238E27FC236}">
                      <a16:creationId xmlns:a16="http://schemas.microsoft.com/office/drawing/2014/main" id="{F4E50F16-F7A9-41CC-8D80-0B7E4276AE57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7" name="Group 1396">
                <a:extLst>
                  <a:ext uri="{FF2B5EF4-FFF2-40B4-BE49-F238E27FC236}">
                    <a16:creationId xmlns:a16="http://schemas.microsoft.com/office/drawing/2014/main" id="{7B8868F9-4D36-4199-8833-EE5E4ADAC28E}"/>
                  </a:ext>
                </a:extLst>
              </p:cNvPr>
              <p:cNvGrpSpPr/>
              <p:nvPr/>
            </p:nvGrpSpPr>
            <p:grpSpPr>
              <a:xfrm>
                <a:off x="6504756" y="2780481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454" name="Freeform 519">
                  <a:extLst>
                    <a:ext uri="{FF2B5EF4-FFF2-40B4-BE49-F238E27FC236}">
                      <a16:creationId xmlns:a16="http://schemas.microsoft.com/office/drawing/2014/main" id="{5BEB2318-9B36-4FBF-AEA3-E3C2966EA329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55" name="Freeform 520">
                  <a:extLst>
                    <a:ext uri="{FF2B5EF4-FFF2-40B4-BE49-F238E27FC236}">
                      <a16:creationId xmlns:a16="http://schemas.microsoft.com/office/drawing/2014/main" id="{D298DD95-6D94-4973-BD71-1D29A4F9BCE6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56" name="Freeform 521">
                  <a:extLst>
                    <a:ext uri="{FF2B5EF4-FFF2-40B4-BE49-F238E27FC236}">
                      <a16:creationId xmlns:a16="http://schemas.microsoft.com/office/drawing/2014/main" id="{5CEEC7D1-D473-4E07-989F-BC64DFB38193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8" name="Group 1397">
                <a:extLst>
                  <a:ext uri="{FF2B5EF4-FFF2-40B4-BE49-F238E27FC236}">
                    <a16:creationId xmlns:a16="http://schemas.microsoft.com/office/drawing/2014/main" id="{071965FE-7E54-41A4-B853-A6DE7A9B8ED4}"/>
                  </a:ext>
                </a:extLst>
              </p:cNvPr>
              <p:cNvGrpSpPr/>
              <p:nvPr/>
            </p:nvGrpSpPr>
            <p:grpSpPr>
              <a:xfrm>
                <a:off x="6835497" y="2894073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451" name="Freeform 523">
                  <a:extLst>
                    <a:ext uri="{FF2B5EF4-FFF2-40B4-BE49-F238E27FC236}">
                      <a16:creationId xmlns:a16="http://schemas.microsoft.com/office/drawing/2014/main" id="{8186B68B-ED7C-472C-988D-601A873FADA2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52" name="Freeform 524">
                  <a:extLst>
                    <a:ext uri="{FF2B5EF4-FFF2-40B4-BE49-F238E27FC236}">
                      <a16:creationId xmlns:a16="http://schemas.microsoft.com/office/drawing/2014/main" id="{B5711E88-1002-4A64-83EC-4C0F0B754882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53" name="Freeform 525">
                  <a:extLst>
                    <a:ext uri="{FF2B5EF4-FFF2-40B4-BE49-F238E27FC236}">
                      <a16:creationId xmlns:a16="http://schemas.microsoft.com/office/drawing/2014/main" id="{7D88B06E-3651-4C2F-BF3C-50DEB1913BF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99" name="Group 1398">
                <a:extLst>
                  <a:ext uri="{FF2B5EF4-FFF2-40B4-BE49-F238E27FC236}">
                    <a16:creationId xmlns:a16="http://schemas.microsoft.com/office/drawing/2014/main" id="{CCD72A39-FE3D-4C0A-990F-D511ABB939DA}"/>
                  </a:ext>
                </a:extLst>
              </p:cNvPr>
              <p:cNvGrpSpPr/>
              <p:nvPr/>
            </p:nvGrpSpPr>
            <p:grpSpPr>
              <a:xfrm>
                <a:off x="7172231" y="4001720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448" name="Freeform 527">
                  <a:extLst>
                    <a:ext uri="{FF2B5EF4-FFF2-40B4-BE49-F238E27FC236}">
                      <a16:creationId xmlns:a16="http://schemas.microsoft.com/office/drawing/2014/main" id="{F3DD8DB8-4BEE-4F77-9DB1-EE0921BAB410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49" name="Freeform 528">
                  <a:extLst>
                    <a:ext uri="{FF2B5EF4-FFF2-40B4-BE49-F238E27FC236}">
                      <a16:creationId xmlns:a16="http://schemas.microsoft.com/office/drawing/2014/main" id="{A45117A8-DD3A-439B-A60C-11A58B098570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50" name="Freeform 529">
                  <a:extLst>
                    <a:ext uri="{FF2B5EF4-FFF2-40B4-BE49-F238E27FC236}">
                      <a16:creationId xmlns:a16="http://schemas.microsoft.com/office/drawing/2014/main" id="{A78671BF-663B-440A-9E3B-AED5457AF163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0" name="Group 1399">
                <a:extLst>
                  <a:ext uri="{FF2B5EF4-FFF2-40B4-BE49-F238E27FC236}">
                    <a16:creationId xmlns:a16="http://schemas.microsoft.com/office/drawing/2014/main" id="{D6E730F9-6644-4ABA-84E5-3CCC14C7A6DD}"/>
                  </a:ext>
                </a:extLst>
              </p:cNvPr>
              <p:cNvGrpSpPr/>
              <p:nvPr/>
            </p:nvGrpSpPr>
            <p:grpSpPr>
              <a:xfrm>
                <a:off x="7172231" y="3669966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445" name="Freeform 531">
                  <a:extLst>
                    <a:ext uri="{FF2B5EF4-FFF2-40B4-BE49-F238E27FC236}">
                      <a16:creationId xmlns:a16="http://schemas.microsoft.com/office/drawing/2014/main" id="{60D1FD5F-0BEB-427C-8CFF-FE67653C8E9D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46" name="Freeform 532">
                  <a:extLst>
                    <a:ext uri="{FF2B5EF4-FFF2-40B4-BE49-F238E27FC236}">
                      <a16:creationId xmlns:a16="http://schemas.microsoft.com/office/drawing/2014/main" id="{46CE3105-10C7-46B8-BA9C-91E3DF5C65D0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47" name="Freeform 533">
                  <a:extLst>
                    <a:ext uri="{FF2B5EF4-FFF2-40B4-BE49-F238E27FC236}">
                      <a16:creationId xmlns:a16="http://schemas.microsoft.com/office/drawing/2014/main" id="{971F983A-B4D9-48E4-A7B3-BB83FBB1FF7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1" name="Group 1400">
                <a:extLst>
                  <a:ext uri="{FF2B5EF4-FFF2-40B4-BE49-F238E27FC236}">
                    <a16:creationId xmlns:a16="http://schemas.microsoft.com/office/drawing/2014/main" id="{D0C98843-C300-46E4-B9AF-40A7BE6E1240}"/>
                  </a:ext>
                </a:extLst>
              </p:cNvPr>
              <p:cNvGrpSpPr/>
              <p:nvPr/>
            </p:nvGrpSpPr>
            <p:grpSpPr>
              <a:xfrm>
                <a:off x="7172231" y="3338213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442" name="Freeform 535">
                  <a:extLst>
                    <a:ext uri="{FF2B5EF4-FFF2-40B4-BE49-F238E27FC236}">
                      <a16:creationId xmlns:a16="http://schemas.microsoft.com/office/drawing/2014/main" id="{6DCE703E-1FBA-497C-A57D-7B96FC4CAFA0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43" name="Freeform 536">
                  <a:extLst>
                    <a:ext uri="{FF2B5EF4-FFF2-40B4-BE49-F238E27FC236}">
                      <a16:creationId xmlns:a16="http://schemas.microsoft.com/office/drawing/2014/main" id="{B9E10D5F-2527-4875-BB23-43C6FFA82DC9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44" name="Freeform 537">
                  <a:extLst>
                    <a:ext uri="{FF2B5EF4-FFF2-40B4-BE49-F238E27FC236}">
                      <a16:creationId xmlns:a16="http://schemas.microsoft.com/office/drawing/2014/main" id="{3A780BB7-2EA4-43D1-A607-709E792AAE69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2" name="Group 1401">
                <a:extLst>
                  <a:ext uri="{FF2B5EF4-FFF2-40B4-BE49-F238E27FC236}">
                    <a16:creationId xmlns:a16="http://schemas.microsoft.com/office/drawing/2014/main" id="{EDDE3706-C655-46EE-8C5A-E1D5721EF540}"/>
                  </a:ext>
                </a:extLst>
              </p:cNvPr>
              <p:cNvGrpSpPr/>
              <p:nvPr/>
            </p:nvGrpSpPr>
            <p:grpSpPr>
              <a:xfrm>
                <a:off x="7171255" y="3008319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439" name="Freeform 539">
                  <a:extLst>
                    <a:ext uri="{FF2B5EF4-FFF2-40B4-BE49-F238E27FC236}">
                      <a16:creationId xmlns:a16="http://schemas.microsoft.com/office/drawing/2014/main" id="{4344C601-2B80-4A84-BF8D-5C449637767B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40" name="Freeform 540">
                  <a:extLst>
                    <a:ext uri="{FF2B5EF4-FFF2-40B4-BE49-F238E27FC236}">
                      <a16:creationId xmlns:a16="http://schemas.microsoft.com/office/drawing/2014/main" id="{39FFD1A8-6ACA-492E-A7FC-58FA8F9429C8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41" name="Freeform 541">
                  <a:extLst>
                    <a:ext uri="{FF2B5EF4-FFF2-40B4-BE49-F238E27FC236}">
                      <a16:creationId xmlns:a16="http://schemas.microsoft.com/office/drawing/2014/main" id="{18C7BD8C-AF1E-4F89-88B5-A57D09B0FAB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3" name="Group 1402">
                <a:extLst>
                  <a:ext uri="{FF2B5EF4-FFF2-40B4-BE49-F238E27FC236}">
                    <a16:creationId xmlns:a16="http://schemas.microsoft.com/office/drawing/2014/main" id="{F6B36234-2393-4201-960D-BC5F92B73EA8}"/>
                  </a:ext>
                </a:extLst>
              </p:cNvPr>
              <p:cNvGrpSpPr/>
              <p:nvPr/>
            </p:nvGrpSpPr>
            <p:grpSpPr>
              <a:xfrm>
                <a:off x="7510236" y="4120971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436" name="Freeform 543">
                  <a:extLst>
                    <a:ext uri="{FF2B5EF4-FFF2-40B4-BE49-F238E27FC236}">
                      <a16:creationId xmlns:a16="http://schemas.microsoft.com/office/drawing/2014/main" id="{CAE24E3D-57FF-489E-9839-B3A9D31AA7EE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37" name="Freeform 544">
                  <a:extLst>
                    <a:ext uri="{FF2B5EF4-FFF2-40B4-BE49-F238E27FC236}">
                      <a16:creationId xmlns:a16="http://schemas.microsoft.com/office/drawing/2014/main" id="{39E25F9E-90F9-47BD-989D-78CE93445F03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38" name="Freeform 545">
                  <a:extLst>
                    <a:ext uri="{FF2B5EF4-FFF2-40B4-BE49-F238E27FC236}">
                      <a16:creationId xmlns:a16="http://schemas.microsoft.com/office/drawing/2014/main" id="{A4EC8290-6A1A-41FF-8147-2F9BA104D4A8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4" name="Group 1403">
                <a:extLst>
                  <a:ext uri="{FF2B5EF4-FFF2-40B4-BE49-F238E27FC236}">
                    <a16:creationId xmlns:a16="http://schemas.microsoft.com/office/drawing/2014/main" id="{7BB6CCA4-DF28-4673-A6C2-7D0E27B85945}"/>
                  </a:ext>
                </a:extLst>
              </p:cNvPr>
              <p:cNvGrpSpPr/>
              <p:nvPr/>
            </p:nvGrpSpPr>
            <p:grpSpPr>
              <a:xfrm>
                <a:off x="7510236" y="3789217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433" name="Freeform 547">
                  <a:extLst>
                    <a:ext uri="{FF2B5EF4-FFF2-40B4-BE49-F238E27FC236}">
                      <a16:creationId xmlns:a16="http://schemas.microsoft.com/office/drawing/2014/main" id="{C26BA9B9-EEC3-4001-A9B3-140E3E2E019A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34" name="Freeform 548">
                  <a:extLst>
                    <a:ext uri="{FF2B5EF4-FFF2-40B4-BE49-F238E27FC236}">
                      <a16:creationId xmlns:a16="http://schemas.microsoft.com/office/drawing/2014/main" id="{E6D31EB3-4430-4CE8-BCC3-CEF64509BA9A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35" name="Freeform 549">
                  <a:extLst>
                    <a:ext uri="{FF2B5EF4-FFF2-40B4-BE49-F238E27FC236}">
                      <a16:creationId xmlns:a16="http://schemas.microsoft.com/office/drawing/2014/main" id="{5D753E41-8120-45C2-9A16-C66FC2A4A88A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5" name="Group 1404">
                <a:extLst>
                  <a:ext uri="{FF2B5EF4-FFF2-40B4-BE49-F238E27FC236}">
                    <a16:creationId xmlns:a16="http://schemas.microsoft.com/office/drawing/2014/main" id="{C9CD916D-2192-479D-A37E-29D169554CE5}"/>
                  </a:ext>
                </a:extLst>
              </p:cNvPr>
              <p:cNvGrpSpPr/>
              <p:nvPr/>
            </p:nvGrpSpPr>
            <p:grpSpPr>
              <a:xfrm>
                <a:off x="7510236" y="3457463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430" name="Freeform 551">
                  <a:extLst>
                    <a:ext uri="{FF2B5EF4-FFF2-40B4-BE49-F238E27FC236}">
                      <a16:creationId xmlns:a16="http://schemas.microsoft.com/office/drawing/2014/main" id="{4A747C45-843B-42B2-AEF3-CD0C2FAFAC80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31" name="Freeform 552">
                  <a:extLst>
                    <a:ext uri="{FF2B5EF4-FFF2-40B4-BE49-F238E27FC236}">
                      <a16:creationId xmlns:a16="http://schemas.microsoft.com/office/drawing/2014/main" id="{EB79B0F3-85D2-45B9-9F39-F7A63A7A7710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32" name="Freeform 553">
                  <a:extLst>
                    <a:ext uri="{FF2B5EF4-FFF2-40B4-BE49-F238E27FC236}">
                      <a16:creationId xmlns:a16="http://schemas.microsoft.com/office/drawing/2014/main" id="{4340AC76-992D-4ADB-BDAA-EE9C148EFFBF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6" name="Group 1405">
                <a:extLst>
                  <a:ext uri="{FF2B5EF4-FFF2-40B4-BE49-F238E27FC236}">
                    <a16:creationId xmlns:a16="http://schemas.microsoft.com/office/drawing/2014/main" id="{C4A8F9DF-6FD1-4B1F-A3EF-D436ABFDDEB5}"/>
                  </a:ext>
                </a:extLst>
              </p:cNvPr>
              <p:cNvGrpSpPr/>
              <p:nvPr/>
            </p:nvGrpSpPr>
            <p:grpSpPr>
              <a:xfrm>
                <a:off x="7509260" y="3127570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427" name="Freeform 555">
                  <a:extLst>
                    <a:ext uri="{FF2B5EF4-FFF2-40B4-BE49-F238E27FC236}">
                      <a16:creationId xmlns:a16="http://schemas.microsoft.com/office/drawing/2014/main" id="{1CA6C3D5-0823-47B2-8531-24D5D0362B65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28" name="Freeform 556">
                  <a:extLst>
                    <a:ext uri="{FF2B5EF4-FFF2-40B4-BE49-F238E27FC236}">
                      <a16:creationId xmlns:a16="http://schemas.microsoft.com/office/drawing/2014/main" id="{3FD10A5C-B7C0-439B-8720-DCCA23887A1C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29" name="Freeform 557">
                  <a:extLst>
                    <a:ext uri="{FF2B5EF4-FFF2-40B4-BE49-F238E27FC236}">
                      <a16:creationId xmlns:a16="http://schemas.microsoft.com/office/drawing/2014/main" id="{EF940765-6F78-4252-A8FD-7D6CCCB9F29F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7" name="Group 1406">
                <a:extLst>
                  <a:ext uri="{FF2B5EF4-FFF2-40B4-BE49-F238E27FC236}">
                    <a16:creationId xmlns:a16="http://schemas.microsoft.com/office/drawing/2014/main" id="{9F3321E5-94E9-4E79-A855-012B81B101EE}"/>
                  </a:ext>
                </a:extLst>
              </p:cNvPr>
              <p:cNvGrpSpPr/>
              <p:nvPr/>
            </p:nvGrpSpPr>
            <p:grpSpPr>
              <a:xfrm>
                <a:off x="6168570" y="2341066"/>
                <a:ext cx="661482" cy="560934"/>
                <a:chOff x="6673852" y="2507796"/>
                <a:chExt cx="3493295" cy="3112292"/>
              </a:xfrm>
              <a:grpFill/>
            </p:grpSpPr>
            <p:sp>
              <p:nvSpPr>
                <p:cNvPr id="1424" name="Freeform 642">
                  <a:extLst>
                    <a:ext uri="{FF2B5EF4-FFF2-40B4-BE49-F238E27FC236}">
                      <a16:creationId xmlns:a16="http://schemas.microsoft.com/office/drawing/2014/main" id="{28C4D951-EE81-47B3-A0EF-07F152B353C6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25" name="Freeform 643">
                  <a:extLst>
                    <a:ext uri="{FF2B5EF4-FFF2-40B4-BE49-F238E27FC236}">
                      <a16:creationId xmlns:a16="http://schemas.microsoft.com/office/drawing/2014/main" id="{4E2E24F3-BC53-47B3-9C70-55434305305B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26" name="Freeform 644">
                  <a:extLst>
                    <a:ext uri="{FF2B5EF4-FFF2-40B4-BE49-F238E27FC236}">
                      <a16:creationId xmlns:a16="http://schemas.microsoft.com/office/drawing/2014/main" id="{197A51D8-6959-4D3D-BFA7-705A1F31A99F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8" name="Group 1407">
                <a:extLst>
                  <a:ext uri="{FF2B5EF4-FFF2-40B4-BE49-F238E27FC236}">
                    <a16:creationId xmlns:a16="http://schemas.microsoft.com/office/drawing/2014/main" id="{4843C89C-74F2-4FB0-B0CF-94A5C48C01AA}"/>
                  </a:ext>
                </a:extLst>
              </p:cNvPr>
              <p:cNvGrpSpPr/>
              <p:nvPr/>
            </p:nvGrpSpPr>
            <p:grpSpPr>
              <a:xfrm>
                <a:off x="6499310" y="2454655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421" name="Freeform 646">
                  <a:extLst>
                    <a:ext uri="{FF2B5EF4-FFF2-40B4-BE49-F238E27FC236}">
                      <a16:creationId xmlns:a16="http://schemas.microsoft.com/office/drawing/2014/main" id="{6FB77848-6DB9-4ECF-AA4D-686ED7566293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22" name="Freeform 647">
                  <a:extLst>
                    <a:ext uri="{FF2B5EF4-FFF2-40B4-BE49-F238E27FC236}">
                      <a16:creationId xmlns:a16="http://schemas.microsoft.com/office/drawing/2014/main" id="{893B8131-C6B8-47CE-9C0B-2C4DE56B4244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23" name="Freeform 648">
                  <a:extLst>
                    <a:ext uri="{FF2B5EF4-FFF2-40B4-BE49-F238E27FC236}">
                      <a16:creationId xmlns:a16="http://schemas.microsoft.com/office/drawing/2014/main" id="{9600667E-ED06-4C0C-8FA8-3EB166C3F1AD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9" name="Group 1408">
                <a:extLst>
                  <a:ext uri="{FF2B5EF4-FFF2-40B4-BE49-F238E27FC236}">
                    <a16:creationId xmlns:a16="http://schemas.microsoft.com/office/drawing/2014/main" id="{589E4494-8B83-42C5-9153-6C0CDA2B0A95}"/>
                  </a:ext>
                </a:extLst>
              </p:cNvPr>
              <p:cNvGrpSpPr/>
              <p:nvPr/>
            </p:nvGrpSpPr>
            <p:grpSpPr>
              <a:xfrm>
                <a:off x="6830051" y="2568246"/>
                <a:ext cx="661482" cy="560934"/>
                <a:chOff x="6673854" y="2507796"/>
                <a:chExt cx="3493293" cy="3112295"/>
              </a:xfrm>
              <a:grpFill/>
            </p:grpSpPr>
            <p:sp>
              <p:nvSpPr>
                <p:cNvPr id="1418" name="Freeform 650">
                  <a:extLst>
                    <a:ext uri="{FF2B5EF4-FFF2-40B4-BE49-F238E27FC236}">
                      <a16:creationId xmlns:a16="http://schemas.microsoft.com/office/drawing/2014/main" id="{4CD2F5AD-8C44-4AD9-9022-20C25292D87C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19" name="Freeform 651">
                  <a:extLst>
                    <a:ext uri="{FF2B5EF4-FFF2-40B4-BE49-F238E27FC236}">
                      <a16:creationId xmlns:a16="http://schemas.microsoft.com/office/drawing/2014/main" id="{D73DF3E7-0338-42C7-856A-AA79AED344DC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20" name="Freeform 652">
                  <a:extLst>
                    <a:ext uri="{FF2B5EF4-FFF2-40B4-BE49-F238E27FC236}">
                      <a16:creationId xmlns:a16="http://schemas.microsoft.com/office/drawing/2014/main" id="{6A6F0839-8D89-4808-8BB0-C292C7F7F662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10" name="Group 1409">
                <a:extLst>
                  <a:ext uri="{FF2B5EF4-FFF2-40B4-BE49-F238E27FC236}">
                    <a16:creationId xmlns:a16="http://schemas.microsoft.com/office/drawing/2014/main" id="{A65E9CB6-5786-40AA-B593-4D22A3275DE4}"/>
                  </a:ext>
                </a:extLst>
              </p:cNvPr>
              <p:cNvGrpSpPr/>
              <p:nvPr/>
            </p:nvGrpSpPr>
            <p:grpSpPr>
              <a:xfrm>
                <a:off x="7165809" y="2682492"/>
                <a:ext cx="661482" cy="560933"/>
                <a:chOff x="6673854" y="2507796"/>
                <a:chExt cx="3493293" cy="3112295"/>
              </a:xfrm>
              <a:grpFill/>
            </p:grpSpPr>
            <p:sp>
              <p:nvSpPr>
                <p:cNvPr id="1415" name="Freeform 654">
                  <a:extLst>
                    <a:ext uri="{FF2B5EF4-FFF2-40B4-BE49-F238E27FC236}">
                      <a16:creationId xmlns:a16="http://schemas.microsoft.com/office/drawing/2014/main" id="{B4F6A293-5C1B-4834-AE04-A732FC8A4EF8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16" name="Freeform 655">
                  <a:extLst>
                    <a:ext uri="{FF2B5EF4-FFF2-40B4-BE49-F238E27FC236}">
                      <a16:creationId xmlns:a16="http://schemas.microsoft.com/office/drawing/2014/main" id="{753FDD8E-E8B9-45C6-B52B-5B6EE4B52E98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17" name="Freeform 656">
                  <a:extLst>
                    <a:ext uri="{FF2B5EF4-FFF2-40B4-BE49-F238E27FC236}">
                      <a16:creationId xmlns:a16="http://schemas.microsoft.com/office/drawing/2014/main" id="{87EB547A-B45D-497F-8AAE-24599820CCD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11" name="Group 1410">
                <a:extLst>
                  <a:ext uri="{FF2B5EF4-FFF2-40B4-BE49-F238E27FC236}">
                    <a16:creationId xmlns:a16="http://schemas.microsoft.com/office/drawing/2014/main" id="{4D866AC6-A7D2-4A41-AA02-85CD8FE08A74}"/>
                  </a:ext>
                </a:extLst>
              </p:cNvPr>
              <p:cNvGrpSpPr/>
              <p:nvPr/>
            </p:nvGrpSpPr>
            <p:grpSpPr>
              <a:xfrm>
                <a:off x="7503814" y="2801743"/>
                <a:ext cx="661483" cy="560933"/>
                <a:chOff x="6673854" y="2507796"/>
                <a:chExt cx="3493293" cy="3112295"/>
              </a:xfrm>
              <a:grpFill/>
            </p:grpSpPr>
            <p:sp>
              <p:nvSpPr>
                <p:cNvPr id="1412" name="Freeform 658">
                  <a:extLst>
                    <a:ext uri="{FF2B5EF4-FFF2-40B4-BE49-F238E27FC236}">
                      <a16:creationId xmlns:a16="http://schemas.microsoft.com/office/drawing/2014/main" id="{AA76283B-B713-4952-9FD2-BFAB593014A4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13" name="Freeform 659">
                  <a:extLst>
                    <a:ext uri="{FF2B5EF4-FFF2-40B4-BE49-F238E27FC236}">
                      <a16:creationId xmlns:a16="http://schemas.microsoft.com/office/drawing/2014/main" id="{BC48005D-7E8C-48F5-B732-9D48E7B9C5E8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14" name="Freeform 660">
                  <a:extLst>
                    <a:ext uri="{FF2B5EF4-FFF2-40B4-BE49-F238E27FC236}">
                      <a16:creationId xmlns:a16="http://schemas.microsoft.com/office/drawing/2014/main" id="{A861BDFC-9C23-4FDE-A7E0-D60D689A7F29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282" name="Group 1281">
              <a:extLst>
                <a:ext uri="{FF2B5EF4-FFF2-40B4-BE49-F238E27FC236}">
                  <a16:creationId xmlns:a16="http://schemas.microsoft.com/office/drawing/2014/main" id="{818C2BDC-7F21-42A6-B960-0E10901A812C}"/>
                </a:ext>
              </a:extLst>
            </p:cNvPr>
            <p:cNvGrpSpPr/>
            <p:nvPr/>
          </p:nvGrpSpPr>
          <p:grpSpPr>
            <a:xfrm>
              <a:off x="10088104" y="2755683"/>
              <a:ext cx="873490" cy="1162881"/>
              <a:chOff x="7923767" y="2537905"/>
              <a:chExt cx="873490" cy="1162881"/>
            </a:xfrm>
          </p:grpSpPr>
          <p:grpSp>
            <p:nvGrpSpPr>
              <p:cNvPr id="1287" name="Group 1286">
                <a:extLst>
                  <a:ext uri="{FF2B5EF4-FFF2-40B4-BE49-F238E27FC236}">
                    <a16:creationId xmlns:a16="http://schemas.microsoft.com/office/drawing/2014/main" id="{D6C78CBE-D629-493C-8A09-17AB64DF3067}"/>
                  </a:ext>
                </a:extLst>
              </p:cNvPr>
              <p:cNvGrpSpPr/>
              <p:nvPr/>
            </p:nvGrpSpPr>
            <p:grpSpPr>
              <a:xfrm>
                <a:off x="7926569" y="3193270"/>
                <a:ext cx="288445" cy="278660"/>
                <a:chOff x="6673854" y="2507796"/>
                <a:chExt cx="3493293" cy="3112296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84" name="Freeform 479">
                  <a:extLst>
                    <a:ext uri="{FF2B5EF4-FFF2-40B4-BE49-F238E27FC236}">
                      <a16:creationId xmlns:a16="http://schemas.microsoft.com/office/drawing/2014/main" id="{17851E4C-8620-47B8-9B39-C090DD92CFC1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85" name="Freeform 480">
                  <a:extLst>
                    <a:ext uri="{FF2B5EF4-FFF2-40B4-BE49-F238E27FC236}">
                      <a16:creationId xmlns:a16="http://schemas.microsoft.com/office/drawing/2014/main" id="{27D2D6A1-F460-4BFC-92F1-FCAB600354B8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86" name="Freeform 481">
                  <a:extLst>
                    <a:ext uri="{FF2B5EF4-FFF2-40B4-BE49-F238E27FC236}">
                      <a16:creationId xmlns:a16="http://schemas.microsoft.com/office/drawing/2014/main" id="{BF1F43E5-96D1-4D78-88EF-90391D95FD88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88" name="Group 1287">
                <a:extLst>
                  <a:ext uri="{FF2B5EF4-FFF2-40B4-BE49-F238E27FC236}">
                    <a16:creationId xmlns:a16="http://schemas.microsoft.com/office/drawing/2014/main" id="{E70F5236-76FE-4458-8B86-A939220E414A}"/>
                  </a:ext>
                </a:extLst>
              </p:cNvPr>
              <p:cNvGrpSpPr/>
              <p:nvPr/>
            </p:nvGrpSpPr>
            <p:grpSpPr>
              <a:xfrm>
                <a:off x="8070792" y="3249699"/>
                <a:ext cx="288445" cy="278660"/>
                <a:chOff x="6673854" y="2507796"/>
                <a:chExt cx="3493293" cy="3112296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81" name="Freeform 483">
                  <a:extLst>
                    <a:ext uri="{FF2B5EF4-FFF2-40B4-BE49-F238E27FC236}">
                      <a16:creationId xmlns:a16="http://schemas.microsoft.com/office/drawing/2014/main" id="{9C74CFC6-2DF3-4237-A63A-E9F9E8435215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82" name="Freeform 484">
                  <a:extLst>
                    <a:ext uri="{FF2B5EF4-FFF2-40B4-BE49-F238E27FC236}">
                      <a16:creationId xmlns:a16="http://schemas.microsoft.com/office/drawing/2014/main" id="{C1891813-5E28-495B-9D75-36CCF8DBF141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83" name="Freeform 485">
                  <a:extLst>
                    <a:ext uri="{FF2B5EF4-FFF2-40B4-BE49-F238E27FC236}">
                      <a16:creationId xmlns:a16="http://schemas.microsoft.com/office/drawing/2014/main" id="{0747E947-D9E4-4BED-A634-8B1F465685C5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89" name="Group 1288">
                <a:extLst>
                  <a:ext uri="{FF2B5EF4-FFF2-40B4-BE49-F238E27FC236}">
                    <a16:creationId xmlns:a16="http://schemas.microsoft.com/office/drawing/2014/main" id="{DD4A19EF-9238-4171-8847-9C094CAC232A}"/>
                  </a:ext>
                </a:extLst>
              </p:cNvPr>
              <p:cNvGrpSpPr/>
              <p:nvPr/>
            </p:nvGrpSpPr>
            <p:grpSpPr>
              <a:xfrm>
                <a:off x="8215014" y="3306128"/>
                <a:ext cx="288445" cy="278660"/>
                <a:chOff x="6673854" y="2507796"/>
                <a:chExt cx="3493293" cy="3112296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78" name="Freeform 487">
                  <a:extLst>
                    <a:ext uri="{FF2B5EF4-FFF2-40B4-BE49-F238E27FC236}">
                      <a16:creationId xmlns:a16="http://schemas.microsoft.com/office/drawing/2014/main" id="{3C314208-935A-4A71-A732-4E0023C4BE2A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9" name="Freeform 488">
                  <a:extLst>
                    <a:ext uri="{FF2B5EF4-FFF2-40B4-BE49-F238E27FC236}">
                      <a16:creationId xmlns:a16="http://schemas.microsoft.com/office/drawing/2014/main" id="{CBE064E5-154A-4699-A121-E65ED8E849D8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80" name="Freeform 489">
                  <a:extLst>
                    <a:ext uri="{FF2B5EF4-FFF2-40B4-BE49-F238E27FC236}">
                      <a16:creationId xmlns:a16="http://schemas.microsoft.com/office/drawing/2014/main" id="{A215C189-4C45-4152-8281-18438F51FC76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0" name="Group 1289">
                <a:extLst>
                  <a:ext uri="{FF2B5EF4-FFF2-40B4-BE49-F238E27FC236}">
                    <a16:creationId xmlns:a16="http://schemas.microsoft.com/office/drawing/2014/main" id="{4F766A54-53F4-4223-B31E-BFC7DE1FE729}"/>
                  </a:ext>
                </a:extLst>
              </p:cNvPr>
              <p:cNvGrpSpPr/>
              <p:nvPr/>
            </p:nvGrpSpPr>
            <p:grpSpPr>
              <a:xfrm>
                <a:off x="7926569" y="3028462"/>
                <a:ext cx="288445" cy="278660"/>
                <a:chOff x="6673854" y="2507796"/>
                <a:chExt cx="3493293" cy="3112296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75" name="Freeform 491">
                  <a:extLst>
                    <a:ext uri="{FF2B5EF4-FFF2-40B4-BE49-F238E27FC236}">
                      <a16:creationId xmlns:a16="http://schemas.microsoft.com/office/drawing/2014/main" id="{1FE9C9F8-282A-4DD4-85A5-8A7BC8CC2442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6" name="Freeform 492">
                  <a:extLst>
                    <a:ext uri="{FF2B5EF4-FFF2-40B4-BE49-F238E27FC236}">
                      <a16:creationId xmlns:a16="http://schemas.microsoft.com/office/drawing/2014/main" id="{056DCA2F-B9A8-4FE1-9809-BF7FB358592E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7" name="Freeform 493">
                  <a:extLst>
                    <a:ext uri="{FF2B5EF4-FFF2-40B4-BE49-F238E27FC236}">
                      <a16:creationId xmlns:a16="http://schemas.microsoft.com/office/drawing/2014/main" id="{EA2F00D2-0D91-4066-A066-CC628244B631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1" name="Group 1290">
                <a:extLst>
                  <a:ext uri="{FF2B5EF4-FFF2-40B4-BE49-F238E27FC236}">
                    <a16:creationId xmlns:a16="http://schemas.microsoft.com/office/drawing/2014/main" id="{A89E538E-A9ED-4474-872A-0564E98BB0CD}"/>
                  </a:ext>
                </a:extLst>
              </p:cNvPr>
              <p:cNvGrpSpPr/>
              <p:nvPr/>
            </p:nvGrpSpPr>
            <p:grpSpPr>
              <a:xfrm>
                <a:off x="8070792" y="3084891"/>
                <a:ext cx="288445" cy="278660"/>
                <a:chOff x="6673854" y="2507796"/>
                <a:chExt cx="3493293" cy="3112296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72" name="Freeform 495">
                  <a:extLst>
                    <a:ext uri="{FF2B5EF4-FFF2-40B4-BE49-F238E27FC236}">
                      <a16:creationId xmlns:a16="http://schemas.microsoft.com/office/drawing/2014/main" id="{F8ED0A1D-1250-4486-9976-D17239636857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3" name="Freeform 496">
                  <a:extLst>
                    <a:ext uri="{FF2B5EF4-FFF2-40B4-BE49-F238E27FC236}">
                      <a16:creationId xmlns:a16="http://schemas.microsoft.com/office/drawing/2014/main" id="{E0908D1F-BD0A-4FEB-976D-49100E71BAF5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4" name="Freeform 497">
                  <a:extLst>
                    <a:ext uri="{FF2B5EF4-FFF2-40B4-BE49-F238E27FC236}">
                      <a16:creationId xmlns:a16="http://schemas.microsoft.com/office/drawing/2014/main" id="{5E2E40B2-D614-482D-8778-F9A65C711ACE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2" name="Group 1291">
                <a:extLst>
                  <a:ext uri="{FF2B5EF4-FFF2-40B4-BE49-F238E27FC236}">
                    <a16:creationId xmlns:a16="http://schemas.microsoft.com/office/drawing/2014/main" id="{BB0FDDCA-BF56-4704-B69C-614AA574879D}"/>
                  </a:ext>
                </a:extLst>
              </p:cNvPr>
              <p:cNvGrpSpPr/>
              <p:nvPr/>
            </p:nvGrpSpPr>
            <p:grpSpPr>
              <a:xfrm>
                <a:off x="8215014" y="3141320"/>
                <a:ext cx="288445" cy="278660"/>
                <a:chOff x="6673854" y="2507796"/>
                <a:chExt cx="3493293" cy="3112296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69" name="Freeform 499">
                  <a:extLst>
                    <a:ext uri="{FF2B5EF4-FFF2-40B4-BE49-F238E27FC236}">
                      <a16:creationId xmlns:a16="http://schemas.microsoft.com/office/drawing/2014/main" id="{0D1F06C6-C1BF-473B-80A3-770C7FCD000A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0" name="Freeform 500">
                  <a:extLst>
                    <a:ext uri="{FF2B5EF4-FFF2-40B4-BE49-F238E27FC236}">
                      <a16:creationId xmlns:a16="http://schemas.microsoft.com/office/drawing/2014/main" id="{5CBB25F2-B1B7-4FBA-882B-93D5D44A4048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71" name="Freeform 501">
                  <a:extLst>
                    <a:ext uri="{FF2B5EF4-FFF2-40B4-BE49-F238E27FC236}">
                      <a16:creationId xmlns:a16="http://schemas.microsoft.com/office/drawing/2014/main" id="{1636B763-E4ED-4A03-A3B6-AFB138D7FDE7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3" name="Group 1292">
                <a:extLst>
                  <a:ext uri="{FF2B5EF4-FFF2-40B4-BE49-F238E27FC236}">
                    <a16:creationId xmlns:a16="http://schemas.microsoft.com/office/drawing/2014/main" id="{12A6FCAD-49A3-4AE9-AB55-F1025430810F}"/>
                  </a:ext>
                </a:extLst>
              </p:cNvPr>
              <p:cNvGrpSpPr/>
              <p:nvPr/>
            </p:nvGrpSpPr>
            <p:grpSpPr>
              <a:xfrm>
                <a:off x="7926569" y="2863654"/>
                <a:ext cx="288445" cy="278660"/>
                <a:chOff x="6673852" y="2507796"/>
                <a:chExt cx="3493295" cy="3112291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66" name="Freeform 503">
                  <a:extLst>
                    <a:ext uri="{FF2B5EF4-FFF2-40B4-BE49-F238E27FC236}">
                      <a16:creationId xmlns:a16="http://schemas.microsoft.com/office/drawing/2014/main" id="{081B9D66-D9ED-4C67-9D2A-D26872E75F57}"/>
                    </a:ext>
                  </a:extLst>
                </p:cNvPr>
                <p:cNvSpPr/>
                <p:nvPr/>
              </p:nvSpPr>
              <p:spPr>
                <a:xfrm>
                  <a:off x="6673852" y="3138031"/>
                  <a:ext cx="1764508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67" name="Freeform 504">
                  <a:extLst>
                    <a:ext uri="{FF2B5EF4-FFF2-40B4-BE49-F238E27FC236}">
                      <a16:creationId xmlns:a16="http://schemas.microsoft.com/office/drawing/2014/main" id="{3C5094CD-5F03-4644-AA23-D0E3FE5D3F1A}"/>
                    </a:ext>
                  </a:extLst>
                </p:cNvPr>
                <p:cNvSpPr/>
                <p:nvPr/>
              </p:nvSpPr>
              <p:spPr>
                <a:xfrm>
                  <a:off x="8427248" y="3149146"/>
                  <a:ext cx="1739899" cy="2470149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68" name="Freeform 505">
                  <a:extLst>
                    <a:ext uri="{FF2B5EF4-FFF2-40B4-BE49-F238E27FC236}">
                      <a16:creationId xmlns:a16="http://schemas.microsoft.com/office/drawing/2014/main" id="{E684BBC7-B04D-4E69-8406-6111487973B1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3" cy="1270002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4" name="Group 1293">
                <a:extLst>
                  <a:ext uri="{FF2B5EF4-FFF2-40B4-BE49-F238E27FC236}">
                    <a16:creationId xmlns:a16="http://schemas.microsoft.com/office/drawing/2014/main" id="{76B14799-E2EC-494F-AA45-0520C7165025}"/>
                  </a:ext>
                </a:extLst>
              </p:cNvPr>
              <p:cNvGrpSpPr/>
              <p:nvPr/>
            </p:nvGrpSpPr>
            <p:grpSpPr>
              <a:xfrm>
                <a:off x="8070792" y="2920083"/>
                <a:ext cx="288445" cy="278660"/>
                <a:chOff x="6673854" y="2507796"/>
                <a:chExt cx="3493293" cy="3112296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63" name="Freeform 507">
                  <a:extLst>
                    <a:ext uri="{FF2B5EF4-FFF2-40B4-BE49-F238E27FC236}">
                      <a16:creationId xmlns:a16="http://schemas.microsoft.com/office/drawing/2014/main" id="{EA34134D-3344-43CA-8144-63FD783AF525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64" name="Freeform 508">
                  <a:extLst>
                    <a:ext uri="{FF2B5EF4-FFF2-40B4-BE49-F238E27FC236}">
                      <a16:creationId xmlns:a16="http://schemas.microsoft.com/office/drawing/2014/main" id="{A9D0E514-E7F8-4B60-AB11-50EB8B515208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65" name="Freeform 509">
                  <a:extLst>
                    <a:ext uri="{FF2B5EF4-FFF2-40B4-BE49-F238E27FC236}">
                      <a16:creationId xmlns:a16="http://schemas.microsoft.com/office/drawing/2014/main" id="{5531388D-2172-4971-98CD-E11D580EEE19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5" name="Group 1294">
                <a:extLst>
                  <a:ext uri="{FF2B5EF4-FFF2-40B4-BE49-F238E27FC236}">
                    <a16:creationId xmlns:a16="http://schemas.microsoft.com/office/drawing/2014/main" id="{2ABA87D0-3CBB-49D0-8F18-52D6FEC556BB}"/>
                  </a:ext>
                </a:extLst>
              </p:cNvPr>
              <p:cNvGrpSpPr/>
              <p:nvPr/>
            </p:nvGrpSpPr>
            <p:grpSpPr>
              <a:xfrm>
                <a:off x="8215014" y="2976511"/>
                <a:ext cx="288445" cy="278660"/>
                <a:chOff x="6673854" y="2507796"/>
                <a:chExt cx="3493293" cy="3112296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60" name="Freeform 511">
                  <a:extLst>
                    <a:ext uri="{FF2B5EF4-FFF2-40B4-BE49-F238E27FC236}">
                      <a16:creationId xmlns:a16="http://schemas.microsoft.com/office/drawing/2014/main" id="{600C6249-040E-4305-95CB-9D845A66C981}"/>
                    </a:ext>
                  </a:extLst>
                </p:cNvPr>
                <p:cNvSpPr/>
                <p:nvPr/>
              </p:nvSpPr>
              <p:spPr>
                <a:xfrm>
                  <a:off x="6673854" y="3138032"/>
                  <a:ext cx="1764503" cy="2482060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61" name="Freeform 512">
                  <a:extLst>
                    <a:ext uri="{FF2B5EF4-FFF2-40B4-BE49-F238E27FC236}">
                      <a16:creationId xmlns:a16="http://schemas.microsoft.com/office/drawing/2014/main" id="{462C99F0-9D28-435D-BAAA-AE31F47E3322}"/>
                    </a:ext>
                  </a:extLst>
                </p:cNvPr>
                <p:cNvSpPr/>
                <p:nvPr/>
              </p:nvSpPr>
              <p:spPr>
                <a:xfrm>
                  <a:off x="8427249" y="3149147"/>
                  <a:ext cx="1739898" cy="2470148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62" name="Freeform 513">
                  <a:extLst>
                    <a:ext uri="{FF2B5EF4-FFF2-40B4-BE49-F238E27FC236}">
                      <a16:creationId xmlns:a16="http://schemas.microsoft.com/office/drawing/2014/main" id="{5C0DB03D-DE1D-4C99-8C4E-1A6EC703CC06}"/>
                    </a:ext>
                  </a:extLst>
                </p:cNvPr>
                <p:cNvSpPr/>
                <p:nvPr/>
              </p:nvSpPr>
              <p:spPr>
                <a:xfrm>
                  <a:off x="6674646" y="2507796"/>
                  <a:ext cx="3492501" cy="1269999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6" name="Group 1295">
                <a:extLst>
                  <a:ext uri="{FF2B5EF4-FFF2-40B4-BE49-F238E27FC236}">
                    <a16:creationId xmlns:a16="http://schemas.microsoft.com/office/drawing/2014/main" id="{F5A2A9E3-CCB0-4B9E-82DC-9762F473AC2E}"/>
                  </a:ext>
                </a:extLst>
              </p:cNvPr>
              <p:cNvGrpSpPr/>
              <p:nvPr/>
            </p:nvGrpSpPr>
            <p:grpSpPr>
              <a:xfrm>
                <a:off x="7926142" y="2699769"/>
                <a:ext cx="288445" cy="278661"/>
                <a:chOff x="6673852" y="2507796"/>
                <a:chExt cx="3493295" cy="3112292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57" name="Freeform 515">
                  <a:extLst>
                    <a:ext uri="{FF2B5EF4-FFF2-40B4-BE49-F238E27FC236}">
                      <a16:creationId xmlns:a16="http://schemas.microsoft.com/office/drawing/2014/main" id="{2688FA05-5E51-426A-BAF7-A9F6B6AE76AF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58" name="Freeform 516">
                  <a:extLst>
                    <a:ext uri="{FF2B5EF4-FFF2-40B4-BE49-F238E27FC236}">
                      <a16:creationId xmlns:a16="http://schemas.microsoft.com/office/drawing/2014/main" id="{F26009D2-1F71-4709-89A0-82CEFAA8B5CB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59" name="Freeform 517">
                  <a:extLst>
                    <a:ext uri="{FF2B5EF4-FFF2-40B4-BE49-F238E27FC236}">
                      <a16:creationId xmlns:a16="http://schemas.microsoft.com/office/drawing/2014/main" id="{6E8A5428-F824-4BDE-BD98-2FDD223BBAA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7" name="Group 1296">
                <a:extLst>
                  <a:ext uri="{FF2B5EF4-FFF2-40B4-BE49-F238E27FC236}">
                    <a16:creationId xmlns:a16="http://schemas.microsoft.com/office/drawing/2014/main" id="{380230AE-F833-42E7-AE18-3E5DC49B718A}"/>
                  </a:ext>
                </a:extLst>
              </p:cNvPr>
              <p:cNvGrpSpPr/>
              <p:nvPr/>
            </p:nvGrpSpPr>
            <p:grpSpPr>
              <a:xfrm>
                <a:off x="8070364" y="2756197"/>
                <a:ext cx="288445" cy="278661"/>
                <a:chOff x="6673854" y="2507796"/>
                <a:chExt cx="3493293" cy="3112295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54" name="Freeform 519">
                  <a:extLst>
                    <a:ext uri="{FF2B5EF4-FFF2-40B4-BE49-F238E27FC236}">
                      <a16:creationId xmlns:a16="http://schemas.microsoft.com/office/drawing/2014/main" id="{55A1135B-31CE-47AB-A63A-7065C0727BA4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55" name="Freeform 520">
                  <a:extLst>
                    <a:ext uri="{FF2B5EF4-FFF2-40B4-BE49-F238E27FC236}">
                      <a16:creationId xmlns:a16="http://schemas.microsoft.com/office/drawing/2014/main" id="{E7BE0C89-E1D5-4ADE-8482-1C519E5FC8BE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56" name="Freeform 521">
                  <a:extLst>
                    <a:ext uri="{FF2B5EF4-FFF2-40B4-BE49-F238E27FC236}">
                      <a16:creationId xmlns:a16="http://schemas.microsoft.com/office/drawing/2014/main" id="{09B0B2B4-3627-4D33-BE8B-F353C46C22F4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8" name="Group 1297">
                <a:extLst>
                  <a:ext uri="{FF2B5EF4-FFF2-40B4-BE49-F238E27FC236}">
                    <a16:creationId xmlns:a16="http://schemas.microsoft.com/office/drawing/2014/main" id="{0A7B4E9D-CBEE-4BAC-87F3-78388B9D5209}"/>
                  </a:ext>
                </a:extLst>
              </p:cNvPr>
              <p:cNvGrpSpPr/>
              <p:nvPr/>
            </p:nvGrpSpPr>
            <p:grpSpPr>
              <a:xfrm>
                <a:off x="8214586" y="2812628"/>
                <a:ext cx="288445" cy="278661"/>
                <a:chOff x="6673854" y="2507796"/>
                <a:chExt cx="3493293" cy="3112295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51" name="Freeform 523">
                  <a:extLst>
                    <a:ext uri="{FF2B5EF4-FFF2-40B4-BE49-F238E27FC236}">
                      <a16:creationId xmlns:a16="http://schemas.microsoft.com/office/drawing/2014/main" id="{FEA46AF8-E739-4C68-9B12-453F21ADE9BB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52" name="Freeform 524">
                  <a:extLst>
                    <a:ext uri="{FF2B5EF4-FFF2-40B4-BE49-F238E27FC236}">
                      <a16:creationId xmlns:a16="http://schemas.microsoft.com/office/drawing/2014/main" id="{1F3153FF-3A25-4576-A7D6-836B8FB04D9C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53" name="Freeform 525">
                  <a:extLst>
                    <a:ext uri="{FF2B5EF4-FFF2-40B4-BE49-F238E27FC236}">
                      <a16:creationId xmlns:a16="http://schemas.microsoft.com/office/drawing/2014/main" id="{0FF98459-754A-47FF-8D4F-4C2117C7F012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99" name="Group 1298">
                <a:extLst>
                  <a:ext uri="{FF2B5EF4-FFF2-40B4-BE49-F238E27FC236}">
                    <a16:creationId xmlns:a16="http://schemas.microsoft.com/office/drawing/2014/main" id="{AC160162-025D-4ABC-98A3-590BC8C20AAC}"/>
                  </a:ext>
                </a:extLst>
              </p:cNvPr>
              <p:cNvGrpSpPr/>
              <p:nvPr/>
            </p:nvGrpSpPr>
            <p:grpSpPr>
              <a:xfrm>
                <a:off x="8361422" y="3362884"/>
                <a:ext cx="288445" cy="278660"/>
                <a:chOff x="6673854" y="2507796"/>
                <a:chExt cx="3493293" cy="3112295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48" name="Freeform 527">
                  <a:extLst>
                    <a:ext uri="{FF2B5EF4-FFF2-40B4-BE49-F238E27FC236}">
                      <a16:creationId xmlns:a16="http://schemas.microsoft.com/office/drawing/2014/main" id="{61A132F7-99AC-4D7C-B02F-463A265A3B4A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9" name="Freeform 528">
                  <a:extLst>
                    <a:ext uri="{FF2B5EF4-FFF2-40B4-BE49-F238E27FC236}">
                      <a16:creationId xmlns:a16="http://schemas.microsoft.com/office/drawing/2014/main" id="{312B4F2A-CDC6-4548-A226-7E4475A1EB1A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50" name="Freeform 529">
                  <a:extLst>
                    <a:ext uri="{FF2B5EF4-FFF2-40B4-BE49-F238E27FC236}">
                      <a16:creationId xmlns:a16="http://schemas.microsoft.com/office/drawing/2014/main" id="{2BFCF786-785C-40EC-9E27-E242FD710EC5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0" name="Group 1299">
                <a:extLst>
                  <a:ext uri="{FF2B5EF4-FFF2-40B4-BE49-F238E27FC236}">
                    <a16:creationId xmlns:a16="http://schemas.microsoft.com/office/drawing/2014/main" id="{2D7A3084-9B97-44BD-B685-0916BC207FDF}"/>
                  </a:ext>
                </a:extLst>
              </p:cNvPr>
              <p:cNvGrpSpPr/>
              <p:nvPr/>
            </p:nvGrpSpPr>
            <p:grpSpPr>
              <a:xfrm>
                <a:off x="8361422" y="3198076"/>
                <a:ext cx="288445" cy="278660"/>
                <a:chOff x="6673854" y="2507796"/>
                <a:chExt cx="3493293" cy="3112295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45" name="Freeform 531">
                  <a:extLst>
                    <a:ext uri="{FF2B5EF4-FFF2-40B4-BE49-F238E27FC236}">
                      <a16:creationId xmlns:a16="http://schemas.microsoft.com/office/drawing/2014/main" id="{17245E36-9FBE-4809-B5D8-26D0A52F218A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6" name="Freeform 532">
                  <a:extLst>
                    <a:ext uri="{FF2B5EF4-FFF2-40B4-BE49-F238E27FC236}">
                      <a16:creationId xmlns:a16="http://schemas.microsoft.com/office/drawing/2014/main" id="{485B51B0-77AA-40C7-8E18-0E1554A67E0B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7" name="Freeform 533">
                  <a:extLst>
                    <a:ext uri="{FF2B5EF4-FFF2-40B4-BE49-F238E27FC236}">
                      <a16:creationId xmlns:a16="http://schemas.microsoft.com/office/drawing/2014/main" id="{F0C7D5F6-41A8-4406-A786-F326CD89C39B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1" name="Group 1300">
                <a:extLst>
                  <a:ext uri="{FF2B5EF4-FFF2-40B4-BE49-F238E27FC236}">
                    <a16:creationId xmlns:a16="http://schemas.microsoft.com/office/drawing/2014/main" id="{C3AE260D-DCFB-48D6-8EAA-C2F0B677D6AC}"/>
                  </a:ext>
                </a:extLst>
              </p:cNvPr>
              <p:cNvGrpSpPr/>
              <p:nvPr/>
            </p:nvGrpSpPr>
            <p:grpSpPr>
              <a:xfrm>
                <a:off x="8361422" y="3033267"/>
                <a:ext cx="288445" cy="278660"/>
                <a:chOff x="6673854" y="2507796"/>
                <a:chExt cx="3493293" cy="3112295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42" name="Freeform 535">
                  <a:extLst>
                    <a:ext uri="{FF2B5EF4-FFF2-40B4-BE49-F238E27FC236}">
                      <a16:creationId xmlns:a16="http://schemas.microsoft.com/office/drawing/2014/main" id="{11755B5C-FEA5-4591-A7F6-B6B981B70D28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3" name="Freeform 536">
                  <a:extLst>
                    <a:ext uri="{FF2B5EF4-FFF2-40B4-BE49-F238E27FC236}">
                      <a16:creationId xmlns:a16="http://schemas.microsoft.com/office/drawing/2014/main" id="{F9329761-BB70-42D5-A72D-5C380F29C9DC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4" name="Freeform 537">
                  <a:extLst>
                    <a:ext uri="{FF2B5EF4-FFF2-40B4-BE49-F238E27FC236}">
                      <a16:creationId xmlns:a16="http://schemas.microsoft.com/office/drawing/2014/main" id="{91B224AC-7919-4673-8D49-E20BD401D7EC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2" name="Group 1301">
                <a:extLst>
                  <a:ext uri="{FF2B5EF4-FFF2-40B4-BE49-F238E27FC236}">
                    <a16:creationId xmlns:a16="http://schemas.microsoft.com/office/drawing/2014/main" id="{728913DA-3C9A-4F8A-969D-15EC55D3557F}"/>
                  </a:ext>
                </a:extLst>
              </p:cNvPr>
              <p:cNvGrpSpPr/>
              <p:nvPr/>
            </p:nvGrpSpPr>
            <p:grpSpPr>
              <a:xfrm>
                <a:off x="8360996" y="2869383"/>
                <a:ext cx="288445" cy="278660"/>
                <a:chOff x="6673854" y="2507796"/>
                <a:chExt cx="3493293" cy="3112295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39" name="Freeform 539">
                  <a:extLst>
                    <a:ext uri="{FF2B5EF4-FFF2-40B4-BE49-F238E27FC236}">
                      <a16:creationId xmlns:a16="http://schemas.microsoft.com/office/drawing/2014/main" id="{EA78687E-B7FE-4FDD-BCF6-16148FA1981F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0" name="Freeform 540">
                  <a:extLst>
                    <a:ext uri="{FF2B5EF4-FFF2-40B4-BE49-F238E27FC236}">
                      <a16:creationId xmlns:a16="http://schemas.microsoft.com/office/drawing/2014/main" id="{2F378DBF-6331-4B27-A429-AF708F8C06B3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1" name="Freeform 541">
                  <a:extLst>
                    <a:ext uri="{FF2B5EF4-FFF2-40B4-BE49-F238E27FC236}">
                      <a16:creationId xmlns:a16="http://schemas.microsoft.com/office/drawing/2014/main" id="{F386EBCC-1A3C-4705-8EC4-E8D9C35B6011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3" name="Group 1302">
                <a:extLst>
                  <a:ext uri="{FF2B5EF4-FFF2-40B4-BE49-F238E27FC236}">
                    <a16:creationId xmlns:a16="http://schemas.microsoft.com/office/drawing/2014/main" id="{E366B5AD-5364-43D4-842A-9392D62698EA}"/>
                  </a:ext>
                </a:extLst>
              </p:cNvPr>
              <p:cNvGrpSpPr/>
              <p:nvPr/>
            </p:nvGrpSpPr>
            <p:grpSpPr>
              <a:xfrm>
                <a:off x="8508812" y="3422126"/>
                <a:ext cx="288445" cy="278660"/>
                <a:chOff x="6673854" y="2507796"/>
                <a:chExt cx="3493293" cy="3112295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36" name="Freeform 543">
                  <a:extLst>
                    <a:ext uri="{FF2B5EF4-FFF2-40B4-BE49-F238E27FC236}">
                      <a16:creationId xmlns:a16="http://schemas.microsoft.com/office/drawing/2014/main" id="{2AC136DB-4C29-445B-953A-59C4B77B5A47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7" name="Freeform 544">
                  <a:extLst>
                    <a:ext uri="{FF2B5EF4-FFF2-40B4-BE49-F238E27FC236}">
                      <a16:creationId xmlns:a16="http://schemas.microsoft.com/office/drawing/2014/main" id="{ADE7E6A0-C32F-4062-AA29-08004B707818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8" name="Freeform 545">
                  <a:extLst>
                    <a:ext uri="{FF2B5EF4-FFF2-40B4-BE49-F238E27FC236}">
                      <a16:creationId xmlns:a16="http://schemas.microsoft.com/office/drawing/2014/main" id="{B623CB86-9B9B-41D5-A7EB-277547740B7C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4" name="Group 1303">
                <a:extLst>
                  <a:ext uri="{FF2B5EF4-FFF2-40B4-BE49-F238E27FC236}">
                    <a16:creationId xmlns:a16="http://schemas.microsoft.com/office/drawing/2014/main" id="{64398A23-9AAC-41FC-AB65-E39CE9D123FC}"/>
                  </a:ext>
                </a:extLst>
              </p:cNvPr>
              <p:cNvGrpSpPr/>
              <p:nvPr/>
            </p:nvGrpSpPr>
            <p:grpSpPr>
              <a:xfrm>
                <a:off x="8508812" y="3257317"/>
                <a:ext cx="288445" cy="278660"/>
                <a:chOff x="6673854" y="2507796"/>
                <a:chExt cx="3493293" cy="3112295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33" name="Freeform 547">
                  <a:extLst>
                    <a:ext uri="{FF2B5EF4-FFF2-40B4-BE49-F238E27FC236}">
                      <a16:creationId xmlns:a16="http://schemas.microsoft.com/office/drawing/2014/main" id="{05ABAA66-A685-4E9D-8B1B-F506A95E8CE8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4" name="Freeform 548">
                  <a:extLst>
                    <a:ext uri="{FF2B5EF4-FFF2-40B4-BE49-F238E27FC236}">
                      <a16:creationId xmlns:a16="http://schemas.microsoft.com/office/drawing/2014/main" id="{73C11DC2-5290-4AA7-B09C-4641E2FD9A2D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5" name="Freeform 549">
                  <a:extLst>
                    <a:ext uri="{FF2B5EF4-FFF2-40B4-BE49-F238E27FC236}">
                      <a16:creationId xmlns:a16="http://schemas.microsoft.com/office/drawing/2014/main" id="{294F620E-53D8-44AC-A961-C4289F0FADF0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5" name="Group 1304">
                <a:extLst>
                  <a:ext uri="{FF2B5EF4-FFF2-40B4-BE49-F238E27FC236}">
                    <a16:creationId xmlns:a16="http://schemas.microsoft.com/office/drawing/2014/main" id="{A0ACCBAB-B242-4B40-A2B1-5D2B9F271F3B}"/>
                  </a:ext>
                </a:extLst>
              </p:cNvPr>
              <p:cNvGrpSpPr/>
              <p:nvPr/>
            </p:nvGrpSpPr>
            <p:grpSpPr>
              <a:xfrm>
                <a:off x="8508812" y="3092508"/>
                <a:ext cx="288445" cy="278660"/>
                <a:chOff x="6673854" y="2507796"/>
                <a:chExt cx="3493293" cy="3112295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30" name="Freeform 551">
                  <a:extLst>
                    <a:ext uri="{FF2B5EF4-FFF2-40B4-BE49-F238E27FC236}">
                      <a16:creationId xmlns:a16="http://schemas.microsoft.com/office/drawing/2014/main" id="{C6587E34-08C3-4F88-B63A-166EAD241491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1" name="Freeform 552">
                  <a:extLst>
                    <a:ext uri="{FF2B5EF4-FFF2-40B4-BE49-F238E27FC236}">
                      <a16:creationId xmlns:a16="http://schemas.microsoft.com/office/drawing/2014/main" id="{25DCFDC9-E966-4C90-9132-AB9A94FE183A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2" name="Freeform 553">
                  <a:extLst>
                    <a:ext uri="{FF2B5EF4-FFF2-40B4-BE49-F238E27FC236}">
                      <a16:creationId xmlns:a16="http://schemas.microsoft.com/office/drawing/2014/main" id="{87B1F01E-EB6C-44C2-8D42-5D06A8DE902E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6" name="Group 1305">
                <a:extLst>
                  <a:ext uri="{FF2B5EF4-FFF2-40B4-BE49-F238E27FC236}">
                    <a16:creationId xmlns:a16="http://schemas.microsoft.com/office/drawing/2014/main" id="{AAF3BA54-3F7C-46DA-92A0-15DFC52BCCB8}"/>
                  </a:ext>
                </a:extLst>
              </p:cNvPr>
              <p:cNvGrpSpPr/>
              <p:nvPr/>
            </p:nvGrpSpPr>
            <p:grpSpPr>
              <a:xfrm>
                <a:off x="8508386" y="2928624"/>
                <a:ext cx="288445" cy="278660"/>
                <a:chOff x="6673854" y="2507796"/>
                <a:chExt cx="3493293" cy="3112295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27" name="Freeform 555">
                  <a:extLst>
                    <a:ext uri="{FF2B5EF4-FFF2-40B4-BE49-F238E27FC236}">
                      <a16:creationId xmlns:a16="http://schemas.microsoft.com/office/drawing/2014/main" id="{FC4B71D5-3E9C-4FBD-8657-FCBE9BDA58DF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28" name="Freeform 556">
                  <a:extLst>
                    <a:ext uri="{FF2B5EF4-FFF2-40B4-BE49-F238E27FC236}">
                      <a16:creationId xmlns:a16="http://schemas.microsoft.com/office/drawing/2014/main" id="{F1ABAD9E-42E2-4F84-A3C2-923850ED49AC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29" name="Freeform 557">
                  <a:extLst>
                    <a:ext uri="{FF2B5EF4-FFF2-40B4-BE49-F238E27FC236}">
                      <a16:creationId xmlns:a16="http://schemas.microsoft.com/office/drawing/2014/main" id="{47637CF6-7AF3-4BA4-9B31-F26DC758C6DE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7" name="Group 1306">
                <a:extLst>
                  <a:ext uri="{FF2B5EF4-FFF2-40B4-BE49-F238E27FC236}">
                    <a16:creationId xmlns:a16="http://schemas.microsoft.com/office/drawing/2014/main" id="{BB8490EA-CEA7-4C7D-BB64-4CFB928C8B04}"/>
                  </a:ext>
                </a:extLst>
              </p:cNvPr>
              <p:cNvGrpSpPr/>
              <p:nvPr/>
            </p:nvGrpSpPr>
            <p:grpSpPr>
              <a:xfrm>
                <a:off x="7923767" y="2537905"/>
                <a:ext cx="288445" cy="278661"/>
                <a:chOff x="6673852" y="2507796"/>
                <a:chExt cx="3493295" cy="3112292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24" name="Freeform 642">
                  <a:extLst>
                    <a:ext uri="{FF2B5EF4-FFF2-40B4-BE49-F238E27FC236}">
                      <a16:creationId xmlns:a16="http://schemas.microsoft.com/office/drawing/2014/main" id="{5ED64AAF-0DC4-4BF6-8345-DA17C6F2729E}"/>
                    </a:ext>
                  </a:extLst>
                </p:cNvPr>
                <p:cNvSpPr/>
                <p:nvPr/>
              </p:nvSpPr>
              <p:spPr>
                <a:xfrm>
                  <a:off x="6673852" y="3138029"/>
                  <a:ext cx="1764506" cy="2482059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25" name="Freeform 643">
                  <a:extLst>
                    <a:ext uri="{FF2B5EF4-FFF2-40B4-BE49-F238E27FC236}">
                      <a16:creationId xmlns:a16="http://schemas.microsoft.com/office/drawing/2014/main" id="{849033DF-05ED-4B5B-A715-CE63B1F73943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26" name="Freeform 644">
                  <a:extLst>
                    <a:ext uri="{FF2B5EF4-FFF2-40B4-BE49-F238E27FC236}">
                      <a16:creationId xmlns:a16="http://schemas.microsoft.com/office/drawing/2014/main" id="{56A76B32-1AE5-429F-8851-60F6B0EA23D4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8" name="Group 1307">
                <a:extLst>
                  <a:ext uri="{FF2B5EF4-FFF2-40B4-BE49-F238E27FC236}">
                    <a16:creationId xmlns:a16="http://schemas.microsoft.com/office/drawing/2014/main" id="{8E8219C9-AEF2-4CFE-98CB-CF4ECB5E377F}"/>
                  </a:ext>
                </a:extLst>
              </p:cNvPr>
              <p:cNvGrpSpPr/>
              <p:nvPr/>
            </p:nvGrpSpPr>
            <p:grpSpPr>
              <a:xfrm>
                <a:off x="8067989" y="2594334"/>
                <a:ext cx="288445" cy="278661"/>
                <a:chOff x="6673854" y="2507796"/>
                <a:chExt cx="3493293" cy="3112295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21" name="Freeform 646">
                  <a:extLst>
                    <a:ext uri="{FF2B5EF4-FFF2-40B4-BE49-F238E27FC236}">
                      <a16:creationId xmlns:a16="http://schemas.microsoft.com/office/drawing/2014/main" id="{2DCD38CB-0ADB-481F-B30E-CAB0A1675846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22" name="Freeform 647">
                  <a:extLst>
                    <a:ext uri="{FF2B5EF4-FFF2-40B4-BE49-F238E27FC236}">
                      <a16:creationId xmlns:a16="http://schemas.microsoft.com/office/drawing/2014/main" id="{45AEB634-A6CE-4D59-A872-EDDF547AD6E4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23" name="Freeform 648">
                  <a:extLst>
                    <a:ext uri="{FF2B5EF4-FFF2-40B4-BE49-F238E27FC236}">
                      <a16:creationId xmlns:a16="http://schemas.microsoft.com/office/drawing/2014/main" id="{4B5589FA-63F2-437F-8897-E1A0A94CCDF7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9" name="Group 1308">
                <a:extLst>
                  <a:ext uri="{FF2B5EF4-FFF2-40B4-BE49-F238E27FC236}">
                    <a16:creationId xmlns:a16="http://schemas.microsoft.com/office/drawing/2014/main" id="{0E46A8B8-BF83-422F-BDE7-35EE88DEA052}"/>
                  </a:ext>
                </a:extLst>
              </p:cNvPr>
              <p:cNvGrpSpPr/>
              <p:nvPr/>
            </p:nvGrpSpPr>
            <p:grpSpPr>
              <a:xfrm>
                <a:off x="8212211" y="2650763"/>
                <a:ext cx="288445" cy="278661"/>
                <a:chOff x="6673854" y="2507796"/>
                <a:chExt cx="3493293" cy="3112295"/>
              </a:xfrm>
              <a:solidFill>
                <a:srgbClr val="97D9A9">
                  <a:alpha val="89804"/>
                </a:srgbClr>
              </a:solidFill>
            </p:grpSpPr>
            <p:sp>
              <p:nvSpPr>
                <p:cNvPr id="1318" name="Freeform 650">
                  <a:extLst>
                    <a:ext uri="{FF2B5EF4-FFF2-40B4-BE49-F238E27FC236}">
                      <a16:creationId xmlns:a16="http://schemas.microsoft.com/office/drawing/2014/main" id="{D4D44B18-5549-4780-BE81-D0950A00D38F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19" name="Freeform 651">
                  <a:extLst>
                    <a:ext uri="{FF2B5EF4-FFF2-40B4-BE49-F238E27FC236}">
                      <a16:creationId xmlns:a16="http://schemas.microsoft.com/office/drawing/2014/main" id="{80C183DB-9570-4B71-BB86-0884D5D27992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20" name="Freeform 652">
                  <a:extLst>
                    <a:ext uri="{FF2B5EF4-FFF2-40B4-BE49-F238E27FC236}">
                      <a16:creationId xmlns:a16="http://schemas.microsoft.com/office/drawing/2014/main" id="{9599F981-C458-45B2-8CEC-2D730EB8664D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10" name="Group 1309">
                <a:extLst>
                  <a:ext uri="{FF2B5EF4-FFF2-40B4-BE49-F238E27FC236}">
                    <a16:creationId xmlns:a16="http://schemas.microsoft.com/office/drawing/2014/main" id="{2C39D400-F8B6-4B43-85B1-4C07975E95F5}"/>
                  </a:ext>
                </a:extLst>
              </p:cNvPr>
              <p:cNvGrpSpPr/>
              <p:nvPr/>
            </p:nvGrpSpPr>
            <p:grpSpPr>
              <a:xfrm>
                <a:off x="8358621" y="2707519"/>
                <a:ext cx="288445" cy="278660"/>
                <a:chOff x="6673854" y="2507796"/>
                <a:chExt cx="3493293" cy="3112295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15" name="Freeform 654">
                  <a:extLst>
                    <a:ext uri="{FF2B5EF4-FFF2-40B4-BE49-F238E27FC236}">
                      <a16:creationId xmlns:a16="http://schemas.microsoft.com/office/drawing/2014/main" id="{D96D75DF-060E-498A-BBA7-6C3E339C9C4E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16" name="Freeform 655">
                  <a:extLst>
                    <a:ext uri="{FF2B5EF4-FFF2-40B4-BE49-F238E27FC236}">
                      <a16:creationId xmlns:a16="http://schemas.microsoft.com/office/drawing/2014/main" id="{FFFF4C73-B5F0-4554-905B-9DA24D781A84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17" name="Freeform 656">
                  <a:extLst>
                    <a:ext uri="{FF2B5EF4-FFF2-40B4-BE49-F238E27FC236}">
                      <a16:creationId xmlns:a16="http://schemas.microsoft.com/office/drawing/2014/main" id="{991CA068-8758-4E65-9C0A-02D3847A7DE9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11" name="Group 1310">
                <a:extLst>
                  <a:ext uri="{FF2B5EF4-FFF2-40B4-BE49-F238E27FC236}">
                    <a16:creationId xmlns:a16="http://schemas.microsoft.com/office/drawing/2014/main" id="{6CED9260-9186-4267-9817-BDB66D318C17}"/>
                  </a:ext>
                </a:extLst>
              </p:cNvPr>
              <p:cNvGrpSpPr/>
              <p:nvPr/>
            </p:nvGrpSpPr>
            <p:grpSpPr>
              <a:xfrm>
                <a:off x="8506011" y="2766760"/>
                <a:ext cx="288445" cy="278660"/>
                <a:chOff x="6673854" y="2507796"/>
                <a:chExt cx="3493293" cy="3112295"/>
              </a:xfrm>
              <a:solidFill>
                <a:srgbClr val="3E92C8">
                  <a:alpha val="50196"/>
                </a:srgbClr>
              </a:solidFill>
            </p:grpSpPr>
            <p:sp>
              <p:nvSpPr>
                <p:cNvPr id="1312" name="Freeform 658">
                  <a:extLst>
                    <a:ext uri="{FF2B5EF4-FFF2-40B4-BE49-F238E27FC236}">
                      <a16:creationId xmlns:a16="http://schemas.microsoft.com/office/drawing/2014/main" id="{3C2EAD04-F822-4762-98A6-5489D915FB67}"/>
                    </a:ext>
                  </a:extLst>
                </p:cNvPr>
                <p:cNvSpPr/>
                <p:nvPr/>
              </p:nvSpPr>
              <p:spPr>
                <a:xfrm>
                  <a:off x="6673854" y="3138035"/>
                  <a:ext cx="1764507" cy="2482056"/>
                </a:xfrm>
                <a:custGeom>
                  <a:avLst/>
                  <a:gdLst>
                    <a:gd name="connsiteX0" fmla="*/ 0 w 1752600"/>
                    <a:gd name="connsiteY0" fmla="*/ 1841500 h 2470150"/>
                    <a:gd name="connsiteX1" fmla="*/ 0 w 1752600"/>
                    <a:gd name="connsiteY1" fmla="*/ 0 h 2470150"/>
                    <a:gd name="connsiteX2" fmla="*/ 1752600 w 1752600"/>
                    <a:gd name="connsiteY2" fmla="*/ 635000 h 2470150"/>
                    <a:gd name="connsiteX3" fmla="*/ 1752600 w 1752600"/>
                    <a:gd name="connsiteY3" fmla="*/ 2470150 h 2470150"/>
                    <a:gd name="connsiteX4" fmla="*/ 0 w 1752600"/>
                    <a:gd name="connsiteY4" fmla="*/ 1841500 h 2470150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52600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0 w 1757362"/>
                    <a:gd name="connsiteY0" fmla="*/ 1841500 h 2477294"/>
                    <a:gd name="connsiteX1" fmla="*/ 0 w 1757362"/>
                    <a:gd name="connsiteY1" fmla="*/ 0 h 2477294"/>
                    <a:gd name="connsiteX2" fmla="*/ 1747838 w 1757362"/>
                    <a:gd name="connsiteY2" fmla="*/ 635000 h 2477294"/>
                    <a:gd name="connsiteX3" fmla="*/ 1757362 w 1757362"/>
                    <a:gd name="connsiteY3" fmla="*/ 2477294 h 2477294"/>
                    <a:gd name="connsiteX4" fmla="*/ 0 w 1757362"/>
                    <a:gd name="connsiteY4" fmla="*/ 1841500 h 2477294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8644 h 2484438"/>
                    <a:gd name="connsiteX1" fmla="*/ 0 w 1764506"/>
                    <a:gd name="connsiteY1" fmla="*/ 0 h 2484438"/>
                    <a:gd name="connsiteX2" fmla="*/ 1754982 w 1764506"/>
                    <a:gd name="connsiteY2" fmla="*/ 642144 h 2484438"/>
                    <a:gd name="connsiteX3" fmla="*/ 1764506 w 1764506"/>
                    <a:gd name="connsiteY3" fmla="*/ 2484438 h 2484438"/>
                    <a:gd name="connsiteX4" fmla="*/ 7144 w 1764506"/>
                    <a:gd name="connsiteY4" fmla="*/ 1848644 h 2484438"/>
                    <a:gd name="connsiteX0" fmla="*/ 7144 w 1764506"/>
                    <a:gd name="connsiteY0" fmla="*/ 1841500 h 2477294"/>
                    <a:gd name="connsiteX1" fmla="*/ 0 w 1764506"/>
                    <a:gd name="connsiteY1" fmla="*/ 0 h 2477294"/>
                    <a:gd name="connsiteX2" fmla="*/ 1754982 w 1764506"/>
                    <a:gd name="connsiteY2" fmla="*/ 635000 h 2477294"/>
                    <a:gd name="connsiteX3" fmla="*/ 1764506 w 1764506"/>
                    <a:gd name="connsiteY3" fmla="*/ 2477294 h 2477294"/>
                    <a:gd name="connsiteX4" fmla="*/ 7144 w 1764506"/>
                    <a:gd name="connsiteY4" fmla="*/ 1841500 h 2477294"/>
                    <a:gd name="connsiteX0" fmla="*/ 7144 w 1764506"/>
                    <a:gd name="connsiteY0" fmla="*/ 1846262 h 2482056"/>
                    <a:gd name="connsiteX1" fmla="*/ 0 w 1764506"/>
                    <a:gd name="connsiteY1" fmla="*/ 0 h 2482056"/>
                    <a:gd name="connsiteX2" fmla="*/ 1754982 w 1764506"/>
                    <a:gd name="connsiteY2" fmla="*/ 639762 h 2482056"/>
                    <a:gd name="connsiteX3" fmla="*/ 1764506 w 1764506"/>
                    <a:gd name="connsiteY3" fmla="*/ 2482056 h 2482056"/>
                    <a:gd name="connsiteX4" fmla="*/ 7144 w 1764506"/>
                    <a:gd name="connsiteY4" fmla="*/ 1846262 h 248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64506" h="2482056">
                      <a:moveTo>
                        <a:pt x="7144" y="1846262"/>
                      </a:moveTo>
                      <a:cubicBezTo>
                        <a:pt x="4763" y="1232429"/>
                        <a:pt x="2381" y="613833"/>
                        <a:pt x="0" y="0"/>
                      </a:cubicBezTo>
                      <a:lnTo>
                        <a:pt x="1754982" y="639762"/>
                      </a:lnTo>
                      <a:cubicBezTo>
                        <a:pt x="1756569" y="1253860"/>
                        <a:pt x="1762919" y="1867958"/>
                        <a:pt x="1764506" y="2482056"/>
                      </a:cubicBezTo>
                      <a:lnTo>
                        <a:pt x="7144" y="1846262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13" name="Freeform 659">
                  <a:extLst>
                    <a:ext uri="{FF2B5EF4-FFF2-40B4-BE49-F238E27FC236}">
                      <a16:creationId xmlns:a16="http://schemas.microsoft.com/office/drawing/2014/main" id="{7D934B9B-7677-4012-932B-EED0E9406E49}"/>
                    </a:ext>
                  </a:extLst>
                </p:cNvPr>
                <p:cNvSpPr/>
                <p:nvPr/>
              </p:nvSpPr>
              <p:spPr>
                <a:xfrm>
                  <a:off x="8427247" y="3149146"/>
                  <a:ext cx="1739900" cy="2470150"/>
                </a:xfrm>
                <a:custGeom>
                  <a:avLst/>
                  <a:gdLst>
                    <a:gd name="connsiteX0" fmla="*/ 0 w 1739900"/>
                    <a:gd name="connsiteY0" fmla="*/ 622300 h 1841500"/>
                    <a:gd name="connsiteX1" fmla="*/ 1739900 w 1739900"/>
                    <a:gd name="connsiteY1" fmla="*/ 0 h 1841500"/>
                    <a:gd name="connsiteX2" fmla="*/ 1739900 w 1739900"/>
                    <a:gd name="connsiteY2" fmla="*/ 1841500 h 1841500"/>
                    <a:gd name="connsiteX3" fmla="*/ 12700 w 1739900"/>
                    <a:gd name="connsiteY3" fmla="*/ 1841500 h 1841500"/>
                    <a:gd name="connsiteX4" fmla="*/ 0 w 1739900"/>
                    <a:gd name="connsiteY4" fmla="*/ 622300 h 1841500"/>
                    <a:gd name="connsiteX0" fmla="*/ 0 w 1739900"/>
                    <a:gd name="connsiteY0" fmla="*/ 622300 h 2470150"/>
                    <a:gd name="connsiteX1" fmla="*/ 1739900 w 1739900"/>
                    <a:gd name="connsiteY1" fmla="*/ 0 h 2470150"/>
                    <a:gd name="connsiteX2" fmla="*/ 1739900 w 1739900"/>
                    <a:gd name="connsiteY2" fmla="*/ 1841500 h 2470150"/>
                    <a:gd name="connsiteX3" fmla="*/ 12700 w 1739900"/>
                    <a:gd name="connsiteY3" fmla="*/ 2470150 h 2470150"/>
                    <a:gd name="connsiteX4" fmla="*/ 0 w 1739900"/>
                    <a:gd name="connsiteY4" fmla="*/ 622300 h 2470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39900" h="2470150">
                      <a:moveTo>
                        <a:pt x="0" y="622300"/>
                      </a:moveTo>
                      <a:lnTo>
                        <a:pt x="1739900" y="0"/>
                      </a:lnTo>
                      <a:lnTo>
                        <a:pt x="1739900" y="1841500"/>
                      </a:lnTo>
                      <a:lnTo>
                        <a:pt x="12700" y="2470150"/>
                      </a:lnTo>
                      <a:cubicBezTo>
                        <a:pt x="8467" y="1854200"/>
                        <a:pt x="4233" y="1238250"/>
                        <a:pt x="0" y="622300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14" name="Freeform 660">
                  <a:extLst>
                    <a:ext uri="{FF2B5EF4-FFF2-40B4-BE49-F238E27FC236}">
                      <a16:creationId xmlns:a16="http://schemas.microsoft.com/office/drawing/2014/main" id="{1C9CCA16-D9C9-4568-AC68-A5210AFA66DC}"/>
                    </a:ext>
                  </a:extLst>
                </p:cNvPr>
                <p:cNvSpPr/>
                <p:nvPr/>
              </p:nvSpPr>
              <p:spPr>
                <a:xfrm>
                  <a:off x="6674644" y="2507796"/>
                  <a:ext cx="3492501" cy="1270001"/>
                </a:xfrm>
                <a:custGeom>
                  <a:avLst/>
                  <a:gdLst>
                    <a:gd name="connsiteX0" fmla="*/ 0 w 3492500"/>
                    <a:gd name="connsiteY0" fmla="*/ 628650 h 1270000"/>
                    <a:gd name="connsiteX1" fmla="*/ 1752600 w 3492500"/>
                    <a:gd name="connsiteY1" fmla="*/ 0 h 1270000"/>
                    <a:gd name="connsiteX2" fmla="*/ 3492500 w 3492500"/>
                    <a:gd name="connsiteY2" fmla="*/ 641350 h 1270000"/>
                    <a:gd name="connsiteX3" fmla="*/ 1752600 w 3492500"/>
                    <a:gd name="connsiteY3" fmla="*/ 1270000 h 1270000"/>
                    <a:gd name="connsiteX4" fmla="*/ 0 w 3492500"/>
                    <a:gd name="connsiteY4" fmla="*/ 628650 h 12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2500" h="1270000">
                      <a:moveTo>
                        <a:pt x="0" y="628650"/>
                      </a:moveTo>
                      <a:lnTo>
                        <a:pt x="1752600" y="0"/>
                      </a:lnTo>
                      <a:lnTo>
                        <a:pt x="3492500" y="641350"/>
                      </a:lnTo>
                      <a:lnTo>
                        <a:pt x="1752600" y="1270000"/>
                      </a:lnTo>
                      <a:lnTo>
                        <a:pt x="0" y="628650"/>
                      </a:lnTo>
                      <a:close/>
                    </a:path>
                  </a:pathLst>
                </a:custGeom>
                <a:grpFill/>
                <a:ln w="3175">
                  <a:solidFill>
                    <a:srgbClr val="FFFFFF">
                      <a:alpha val="30196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283" name="Straight Arrow Connector 1282">
              <a:extLst>
                <a:ext uri="{FF2B5EF4-FFF2-40B4-BE49-F238E27FC236}">
                  <a16:creationId xmlns:a16="http://schemas.microsoft.com/office/drawing/2014/main" id="{5D8B2834-F02E-42D1-8396-6E8C81FE47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29668" y="2608043"/>
              <a:ext cx="1142830" cy="487360"/>
            </a:xfrm>
            <a:prstGeom prst="straightConnector1">
              <a:avLst/>
            </a:prstGeom>
            <a:ln w="19050">
              <a:solidFill>
                <a:srgbClr val="BB780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5" name="Straight Arrow Connector 1284">
              <a:extLst>
                <a:ext uri="{FF2B5EF4-FFF2-40B4-BE49-F238E27FC236}">
                  <a16:creationId xmlns:a16="http://schemas.microsoft.com/office/drawing/2014/main" id="{B2569CDE-1A55-411E-95B5-2C1776793DF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654510" y="2626441"/>
              <a:ext cx="1142830" cy="468962"/>
            </a:xfrm>
            <a:prstGeom prst="straightConnector1">
              <a:avLst/>
            </a:prstGeom>
            <a:ln w="19050">
              <a:solidFill>
                <a:srgbClr val="BB780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6" name="Oval 1285">
              <a:extLst>
                <a:ext uri="{FF2B5EF4-FFF2-40B4-BE49-F238E27FC236}">
                  <a16:creationId xmlns:a16="http://schemas.microsoft.com/office/drawing/2014/main" id="{54A3628F-2701-4EE4-A2E6-CD60232EEBBE}"/>
                </a:ext>
              </a:extLst>
            </p:cNvPr>
            <p:cNvSpPr/>
            <p:nvPr/>
          </p:nvSpPr>
          <p:spPr>
            <a:xfrm>
              <a:off x="10790644" y="3088707"/>
              <a:ext cx="45720" cy="45720"/>
            </a:xfrm>
            <a:prstGeom prst="ellipse">
              <a:avLst/>
            </a:prstGeom>
            <a:solidFill>
              <a:srgbClr val="7F7F7F">
                <a:alpha val="50196"/>
              </a:srgbClr>
            </a:solidFill>
            <a:ln w="3175">
              <a:solidFill>
                <a:srgbClr val="FAC5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87" name="Arrow: Chevron 1786">
            <a:extLst>
              <a:ext uri="{FF2B5EF4-FFF2-40B4-BE49-F238E27FC236}">
                <a16:creationId xmlns:a16="http://schemas.microsoft.com/office/drawing/2014/main" id="{FCC68C8D-DDA3-4922-B296-BA4EBBCB8EDF}"/>
              </a:ext>
            </a:extLst>
          </p:cNvPr>
          <p:cNvSpPr/>
          <p:nvPr/>
        </p:nvSpPr>
        <p:spPr>
          <a:xfrm>
            <a:off x="10584674" y="2625617"/>
            <a:ext cx="1485679" cy="358305"/>
          </a:xfrm>
          <a:prstGeom prst="chevron">
            <a:avLst/>
          </a:prstGeom>
          <a:solidFill>
            <a:srgbClr val="104EA3"/>
          </a:solidFill>
          <a:ln w="3175" cap="flat">
            <a:solidFill>
              <a:srgbClr val="104EA3"/>
            </a:solidFill>
            <a:prstDash val="solid"/>
            <a:miter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uild Future Stat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perating Model</a:t>
            </a:r>
          </a:p>
        </p:txBody>
      </p:sp>
      <p:sp>
        <p:nvSpPr>
          <p:cNvPr id="1795" name="Arrow: Chevron 1794">
            <a:extLst>
              <a:ext uri="{FF2B5EF4-FFF2-40B4-BE49-F238E27FC236}">
                <a16:creationId xmlns:a16="http://schemas.microsoft.com/office/drawing/2014/main" id="{6CB15671-3E06-4B09-B460-2C8957B34E23}"/>
              </a:ext>
            </a:extLst>
          </p:cNvPr>
          <p:cNvSpPr/>
          <p:nvPr/>
        </p:nvSpPr>
        <p:spPr>
          <a:xfrm>
            <a:off x="8065086" y="2625617"/>
            <a:ext cx="1440964" cy="358305"/>
          </a:xfrm>
          <a:prstGeom prst="chevron">
            <a:avLst/>
          </a:prstGeom>
          <a:solidFill>
            <a:schemeClr val="bg1"/>
          </a:solidFill>
          <a:ln w="3175" cap="flat">
            <a:solidFill>
              <a:srgbClr val="104EA3"/>
            </a:solidFill>
            <a:prstDash val="solid"/>
            <a:miter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ross-Section &amp; Review Functions</a:t>
            </a:r>
          </a:p>
        </p:txBody>
      </p: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0C381746-70CD-4836-B8E0-A062249A57A3}"/>
              </a:ext>
            </a:extLst>
          </p:cNvPr>
          <p:cNvGrpSpPr/>
          <p:nvPr/>
        </p:nvGrpSpPr>
        <p:grpSpPr>
          <a:xfrm>
            <a:off x="8433093" y="4801551"/>
            <a:ext cx="3483281" cy="1107180"/>
            <a:chOff x="8326115" y="4915681"/>
            <a:chExt cx="3483281" cy="1107180"/>
          </a:xfrm>
        </p:grpSpPr>
        <p:grpSp>
          <p:nvGrpSpPr>
            <p:cNvPr id="1802" name="Group 1801">
              <a:extLst>
                <a:ext uri="{FF2B5EF4-FFF2-40B4-BE49-F238E27FC236}">
                  <a16:creationId xmlns:a16="http://schemas.microsoft.com/office/drawing/2014/main" id="{346137AD-9FF1-45BD-B9D1-B749EDDCD368}"/>
                </a:ext>
              </a:extLst>
            </p:cNvPr>
            <p:cNvGrpSpPr/>
            <p:nvPr/>
          </p:nvGrpSpPr>
          <p:grpSpPr>
            <a:xfrm>
              <a:off x="8326115" y="4915681"/>
              <a:ext cx="3483281" cy="1107180"/>
              <a:chOff x="8326115" y="4915681"/>
              <a:chExt cx="3483281" cy="1107180"/>
            </a:xfrm>
          </p:grpSpPr>
          <p:sp>
            <p:nvSpPr>
              <p:cNvPr id="1806" name="Rectangle: Rounded Corners 1805">
                <a:extLst>
                  <a:ext uri="{FF2B5EF4-FFF2-40B4-BE49-F238E27FC236}">
                    <a16:creationId xmlns:a16="http://schemas.microsoft.com/office/drawing/2014/main" id="{B70B7CC0-EE3F-4ADE-9356-F509B1BCEB6F}"/>
                  </a:ext>
                </a:extLst>
              </p:cNvPr>
              <p:cNvSpPr/>
              <p:nvPr/>
            </p:nvSpPr>
            <p:spPr>
              <a:xfrm>
                <a:off x="8326115" y="4918329"/>
                <a:ext cx="3483281" cy="1104532"/>
              </a:xfrm>
              <a:prstGeom prst="roundRect">
                <a:avLst>
                  <a:gd name="adj" fmla="val 50000"/>
                </a:avLst>
              </a:prstGeom>
              <a:solidFill>
                <a:srgbClr val="2383C1"/>
              </a:solidFill>
              <a:ln w="57150">
                <a:solidFill>
                  <a:srgbClr val="2383C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801" name="Group 1800">
                <a:extLst>
                  <a:ext uri="{FF2B5EF4-FFF2-40B4-BE49-F238E27FC236}">
                    <a16:creationId xmlns:a16="http://schemas.microsoft.com/office/drawing/2014/main" id="{676672EE-33AE-4527-A62A-D70D2A5AFBC0}"/>
                  </a:ext>
                </a:extLst>
              </p:cNvPr>
              <p:cNvGrpSpPr/>
              <p:nvPr/>
            </p:nvGrpSpPr>
            <p:grpSpPr>
              <a:xfrm>
                <a:off x="10065233" y="4915681"/>
                <a:ext cx="1744162" cy="1107179"/>
                <a:chOff x="10065233" y="4915681"/>
                <a:chExt cx="1744162" cy="1107179"/>
              </a:xfrm>
            </p:grpSpPr>
            <p:sp>
              <p:nvSpPr>
                <p:cNvPr id="1800" name="Rectangle: Rounded Corners 1799">
                  <a:extLst>
                    <a:ext uri="{FF2B5EF4-FFF2-40B4-BE49-F238E27FC236}">
                      <a16:creationId xmlns:a16="http://schemas.microsoft.com/office/drawing/2014/main" id="{7E24CF1F-B0F8-496F-B667-DB8E172572A7}"/>
                    </a:ext>
                  </a:extLst>
                </p:cNvPr>
                <p:cNvSpPr/>
                <p:nvPr/>
              </p:nvSpPr>
              <p:spPr>
                <a:xfrm>
                  <a:off x="10103460" y="4915681"/>
                  <a:ext cx="1705935" cy="110717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57150">
                  <a:solidFill>
                    <a:srgbClr val="2383C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07" name="Rectangle: Rounded Corners 1806">
                  <a:extLst>
                    <a:ext uri="{FF2B5EF4-FFF2-40B4-BE49-F238E27FC236}">
                      <a16:creationId xmlns:a16="http://schemas.microsoft.com/office/drawing/2014/main" id="{ACAB4EE6-079F-43AA-92C2-EF0BF4712D93}"/>
                    </a:ext>
                  </a:extLst>
                </p:cNvPr>
                <p:cNvSpPr/>
                <p:nvPr/>
              </p:nvSpPr>
              <p:spPr>
                <a:xfrm>
                  <a:off x="10065233" y="4948208"/>
                  <a:ext cx="1231904" cy="1051560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/>
                </a:solidFill>
                <a:ln w="571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1797" name="Picture 2">
              <a:extLst>
                <a:ext uri="{FF2B5EF4-FFF2-40B4-BE49-F238E27FC236}">
                  <a16:creationId xmlns:a16="http://schemas.microsoft.com/office/drawing/2014/main" id="{8C5580EA-784D-4B34-B5CA-CA3B9E7A9E2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7435" b="39325"/>
            <a:stretch/>
          </p:blipFill>
          <p:spPr bwMode="auto">
            <a:xfrm>
              <a:off x="10160483" y="5358316"/>
              <a:ext cx="794124" cy="18455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98" name="Picture 1797" descr="A black and white logo&#10;&#10;Description automatically generated with low confidence">
              <a:extLst>
                <a:ext uri="{FF2B5EF4-FFF2-40B4-BE49-F238E27FC236}">
                  <a16:creationId xmlns:a16="http://schemas.microsoft.com/office/drawing/2014/main" id="{1117685C-3A3D-4D53-AB1C-0EAF2EA164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70000"/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1103276" y="5396379"/>
              <a:ext cx="531034" cy="146492"/>
            </a:xfrm>
            <a:prstGeom prst="rect">
              <a:avLst/>
            </a:prstGeom>
          </p:spPr>
        </p:pic>
        <p:pic>
          <p:nvPicPr>
            <p:cNvPr id="8194" name="Picture 2">
              <a:extLst>
                <a:ext uri="{FF2B5EF4-FFF2-40B4-BE49-F238E27FC236}">
                  <a16:creationId xmlns:a16="http://schemas.microsoft.com/office/drawing/2014/main" id="{9DC3390E-FC83-4A83-BF7B-D72024D929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28037" y="5669679"/>
              <a:ext cx="794124" cy="1706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6" name="Picture 4">
              <a:extLst>
                <a:ext uri="{FF2B5EF4-FFF2-40B4-BE49-F238E27FC236}">
                  <a16:creationId xmlns:a16="http://schemas.microsoft.com/office/drawing/2014/main" id="{7021D821-B31A-4B3E-B6B0-AB969A3CFD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86798" y="5000011"/>
              <a:ext cx="895761" cy="358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8" name="Picture 6" descr="Inato Drives Improvements to Access and Inclusion in Global Clinical Trials  with Latest Platform Enhancements">
              <a:extLst>
                <a:ext uri="{FF2B5EF4-FFF2-40B4-BE49-F238E27FC236}">
                  <a16:creationId xmlns:a16="http://schemas.microsoft.com/office/drawing/2014/main" id="{36055D41-6119-4BDB-BB34-2EAA08E24C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00181" y="5017253"/>
              <a:ext cx="518160" cy="2712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11" name="TextBox 1810">
            <a:extLst>
              <a:ext uri="{FF2B5EF4-FFF2-40B4-BE49-F238E27FC236}">
                <a16:creationId xmlns:a16="http://schemas.microsoft.com/office/drawing/2014/main" id="{94FEB31A-BB7E-4470-BE7F-8522B1F72C5C}"/>
              </a:ext>
            </a:extLst>
          </p:cNvPr>
          <p:cNvSpPr txBox="1"/>
          <p:nvPr/>
        </p:nvSpPr>
        <p:spPr>
          <a:xfrm>
            <a:off x="8497041" y="4901033"/>
            <a:ext cx="1675169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We build future proof functions through high ROI automations and agentic workflows</a:t>
            </a:r>
          </a:p>
        </p:txBody>
      </p:sp>
      <p:pic>
        <p:nvPicPr>
          <p:cNvPr id="8204" name="Picture 12" descr="Medidata Debuts Protocol Optimization at ASCO, Leveraging AI to Transform  the Study Experience">
            <a:extLst>
              <a:ext uri="{FF2B5EF4-FFF2-40B4-BE49-F238E27FC236}">
                <a16:creationId xmlns:a16="http://schemas.microsoft.com/office/drawing/2014/main" id="{7DFA56E2-66CA-43FE-A1E2-B92CB26543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3328" y="5480385"/>
            <a:ext cx="639773" cy="334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3" name="Arrow: Striped Right 1822">
            <a:extLst>
              <a:ext uri="{FF2B5EF4-FFF2-40B4-BE49-F238E27FC236}">
                <a16:creationId xmlns:a16="http://schemas.microsoft.com/office/drawing/2014/main" id="{70BF661E-4D2C-44FC-B08F-63B0E840D68C}"/>
              </a:ext>
            </a:extLst>
          </p:cNvPr>
          <p:cNvSpPr/>
          <p:nvPr/>
        </p:nvSpPr>
        <p:spPr>
          <a:xfrm>
            <a:off x="10592281" y="3369817"/>
            <a:ext cx="553082" cy="207501"/>
          </a:xfrm>
          <a:prstGeom prst="stripedRightArrow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24" name="Arrow: Striped Right 1823">
            <a:extLst>
              <a:ext uri="{FF2B5EF4-FFF2-40B4-BE49-F238E27FC236}">
                <a16:creationId xmlns:a16="http://schemas.microsoft.com/office/drawing/2014/main" id="{492CA0BE-DC44-4F69-819B-5113308E07C0}"/>
              </a:ext>
            </a:extLst>
          </p:cNvPr>
          <p:cNvSpPr/>
          <p:nvPr/>
        </p:nvSpPr>
        <p:spPr>
          <a:xfrm rot="16200000">
            <a:off x="10918771" y="4135839"/>
            <a:ext cx="949295" cy="207501"/>
          </a:xfrm>
          <a:prstGeom prst="stripedRightArrow">
            <a:avLst/>
          </a:prstGeom>
          <a:solidFill>
            <a:srgbClr val="2383C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25" name="Arrow: Striped Right 1824">
            <a:extLst>
              <a:ext uri="{FF2B5EF4-FFF2-40B4-BE49-F238E27FC236}">
                <a16:creationId xmlns:a16="http://schemas.microsoft.com/office/drawing/2014/main" id="{DE6BF9DE-E5F4-4C1E-81CF-8FCF015EC813}"/>
              </a:ext>
            </a:extLst>
          </p:cNvPr>
          <p:cNvSpPr/>
          <p:nvPr/>
        </p:nvSpPr>
        <p:spPr>
          <a:xfrm>
            <a:off x="7755855" y="3368755"/>
            <a:ext cx="553082" cy="207501"/>
          </a:xfrm>
          <a:prstGeom prst="stripedRightArrow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26" name="Arrow: Striped Right 1825">
            <a:extLst>
              <a:ext uri="{FF2B5EF4-FFF2-40B4-BE49-F238E27FC236}">
                <a16:creationId xmlns:a16="http://schemas.microsoft.com/office/drawing/2014/main" id="{2788A9C3-5C1C-4804-B354-A8273D8759DA}"/>
              </a:ext>
            </a:extLst>
          </p:cNvPr>
          <p:cNvSpPr/>
          <p:nvPr/>
        </p:nvSpPr>
        <p:spPr>
          <a:xfrm>
            <a:off x="9982265" y="3360099"/>
            <a:ext cx="211856" cy="207501"/>
          </a:xfrm>
          <a:prstGeom prst="stripedRightArrow">
            <a:avLst/>
          </a:prstGeom>
          <a:solidFill>
            <a:srgbClr val="559ECE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27" name="TextBox 1826">
            <a:extLst>
              <a:ext uri="{FF2B5EF4-FFF2-40B4-BE49-F238E27FC236}">
                <a16:creationId xmlns:a16="http://schemas.microsoft.com/office/drawing/2014/main" id="{0C6DD6C7-E29D-4D76-A2AE-BB310477209B}"/>
              </a:ext>
            </a:extLst>
          </p:cNvPr>
          <p:cNvSpPr txBox="1"/>
          <p:nvPr/>
        </p:nvSpPr>
        <p:spPr>
          <a:xfrm>
            <a:off x="8829815" y="5948337"/>
            <a:ext cx="2697878" cy="4247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Select 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LS-specific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AI tech stack </a:t>
            </a:r>
            <a:b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2383C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&amp; data provider ecosystem</a:t>
            </a:r>
          </a:p>
        </p:txBody>
      </p:sp>
      <p:sp>
        <p:nvSpPr>
          <p:cNvPr id="1828" name="Google Shape;2272;p175">
            <a:extLst>
              <a:ext uri="{FF2B5EF4-FFF2-40B4-BE49-F238E27FC236}">
                <a16:creationId xmlns:a16="http://schemas.microsoft.com/office/drawing/2014/main" id="{09C48DEB-2228-4423-9307-797319B66F8E}"/>
              </a:ext>
            </a:extLst>
          </p:cNvPr>
          <p:cNvSpPr/>
          <p:nvPr/>
        </p:nvSpPr>
        <p:spPr>
          <a:xfrm>
            <a:off x="276170" y="2463376"/>
            <a:ext cx="1635809" cy="820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25+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830" name="Google Shape;2274;p175">
            <a:extLst>
              <a:ext uri="{FF2B5EF4-FFF2-40B4-BE49-F238E27FC236}">
                <a16:creationId xmlns:a16="http://schemas.microsoft.com/office/drawing/2014/main" id="{5CD72D74-41C1-4394-B969-2650831D8EC4}"/>
              </a:ext>
            </a:extLst>
          </p:cNvPr>
          <p:cNvSpPr/>
          <p:nvPr/>
        </p:nvSpPr>
        <p:spPr>
          <a:xfrm>
            <a:off x="1627173" y="2463376"/>
            <a:ext cx="1862244" cy="820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9 of 10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831" name="Google Shape;2275;p175">
            <a:extLst>
              <a:ext uri="{FF2B5EF4-FFF2-40B4-BE49-F238E27FC236}">
                <a16:creationId xmlns:a16="http://schemas.microsoft.com/office/drawing/2014/main" id="{86CC1A0D-295B-4C6B-AAB9-8613B7451155}"/>
              </a:ext>
            </a:extLst>
          </p:cNvPr>
          <p:cNvSpPr/>
          <p:nvPr/>
        </p:nvSpPr>
        <p:spPr>
          <a:xfrm>
            <a:off x="534049" y="3033327"/>
            <a:ext cx="1120050" cy="33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1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Year history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(est. 1998)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833" name="Google Shape;2277;p175">
            <a:extLst>
              <a:ext uri="{FF2B5EF4-FFF2-40B4-BE49-F238E27FC236}">
                <a16:creationId xmlns:a16="http://schemas.microsoft.com/office/drawing/2014/main" id="{C4862CCF-0D9F-42BF-B2C8-3023B8783CC2}"/>
              </a:ext>
            </a:extLst>
          </p:cNvPr>
          <p:cNvSpPr/>
          <p:nvPr/>
        </p:nvSpPr>
        <p:spPr>
          <a:xfrm>
            <a:off x="1942268" y="3033327"/>
            <a:ext cx="1232055" cy="566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1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Top life sciences companies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844" name="Google Shape;2274;p175">
            <a:extLst>
              <a:ext uri="{FF2B5EF4-FFF2-40B4-BE49-F238E27FC236}">
                <a16:creationId xmlns:a16="http://schemas.microsoft.com/office/drawing/2014/main" id="{C9D0DF18-C0DD-464A-9015-046A7944FB39}"/>
              </a:ext>
            </a:extLst>
          </p:cNvPr>
          <p:cNvSpPr/>
          <p:nvPr/>
        </p:nvSpPr>
        <p:spPr>
          <a:xfrm>
            <a:off x="162952" y="4797860"/>
            <a:ext cx="1862244" cy="820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#8</a:t>
            </a:r>
          </a:p>
        </p:txBody>
      </p:sp>
      <p:sp>
        <p:nvSpPr>
          <p:cNvPr id="1845" name="Google Shape;2277;p175">
            <a:extLst>
              <a:ext uri="{FF2B5EF4-FFF2-40B4-BE49-F238E27FC236}">
                <a16:creationId xmlns:a16="http://schemas.microsoft.com/office/drawing/2014/main" id="{ED5FC967-6A7C-412D-A324-44814BBF9706}"/>
              </a:ext>
            </a:extLst>
          </p:cNvPr>
          <p:cNvSpPr/>
          <p:nvPr/>
        </p:nvSpPr>
        <p:spPr>
          <a:xfrm>
            <a:off x="478047" y="5367811"/>
            <a:ext cx="1232055" cy="566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1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Fortune’s best workplaces in consulting</a:t>
            </a:r>
          </a:p>
        </p:txBody>
      </p:sp>
      <p:sp>
        <p:nvSpPr>
          <p:cNvPr id="1848" name="Google Shape;2272;p175">
            <a:extLst>
              <a:ext uri="{FF2B5EF4-FFF2-40B4-BE49-F238E27FC236}">
                <a16:creationId xmlns:a16="http://schemas.microsoft.com/office/drawing/2014/main" id="{5F319386-6445-4609-8A24-F161EA3F63B0}"/>
              </a:ext>
            </a:extLst>
          </p:cNvPr>
          <p:cNvSpPr/>
          <p:nvPr/>
        </p:nvSpPr>
        <p:spPr>
          <a:xfrm>
            <a:off x="3146433" y="2463376"/>
            <a:ext cx="1635809" cy="820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30+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849" name="Google Shape;2275;p175">
            <a:extLst>
              <a:ext uri="{FF2B5EF4-FFF2-40B4-BE49-F238E27FC236}">
                <a16:creationId xmlns:a16="http://schemas.microsoft.com/office/drawing/2014/main" id="{A5705CA5-37E5-4FEC-B0B6-47651C0F73E8}"/>
              </a:ext>
            </a:extLst>
          </p:cNvPr>
          <p:cNvSpPr/>
          <p:nvPr/>
        </p:nvSpPr>
        <p:spPr>
          <a:xfrm>
            <a:off x="3404312" y="3033327"/>
            <a:ext cx="1120050" cy="33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1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Product launches supported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850" name="Google Shape;2274;p175">
            <a:extLst>
              <a:ext uri="{FF2B5EF4-FFF2-40B4-BE49-F238E27FC236}">
                <a16:creationId xmlns:a16="http://schemas.microsoft.com/office/drawing/2014/main" id="{E0B17B42-91F7-4494-81FD-DE3178FC4E4D}"/>
              </a:ext>
            </a:extLst>
          </p:cNvPr>
          <p:cNvSpPr/>
          <p:nvPr/>
        </p:nvSpPr>
        <p:spPr>
          <a:xfrm>
            <a:off x="159920" y="3448264"/>
            <a:ext cx="1862244" cy="820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1.5K+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851" name="Google Shape;2277;p175">
            <a:extLst>
              <a:ext uri="{FF2B5EF4-FFF2-40B4-BE49-F238E27FC236}">
                <a16:creationId xmlns:a16="http://schemas.microsoft.com/office/drawing/2014/main" id="{4AD7FE77-8D8C-430D-A4AB-98FB123A03C9}"/>
              </a:ext>
            </a:extLst>
          </p:cNvPr>
          <p:cNvSpPr/>
          <p:nvPr/>
        </p:nvSpPr>
        <p:spPr>
          <a:xfrm>
            <a:off x="475015" y="4018215"/>
            <a:ext cx="1232055" cy="566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1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Life science engagements in R&amp;D, Medical, &amp; Commercial Functions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788" name="Google Shape;2274;p175">
            <a:extLst>
              <a:ext uri="{FF2B5EF4-FFF2-40B4-BE49-F238E27FC236}">
                <a16:creationId xmlns:a16="http://schemas.microsoft.com/office/drawing/2014/main" id="{273DC881-5291-437C-8669-0F2281714697}"/>
              </a:ext>
            </a:extLst>
          </p:cNvPr>
          <p:cNvSpPr/>
          <p:nvPr/>
        </p:nvSpPr>
        <p:spPr>
          <a:xfrm>
            <a:off x="1627173" y="4813862"/>
            <a:ext cx="1862244" cy="820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175</a:t>
            </a:r>
          </a:p>
        </p:txBody>
      </p:sp>
      <p:sp>
        <p:nvSpPr>
          <p:cNvPr id="1789" name="Google Shape;2277;p175">
            <a:extLst>
              <a:ext uri="{FF2B5EF4-FFF2-40B4-BE49-F238E27FC236}">
                <a16:creationId xmlns:a16="http://schemas.microsoft.com/office/drawing/2014/main" id="{3681EA44-FA83-4AA1-989F-F556F1A9DAC2}"/>
              </a:ext>
            </a:extLst>
          </p:cNvPr>
          <p:cNvSpPr/>
          <p:nvPr/>
        </p:nvSpPr>
        <p:spPr>
          <a:xfrm>
            <a:off x="1942268" y="5383813"/>
            <a:ext cx="1232055" cy="566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1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Experienced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Acquis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consultants</a:t>
            </a:r>
          </a:p>
        </p:txBody>
      </p:sp>
      <p:sp>
        <p:nvSpPr>
          <p:cNvPr id="1790" name="Google Shape;2274;p175">
            <a:extLst>
              <a:ext uri="{FF2B5EF4-FFF2-40B4-BE49-F238E27FC236}">
                <a16:creationId xmlns:a16="http://schemas.microsoft.com/office/drawing/2014/main" id="{D01CAAEC-B599-46C4-9260-C60CE1F40BED}"/>
              </a:ext>
            </a:extLst>
          </p:cNvPr>
          <p:cNvSpPr/>
          <p:nvPr/>
        </p:nvSpPr>
        <p:spPr>
          <a:xfrm>
            <a:off x="1762654" y="3442911"/>
            <a:ext cx="2353758" cy="809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Extensive Exp. Across 10+ TAs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791" name="Google Shape;2277;p175">
            <a:extLst>
              <a:ext uri="{FF2B5EF4-FFF2-40B4-BE49-F238E27FC236}">
                <a16:creationId xmlns:a16="http://schemas.microsoft.com/office/drawing/2014/main" id="{51B542F4-0CA2-4E57-9E03-D30E7A4591CA}"/>
              </a:ext>
            </a:extLst>
          </p:cNvPr>
          <p:cNvSpPr/>
          <p:nvPr/>
        </p:nvSpPr>
        <p:spPr>
          <a:xfrm>
            <a:off x="1822967" y="4018215"/>
            <a:ext cx="1078419" cy="566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Oncology</a:t>
            </a:r>
          </a:p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srgbClr val="104EA3"/>
                </a:solidFill>
                <a:latin typeface="Century Gothic" panose="020B0502020202020204" pitchFamily="34" charset="0"/>
                <a:cs typeface="Arial"/>
                <a:sym typeface="Arial"/>
              </a:rPr>
              <a:t>Rare Diseases</a:t>
            </a:r>
          </a:p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Cardiovascular</a:t>
            </a:r>
          </a:p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srgbClr val="104EA3"/>
                </a:solidFill>
                <a:latin typeface="Century Gothic" panose="020B0502020202020204" pitchFamily="34" charset="0"/>
                <a:cs typeface="Arial"/>
                <a:sym typeface="Arial"/>
              </a:rPr>
              <a:t>Dermatology</a:t>
            </a:r>
          </a:p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Endocrinology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792" name="Google Shape;2277;p175">
            <a:extLst>
              <a:ext uri="{FF2B5EF4-FFF2-40B4-BE49-F238E27FC236}">
                <a16:creationId xmlns:a16="http://schemas.microsoft.com/office/drawing/2014/main" id="{5BD5BF26-FF16-4340-A545-F291B77FE3CA}"/>
              </a:ext>
            </a:extLst>
          </p:cNvPr>
          <p:cNvSpPr/>
          <p:nvPr/>
        </p:nvSpPr>
        <p:spPr>
          <a:xfrm>
            <a:off x="3037992" y="4018215"/>
            <a:ext cx="1078419" cy="566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Hematology</a:t>
            </a:r>
          </a:p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srgbClr val="104EA3"/>
                </a:solidFill>
                <a:latin typeface="Century Gothic" panose="020B0502020202020204" pitchFamily="34" charset="0"/>
                <a:cs typeface="Arial"/>
                <a:sym typeface="Arial"/>
              </a:rPr>
              <a:t>Immunology</a:t>
            </a:r>
          </a:p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Neurology</a:t>
            </a:r>
          </a:p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srgbClr val="104EA3"/>
                </a:solidFill>
                <a:latin typeface="Century Gothic" panose="020B0502020202020204" pitchFamily="34" charset="0"/>
                <a:cs typeface="Arial"/>
                <a:sym typeface="Arial"/>
              </a:rPr>
              <a:t>Respiratory</a:t>
            </a:r>
          </a:p>
          <a:p>
            <a:pPr marL="112713" marR="0" lvl="1" indent="-112713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04EA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Infectious Diseases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104EA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793" name="Freeform 12">
            <a:extLst>
              <a:ext uri="{FF2B5EF4-FFF2-40B4-BE49-F238E27FC236}">
                <a16:creationId xmlns:a16="http://schemas.microsoft.com/office/drawing/2014/main" id="{86D7764D-10EA-43B7-8F54-36DB1AF0DEC9}"/>
              </a:ext>
            </a:extLst>
          </p:cNvPr>
          <p:cNvSpPr/>
          <p:nvPr/>
        </p:nvSpPr>
        <p:spPr>
          <a:xfrm>
            <a:off x="1255941" y="6484518"/>
            <a:ext cx="910610" cy="258609"/>
          </a:xfrm>
          <a:custGeom>
            <a:avLst/>
            <a:gdLst/>
            <a:ahLst/>
            <a:cxnLst/>
            <a:rect l="l" t="t" r="r" b="b"/>
            <a:pathLst>
              <a:path w="1369676" h="147639">
                <a:moveTo>
                  <a:pt x="0" y="0"/>
                </a:moveTo>
                <a:lnTo>
                  <a:pt x="1369676" y="0"/>
                </a:lnTo>
                <a:lnTo>
                  <a:pt x="1369676" y="147639"/>
                </a:lnTo>
                <a:lnTo>
                  <a:pt x="0" y="147639"/>
                </a:lnTo>
                <a:close/>
              </a:path>
            </a:pathLst>
          </a:custGeom>
          <a:solidFill>
            <a:srgbClr val="3469B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100" b="1" spc="219" dirty="0">
                <a:solidFill>
                  <a:srgbClr val="FFFFFF"/>
                </a:solidFill>
                <a:latin typeface="Century Gothic" panose="020B0502020202020204" pitchFamily="34" charset="0"/>
                <a:sym typeface="Source Sans Pro 1"/>
              </a:rPr>
              <a:t>AGENTIC</a:t>
            </a:r>
            <a:endParaRPr lang="en-US" sz="11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869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FAEE8FE_8CB2_4517_BBC9_628E6C55353A&quot;,&quot;SourceFullName&quot;:&quot;C:\\Users\\cenright\\Box\\Daiichi Sankyo Global - 4609\\03 2025\\01 Nadia - XFranchise+DAST\\03 XFranchise\\01 MSL-LINC\\01 DAI2514 MSL-LINC SABCS\\03 Content\\03 Responses\\Global Cross ADC Breast Cancer Key Insights Topi 01_08_2025_10_12 - Latest Results.xlsx&quot;,&quot;LastUpdate&quot;:&quot;2025-01-16 11:32 AM&quot;,&quot;UpdatedBy&quot;:&quot;jechalmers&quot;,&quot;IsLinked&quot;:false,&quot;IsBrokenLink&quot;:false,&quot;Type&quot;:1,&quot;ShapeId&quot;:0,&quot;WorksheetName&quot;:null}"/>
</p:tagLst>
</file>

<file path=ppt/theme/theme1.xml><?xml version="1.0" encoding="utf-8"?>
<a:theme xmlns:a="http://schemas.openxmlformats.org/drawingml/2006/main" name="3_Office Theme">
  <a:themeElements>
    <a:clrScheme name="Custom 14">
      <a:dk1>
        <a:srgbClr val="000000"/>
      </a:dk1>
      <a:lt1>
        <a:srgbClr val="FFFFFF"/>
      </a:lt1>
      <a:dk2>
        <a:srgbClr val="343434"/>
      </a:dk2>
      <a:lt2>
        <a:srgbClr val="F2F2F2"/>
      </a:lt2>
      <a:accent1>
        <a:srgbClr val="3ACCFF"/>
      </a:accent1>
      <a:accent2>
        <a:srgbClr val="2383C1"/>
      </a:accent2>
      <a:accent3>
        <a:srgbClr val="1B55A7"/>
      </a:accent3>
      <a:accent4>
        <a:srgbClr val="004D86"/>
      </a:accent4>
      <a:accent5>
        <a:srgbClr val="51BF6F"/>
      </a:accent5>
      <a:accent6>
        <a:srgbClr val="3EB6AC"/>
      </a:accent6>
      <a:hlink>
        <a:srgbClr val="40AFFF"/>
      </a:hlink>
      <a:folHlink>
        <a:srgbClr val="797979"/>
      </a:folHlink>
    </a:clrScheme>
    <a:fontScheme name="SG Template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Gold">
      <a:srgbClr val="F69F0C"/>
    </a:custClr>
    <a:custClr name="Gold, Lighter 80%">
      <a:srgbClr val="FDECCE"/>
    </a:custClr>
    <a:custClr name="Gold, Lighter 60%">
      <a:srgbClr val="FBD99E"/>
    </a:custClr>
    <a:custClr name="Gold, Lighter 40%">
      <a:srgbClr val="FAC56D"/>
    </a:custClr>
    <a:custClr name="Gold, Darker 25%">
      <a:srgbClr val="BB7807"/>
    </a:custClr>
    <a:custClr name="Gold, Darker 50%">
      <a:srgbClr val="7C5005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Indigo">
      <a:srgbClr val="28246F"/>
    </a:custClr>
    <a:custClr name="Indigo, Lighter 80%">
      <a:srgbClr val="CAC8ED"/>
    </a:custClr>
    <a:custClr name="Indigo, Lighter 60%">
      <a:srgbClr val="9591DB"/>
    </a:custClr>
    <a:custClr name="Indigo, Lighter 40%">
      <a:srgbClr val="605BCA"/>
    </a:custClr>
    <a:custClr name="Indigo, Darker 25%">
      <a:srgbClr val="1E1B53"/>
    </a:custClr>
    <a:custClr name="Indigo, Darker 50%">
      <a:srgbClr val="2A187C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Lavender">
      <a:srgbClr val="BE93E3"/>
    </a:custClr>
    <a:custClr name="Lavender, Lighter 80%">
      <a:srgbClr val="F2E9F9"/>
    </a:custClr>
    <a:custClr name="Lavender, Lighter 60%">
      <a:srgbClr val="E5D4F4"/>
    </a:custClr>
    <a:custClr name="Lavender, Lighter 40%">
      <a:srgbClr val="D8BEEE"/>
    </a:custClr>
    <a:custClr name="Lavender, Darker 25%">
      <a:srgbClr val="9149D0"/>
    </a:custClr>
    <a:custClr name="Lavender, Darker 50%">
      <a:srgbClr val="62269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New Acquis Template">
  <a:themeElements>
    <a:clrScheme name="Custom 3">
      <a:dk1>
        <a:sysClr val="windowText" lastClr="000000"/>
      </a:dk1>
      <a:lt1>
        <a:sysClr val="window" lastClr="FFFFFF"/>
      </a:lt1>
      <a:dk2>
        <a:srgbClr val="0047BA"/>
      </a:dk2>
      <a:lt2>
        <a:srgbClr val="9B9EA3"/>
      </a:lt2>
      <a:accent1>
        <a:srgbClr val="2383C1"/>
      </a:accent1>
      <a:accent2>
        <a:srgbClr val="1B56A8"/>
      </a:accent2>
      <a:accent3>
        <a:srgbClr val="618DEC"/>
      </a:accent3>
      <a:accent4>
        <a:srgbClr val="3BBFAD"/>
      </a:accent4>
      <a:accent5>
        <a:srgbClr val="343434"/>
      </a:accent5>
      <a:accent6>
        <a:srgbClr val="7AEEF5"/>
      </a:accent6>
      <a:hlink>
        <a:srgbClr val="2D62B6"/>
      </a:hlink>
      <a:folHlink>
        <a:srgbClr val="4A4E6A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ink">
      <a:srgbClr val="EE3E79"/>
    </a:custClr>
    <a:custClr name="Pink, Lighter 80%">
      <a:srgbClr val="FCD8E4"/>
    </a:custClr>
    <a:custClr name="Pink, Lighter 60%">
      <a:srgbClr val="F8B2C9"/>
    </a:custClr>
    <a:custClr name="Pink, Lighter 40%">
      <a:srgbClr val="F58BAF"/>
    </a:custClr>
    <a:custClr name="Pink, Darker 25%">
      <a:srgbClr val="CF1251"/>
    </a:custClr>
    <a:custClr name="Pink, Darker 50%">
      <a:srgbClr val="8A0C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Indigo">
      <a:srgbClr val="28246F"/>
    </a:custClr>
    <a:custClr name="Indigo, Lighter 80%">
      <a:srgbClr val="CAC8ED"/>
    </a:custClr>
    <a:custClr name="Indigo, Lighter 60%">
      <a:srgbClr val="9591DB"/>
    </a:custClr>
    <a:custClr name="Indigo, Lighter 40%">
      <a:srgbClr val="605BCA"/>
    </a:custClr>
    <a:custClr name="Indigo, Darker 25%">
      <a:srgbClr val="1E1B53"/>
    </a:custClr>
    <a:custClr name="Indigo, Darker 50%">
      <a:srgbClr val="2A187C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Lavender">
      <a:srgbClr val="BE93E3"/>
    </a:custClr>
    <a:custClr name="Lavender, Lighter 80%">
      <a:srgbClr val="F2E9F9"/>
    </a:custClr>
    <a:custClr name="Lavender, Lighter 60%">
      <a:srgbClr val="E5D4F4"/>
    </a:custClr>
    <a:custClr name="Lavender, Lighter 40%">
      <a:srgbClr val="D8BEEE"/>
    </a:custClr>
    <a:custClr name="Lavender, Darker 25%">
      <a:srgbClr val="9149D0"/>
    </a:custClr>
    <a:custClr name="Lavender, Darker 50%">
      <a:srgbClr val="62269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912828"/>
    </a:custClr>
    <a:custClr name="Dark Red">
      <a:srgbClr val="F1CCCC"/>
    </a:custClr>
    <a:custClr name="Dark Red, Lighter 80%">
      <a:srgbClr val="E39999"/>
    </a:custClr>
    <a:custClr name="Dark Red, Lighter 60%">
      <a:srgbClr val="D56666"/>
    </a:custClr>
    <a:custClr name="Dark Red, Lighter 40%">
      <a:srgbClr val="6D1E1E"/>
    </a:custClr>
    <a:custClr name="Dark Red, Darker 25%">
      <a:srgbClr val="481414"/>
    </a:custClr>
    <a:custClr name="Dark Red, Darker 50%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2" id="{2B217898-8301-4BA9-844A-2FB4EDA9A6E4}" vid="{11CB0852-69B9-4A42-87B6-33BA9948C461}"/>
    </a:ext>
  </a:extLst>
</a:theme>
</file>

<file path=ppt/theme/theme3.xml><?xml version="1.0" encoding="utf-8"?>
<a:theme xmlns:a="http://schemas.openxmlformats.org/drawingml/2006/main" name="2_Office Theme">
  <a:themeElements>
    <a:clrScheme name="Custom 14">
      <a:dk1>
        <a:srgbClr val="000000"/>
      </a:dk1>
      <a:lt1>
        <a:srgbClr val="FFFFFF"/>
      </a:lt1>
      <a:dk2>
        <a:srgbClr val="343434"/>
      </a:dk2>
      <a:lt2>
        <a:srgbClr val="F2F2F2"/>
      </a:lt2>
      <a:accent1>
        <a:srgbClr val="3ACCFF"/>
      </a:accent1>
      <a:accent2>
        <a:srgbClr val="2383C1"/>
      </a:accent2>
      <a:accent3>
        <a:srgbClr val="1B55A7"/>
      </a:accent3>
      <a:accent4>
        <a:srgbClr val="004D86"/>
      </a:accent4>
      <a:accent5>
        <a:srgbClr val="51BF6F"/>
      </a:accent5>
      <a:accent6>
        <a:srgbClr val="3EB6AC"/>
      </a:accent6>
      <a:hlink>
        <a:srgbClr val="40AFFF"/>
      </a:hlink>
      <a:folHlink>
        <a:srgbClr val="797979"/>
      </a:folHlink>
    </a:clrScheme>
    <a:fontScheme name="SG Template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Gold">
      <a:srgbClr val="F69F0C"/>
    </a:custClr>
    <a:custClr name="Gold, Lighter 80%">
      <a:srgbClr val="FDECCE"/>
    </a:custClr>
    <a:custClr name="Gold, Lighter 60%">
      <a:srgbClr val="FBD99E"/>
    </a:custClr>
    <a:custClr name="Gold, Lighter 40%">
      <a:srgbClr val="FAC56D"/>
    </a:custClr>
    <a:custClr name="Gold, Darker 25%">
      <a:srgbClr val="BB7807"/>
    </a:custClr>
    <a:custClr name="Gold, Darker 50%">
      <a:srgbClr val="7C5005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Indigo">
      <a:srgbClr val="28246F"/>
    </a:custClr>
    <a:custClr name="Indigo, Lighter 80%">
      <a:srgbClr val="CAC8ED"/>
    </a:custClr>
    <a:custClr name="Indigo, Lighter 60%">
      <a:srgbClr val="9591DB"/>
    </a:custClr>
    <a:custClr name="Indigo, Lighter 40%">
      <a:srgbClr val="605BCA"/>
    </a:custClr>
    <a:custClr name="Indigo, Darker 25%">
      <a:srgbClr val="1E1B53"/>
    </a:custClr>
    <a:custClr name="Indigo, Darker 50%">
      <a:srgbClr val="2A187C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Lavender">
      <a:srgbClr val="BE93E3"/>
    </a:custClr>
    <a:custClr name="Lavender, Lighter 80%">
      <a:srgbClr val="F2E9F9"/>
    </a:custClr>
    <a:custClr name="Lavender, Lighter 60%">
      <a:srgbClr val="E5D4F4"/>
    </a:custClr>
    <a:custClr name="Lavender, Lighter 40%">
      <a:srgbClr val="D8BEEE"/>
    </a:custClr>
    <a:custClr name="Lavender, Darker 25%">
      <a:srgbClr val="9149D0"/>
    </a:custClr>
    <a:custClr name="Lavender, Darker 50%">
      <a:srgbClr val="62269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New Acquis Template">
  <a:themeElements>
    <a:clrScheme name="Custom 3">
      <a:dk1>
        <a:sysClr val="windowText" lastClr="000000"/>
      </a:dk1>
      <a:lt1>
        <a:sysClr val="window" lastClr="FFFFFF"/>
      </a:lt1>
      <a:dk2>
        <a:srgbClr val="0047BA"/>
      </a:dk2>
      <a:lt2>
        <a:srgbClr val="9B9EA3"/>
      </a:lt2>
      <a:accent1>
        <a:srgbClr val="2383C1"/>
      </a:accent1>
      <a:accent2>
        <a:srgbClr val="1B56A8"/>
      </a:accent2>
      <a:accent3>
        <a:srgbClr val="618DEC"/>
      </a:accent3>
      <a:accent4>
        <a:srgbClr val="3BBFAD"/>
      </a:accent4>
      <a:accent5>
        <a:srgbClr val="343434"/>
      </a:accent5>
      <a:accent6>
        <a:srgbClr val="7AEEF5"/>
      </a:accent6>
      <a:hlink>
        <a:srgbClr val="2D62B6"/>
      </a:hlink>
      <a:folHlink>
        <a:srgbClr val="4A4E6A"/>
      </a:folHlink>
    </a:clrScheme>
    <a:fontScheme name="SG Template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ink">
      <a:srgbClr val="EE3E79"/>
    </a:custClr>
    <a:custClr name="Pink, Lighter 80%">
      <a:srgbClr val="FCD8E4"/>
    </a:custClr>
    <a:custClr name="Pink, Lighter 60%">
      <a:srgbClr val="F8B2C9"/>
    </a:custClr>
    <a:custClr name="Pink, Lighter 40%">
      <a:srgbClr val="F58BAF"/>
    </a:custClr>
    <a:custClr name="Pink, Darker 25%">
      <a:srgbClr val="CF1251"/>
    </a:custClr>
    <a:custClr name="Pink, Darker 50%">
      <a:srgbClr val="8A0C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Indigo">
      <a:srgbClr val="28246F"/>
    </a:custClr>
    <a:custClr name="Indigo, Lighter 80%">
      <a:srgbClr val="CAC8ED"/>
    </a:custClr>
    <a:custClr name="Indigo, Lighter 60%">
      <a:srgbClr val="9591DB"/>
    </a:custClr>
    <a:custClr name="Indigo, Lighter 40%">
      <a:srgbClr val="605BCA"/>
    </a:custClr>
    <a:custClr name="Indigo, Darker 25%">
      <a:srgbClr val="1E1B53"/>
    </a:custClr>
    <a:custClr name="Indigo, Darker 50%">
      <a:srgbClr val="2A187C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Lavender">
      <a:srgbClr val="BE93E3"/>
    </a:custClr>
    <a:custClr name="Lavender, Lighter 80%">
      <a:srgbClr val="F2E9F9"/>
    </a:custClr>
    <a:custClr name="Lavender, Lighter 60%">
      <a:srgbClr val="E5D4F4"/>
    </a:custClr>
    <a:custClr name="Lavender, Lighter 40%">
      <a:srgbClr val="D8BEEE"/>
    </a:custClr>
    <a:custClr name="Lavender, Darker 25%">
      <a:srgbClr val="9149D0"/>
    </a:custClr>
    <a:custClr name="Lavender, Darker 50%">
      <a:srgbClr val="62269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912828"/>
    </a:custClr>
    <a:custClr name="Dark Red">
      <a:srgbClr val="F1CCCC"/>
    </a:custClr>
    <a:custClr name="Dark Red, Lighter 80%">
      <a:srgbClr val="E39999"/>
    </a:custClr>
    <a:custClr name="Dark Red, Lighter 60%">
      <a:srgbClr val="D56666"/>
    </a:custClr>
    <a:custClr name="Dark Red, Lighter 40%">
      <a:srgbClr val="6D1E1E"/>
    </a:custClr>
    <a:custClr name="Dark Red, Darker 25%">
      <a:srgbClr val="481414"/>
    </a:custClr>
    <a:custClr name="Dark Red, Darker 50%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2" id="{2B217898-8301-4BA9-844A-2FB4EDA9A6E4}" vid="{11CB0852-69B9-4A42-87B6-33BA9948C461}"/>
    </a:ext>
  </a:extLst>
</a:theme>
</file>

<file path=ppt/theme/theme5.xml><?xml version="1.0" encoding="utf-8"?>
<a:theme xmlns:a="http://schemas.openxmlformats.org/drawingml/2006/main" name="Title Slides">
  <a:themeElements>
    <a:clrScheme name="Custom 1">
      <a:dk1>
        <a:sysClr val="windowText" lastClr="000000"/>
      </a:dk1>
      <a:lt1>
        <a:sysClr val="window" lastClr="FFFFFF"/>
      </a:lt1>
      <a:dk2>
        <a:srgbClr val="0047BA"/>
      </a:dk2>
      <a:lt2>
        <a:srgbClr val="9B9EA3"/>
      </a:lt2>
      <a:accent1>
        <a:srgbClr val="2383C1"/>
      </a:accent1>
      <a:accent2>
        <a:srgbClr val="1B56A8"/>
      </a:accent2>
      <a:accent3>
        <a:srgbClr val="618DEC"/>
      </a:accent3>
      <a:accent4>
        <a:srgbClr val="3BBFAD"/>
      </a:accent4>
      <a:accent5>
        <a:srgbClr val="343434"/>
      </a:accent5>
      <a:accent6>
        <a:srgbClr val="7AEEF5"/>
      </a:accent6>
      <a:hlink>
        <a:srgbClr val="2D62B6"/>
      </a:hlink>
      <a:folHlink>
        <a:srgbClr val="4A4E6A"/>
      </a:folHlink>
    </a:clrScheme>
    <a:fontScheme name="Custom 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ink">
      <a:srgbClr val="EE3E79"/>
    </a:custClr>
    <a:custClr name="Pink, Lighter 80%">
      <a:srgbClr val="FCD8E4"/>
    </a:custClr>
    <a:custClr name="Pink, Lighter 60%">
      <a:srgbClr val="F8B2C9"/>
    </a:custClr>
    <a:custClr name="Pink, Lighter 40%">
      <a:srgbClr val="F58BAF"/>
    </a:custClr>
    <a:custClr name="Pink, Darker 25%">
      <a:srgbClr val="CF1251"/>
    </a:custClr>
    <a:custClr name="Pink, Darker 50%">
      <a:srgbClr val="8A0C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Indigo">
      <a:srgbClr val="28246F"/>
    </a:custClr>
    <a:custClr name="Indigo, Lighter 80%">
      <a:srgbClr val="CAC8ED"/>
    </a:custClr>
    <a:custClr name="Indigo, Lighter 60%">
      <a:srgbClr val="9591DB"/>
    </a:custClr>
    <a:custClr name="Indigo, Lighter 40%">
      <a:srgbClr val="605BCA"/>
    </a:custClr>
    <a:custClr name="Indigo, Darker 25%">
      <a:srgbClr val="1E1B53"/>
    </a:custClr>
    <a:custClr name="Indigo, Darker 50%">
      <a:srgbClr val="2A187C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Lavender">
      <a:srgbClr val="BE93E3"/>
    </a:custClr>
    <a:custClr name="Lavender, Lighter 80%">
      <a:srgbClr val="F2E9F9"/>
    </a:custClr>
    <a:custClr name="Lavender, Lighter 60%">
      <a:srgbClr val="E5D4F4"/>
    </a:custClr>
    <a:custClr name="Lavender, Lighter 40%">
      <a:srgbClr val="D8BEEE"/>
    </a:custClr>
    <a:custClr name="Lavender, Darker 25%">
      <a:srgbClr val="9149D0"/>
    </a:custClr>
    <a:custClr name="Lavender, Darker 50%">
      <a:srgbClr val="62269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912828"/>
    </a:custClr>
    <a:custClr name="Dark Red">
      <a:srgbClr val="F1CCCC"/>
    </a:custClr>
    <a:custClr name="Dark Red, Lighter 80%">
      <a:srgbClr val="E39999"/>
    </a:custClr>
    <a:custClr name="Dark Red, Lighter 60%">
      <a:srgbClr val="D56666"/>
    </a:custClr>
    <a:custClr name="Dark Red, Lighter 40%">
      <a:srgbClr val="6D1E1E"/>
    </a:custClr>
    <a:custClr name="Dark Red, Darker 25%">
      <a:srgbClr val="481414"/>
    </a:custClr>
    <a:custClr name="Dark Red, Darker 50%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2" id="{2B217898-8301-4BA9-844A-2FB4EDA9A6E4}" vid="{11CB0852-69B9-4A42-87B6-33BA9948C461}"/>
    </a:ext>
  </a:extLst>
</a:theme>
</file>

<file path=ppt/theme/theme6.xml><?xml version="1.0" encoding="utf-8"?>
<a:theme xmlns:a="http://schemas.openxmlformats.org/drawingml/2006/main" name="6_New Acquis Template">
  <a:themeElements>
    <a:clrScheme name="Custom 3">
      <a:dk1>
        <a:sysClr val="windowText" lastClr="000000"/>
      </a:dk1>
      <a:lt1>
        <a:sysClr val="window" lastClr="FFFFFF"/>
      </a:lt1>
      <a:dk2>
        <a:srgbClr val="0047BA"/>
      </a:dk2>
      <a:lt2>
        <a:srgbClr val="9B9EA3"/>
      </a:lt2>
      <a:accent1>
        <a:srgbClr val="2383C1"/>
      </a:accent1>
      <a:accent2>
        <a:srgbClr val="1B56A8"/>
      </a:accent2>
      <a:accent3>
        <a:srgbClr val="618DEC"/>
      </a:accent3>
      <a:accent4>
        <a:srgbClr val="3BBFAD"/>
      </a:accent4>
      <a:accent5>
        <a:srgbClr val="343434"/>
      </a:accent5>
      <a:accent6>
        <a:srgbClr val="7AEEF5"/>
      </a:accent6>
      <a:hlink>
        <a:srgbClr val="2D62B6"/>
      </a:hlink>
      <a:folHlink>
        <a:srgbClr val="4A4E6A"/>
      </a:folHlink>
    </a:clrScheme>
    <a:fontScheme name="SG Template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ink">
      <a:srgbClr val="EE3E79"/>
    </a:custClr>
    <a:custClr name="Pink, Lighter 80%">
      <a:srgbClr val="FCD8E4"/>
    </a:custClr>
    <a:custClr name="Pink, Lighter 60%">
      <a:srgbClr val="F8B2C9"/>
    </a:custClr>
    <a:custClr name="Pink, Lighter 40%">
      <a:srgbClr val="F58BAF"/>
    </a:custClr>
    <a:custClr name="Pink, Darker 25%">
      <a:srgbClr val="CF1251"/>
    </a:custClr>
    <a:custClr name="Pink, Darker 50%">
      <a:srgbClr val="8A0C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Indigo">
      <a:srgbClr val="28246F"/>
    </a:custClr>
    <a:custClr name="Indigo, Lighter 80%">
      <a:srgbClr val="CAC8ED"/>
    </a:custClr>
    <a:custClr name="Indigo, Lighter 60%">
      <a:srgbClr val="9591DB"/>
    </a:custClr>
    <a:custClr name="Indigo, Lighter 40%">
      <a:srgbClr val="605BCA"/>
    </a:custClr>
    <a:custClr name="Indigo, Darker 25%">
      <a:srgbClr val="1E1B53"/>
    </a:custClr>
    <a:custClr name="Indigo, Darker 50%">
      <a:srgbClr val="2A187C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Lavender">
      <a:srgbClr val="BE93E3"/>
    </a:custClr>
    <a:custClr name="Lavender, Lighter 80%">
      <a:srgbClr val="F2E9F9"/>
    </a:custClr>
    <a:custClr name="Lavender, Lighter 60%">
      <a:srgbClr val="E5D4F4"/>
    </a:custClr>
    <a:custClr name="Lavender, Lighter 40%">
      <a:srgbClr val="D8BEEE"/>
    </a:custClr>
    <a:custClr name="Lavender, Darker 25%">
      <a:srgbClr val="9149D0"/>
    </a:custClr>
    <a:custClr name="Lavender, Darker 50%">
      <a:srgbClr val="62269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912828"/>
    </a:custClr>
    <a:custClr name="Dark Red">
      <a:srgbClr val="F1CCCC"/>
    </a:custClr>
    <a:custClr name="Dark Red, Lighter 80%">
      <a:srgbClr val="E39999"/>
    </a:custClr>
    <a:custClr name="Dark Red, Lighter 60%">
      <a:srgbClr val="D56666"/>
    </a:custClr>
    <a:custClr name="Dark Red, Lighter 40%">
      <a:srgbClr val="6D1E1E"/>
    </a:custClr>
    <a:custClr name="Dark Red, Darker 25%">
      <a:srgbClr val="481414"/>
    </a:custClr>
    <a:custClr name="Dark Red, Darker 50%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2" id="{2B217898-8301-4BA9-844A-2FB4EDA9A6E4}" vid="{11CB0852-69B9-4A42-87B6-33BA9948C461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f4e3623-8146-4040-b89e-ccbc2b47a7b1" xsi:nil="true"/>
    <lcf76f155ced4ddcb4097134ff3c332f xmlns="e72e7688-cc9c-46df-b6e6-795e4dfb38c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142EA675CC3144ADD9DA0229533F05" ma:contentTypeVersion="15" ma:contentTypeDescription="Create a new document." ma:contentTypeScope="" ma:versionID="d1bd4ac593e3f36bd4d403f621fe267b">
  <xsd:schema xmlns:xsd="http://www.w3.org/2001/XMLSchema" xmlns:xs="http://www.w3.org/2001/XMLSchema" xmlns:p="http://schemas.microsoft.com/office/2006/metadata/properties" xmlns:ns2="e72e7688-cc9c-46df-b6e6-795e4dfb38c6" xmlns:ns3="4f4e3623-8146-4040-b89e-ccbc2b47a7b1" targetNamespace="http://schemas.microsoft.com/office/2006/metadata/properties" ma:root="true" ma:fieldsID="c02419f9943abc8e98a7675e7d149821" ns2:_="" ns3:_="">
    <xsd:import namespace="e72e7688-cc9c-46df-b6e6-795e4dfb38c6"/>
    <xsd:import namespace="4f4e3623-8146-4040-b89e-ccbc2b47a7b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2e7688-cc9c-46df-b6e6-795e4dfb38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a1a33842-ada8-41a9-aa8a-981b78e0b6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4e3623-8146-4040-b89e-ccbc2b47a7b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849adf4e-60ce-47ba-8b06-6b97a3495369}" ma:internalName="TaxCatchAll" ma:showField="CatchAllData" ma:web="4f4e3623-8146-4040-b89e-ccbc2b47a7b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4ED0F57-8471-4A7D-9C25-848641BCBBEF}">
  <ds:schemaRefs>
    <ds:schemaRef ds:uri="http://schemas.microsoft.com/office/2006/metadata/properties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72e7688-cc9c-46df-b6e6-795e4dfb38c6"/>
    <ds:schemaRef ds:uri="http://schemas.microsoft.com/office/infopath/2007/PartnerControls"/>
    <ds:schemaRef ds:uri="4f4e3623-8146-4040-b89e-ccbc2b47a7b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C0668B-49B1-4697-81D3-567079134CE1}">
  <ds:schemaRefs>
    <ds:schemaRef ds:uri="4f4e3623-8146-4040-b89e-ccbc2b47a7b1"/>
    <ds:schemaRef ds:uri="e72e7688-cc9c-46df-b6e6-795e4dfb38c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CEF6515-E0B6-4B13-B5CB-AB675380F0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203</TotalTime>
  <Words>1608</Words>
  <Application>Microsoft Office PowerPoint</Application>
  <PresentationFormat>Widescreen</PresentationFormat>
  <Paragraphs>269</Paragraphs>
  <Slides>9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3_Office Theme</vt:lpstr>
      <vt:lpstr>4_New Acquis Template</vt:lpstr>
      <vt:lpstr>2_Office Theme</vt:lpstr>
      <vt:lpstr>2_New Acquis Template</vt:lpstr>
      <vt:lpstr>Title Slides</vt:lpstr>
      <vt:lpstr>6_New Acquis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ach Fink</dc:creator>
  <cp:lastModifiedBy>Josh Li</cp:lastModifiedBy>
  <cp:revision>138</cp:revision>
  <dcterms:created xsi:type="dcterms:W3CDTF">2024-05-15T17:28:56Z</dcterms:created>
  <dcterms:modified xsi:type="dcterms:W3CDTF">2025-09-11T15:3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142EA675CC3144ADD9DA0229533F05</vt:lpwstr>
  </property>
  <property fmtid="{D5CDD505-2E9C-101B-9397-08002B2CF9AE}" pid="3" name="MediaServiceImageTags">
    <vt:lpwstr/>
  </property>
  <property fmtid="{D5CDD505-2E9C-101B-9397-08002B2CF9AE}" pid="4" name="Order">
    <vt:r8>8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